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xls" ContentType="application/vnd.ms-excel"/>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notesSlides/notesSlide9.xml" ContentType="application/vnd.openxmlformats-officedocument.presentationml.notesSlide+xml"/>
  <Override PartName="/ppt/charts/chart5.xml" ContentType="application/vnd.openxmlformats-officedocument.drawingml.chart+xml"/>
  <Override PartName="/ppt/notesSlides/notesSlide10.xml" ContentType="application/vnd.openxmlformats-officedocument.presentationml.notesSlide+xml"/>
  <Override PartName="/ppt/charts/chart6.xml" ContentType="application/vnd.openxmlformats-officedocument.drawingml.chart+xml"/>
  <Override PartName="/ppt/theme/themeOverride5.xml" ContentType="application/vnd.openxmlformats-officedocument.themeOverride+xml"/>
  <Override PartName="/ppt/notesSlides/notesSlide11.xml" ContentType="application/vnd.openxmlformats-officedocument.presentationml.notesSlide+xml"/>
  <Override PartName="/ppt/charts/chart7.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tags/tag66.xml" ContentType="application/vnd.openxmlformats-officedocument.presentationml.tags+xml"/>
  <Override PartName="/ppt/notesSlides/notesSlide13.xml" ContentType="application/vnd.openxmlformats-officedocument.presentationml.notesSlide+xml"/>
  <Override PartName="/ppt/tags/tag67.xml" ContentType="application/vnd.openxmlformats-officedocument.presentationml.tags+xml"/>
  <Override PartName="/ppt/notesSlides/notesSlide14.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5.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16.xml" ContentType="application/vnd.openxmlformats-officedocument.presentationml.notesSlide+xml"/>
  <Override PartName="/ppt/tags/tag35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5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53.xml" ContentType="application/vnd.openxmlformats-officedocument.presentationml.tags+xml"/>
  <Override PartName="/ppt/tags/tag354.xml" ContentType="application/vnd.openxmlformats-officedocument.presentationml.tags+xml"/>
  <Override PartName="/ppt/notesSlides/notesSlide24.xml" ContentType="application/vnd.openxmlformats-officedocument.presentationml.notesSlide+xml"/>
  <Override PartName="/ppt/tags/tag355.xml" ContentType="application/vnd.openxmlformats-officedocument.presentationml.tags+xml"/>
  <Override PartName="/ppt/tags/tag356.xml" ContentType="application/vnd.openxmlformats-officedocument.presentationml.tags+xml"/>
  <Override PartName="/ppt/notesSlides/notesSlide25.xml" ContentType="application/vnd.openxmlformats-officedocument.presentationml.notesSlide+xml"/>
  <Override PartName="/ppt/tags/tag357.xml" ContentType="application/vnd.openxmlformats-officedocument.presentationml.tags+xml"/>
  <Override PartName="/ppt/tags/tag35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59.xml" ContentType="application/vnd.openxmlformats-officedocument.presentationml.tags+xml"/>
  <Override PartName="/ppt/tags/tag360.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61.xml" ContentType="application/vnd.openxmlformats-officedocument.presentationml.tags+xml"/>
  <Override PartName="/ppt/tags/tag362.xml" ContentType="application/vnd.openxmlformats-officedocument.presentationml.tags+xml"/>
  <Override PartName="/ppt/notesSlides/notesSlide30.xml" ContentType="application/vnd.openxmlformats-officedocument.presentationml.notesSlide+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452" r:id="rId1"/>
  </p:sldMasterIdLst>
  <p:notesMasterIdLst>
    <p:notesMasterId r:id="rId36"/>
  </p:notesMasterIdLst>
  <p:handoutMasterIdLst>
    <p:handoutMasterId r:id="rId37"/>
  </p:handoutMasterIdLst>
  <p:sldIdLst>
    <p:sldId id="1286" r:id="rId2"/>
    <p:sldId id="1206" r:id="rId3"/>
    <p:sldId id="1336" r:id="rId4"/>
    <p:sldId id="1347" r:id="rId5"/>
    <p:sldId id="1337" r:id="rId6"/>
    <p:sldId id="1338" r:id="rId7"/>
    <p:sldId id="1339" r:id="rId8"/>
    <p:sldId id="1340" r:id="rId9"/>
    <p:sldId id="1341" r:id="rId10"/>
    <p:sldId id="1342" r:id="rId11"/>
    <p:sldId id="1343" r:id="rId12"/>
    <p:sldId id="1344" r:id="rId13"/>
    <p:sldId id="1297" r:id="rId14"/>
    <p:sldId id="1298" r:id="rId15"/>
    <p:sldId id="1299" r:id="rId16"/>
    <p:sldId id="1346" r:id="rId17"/>
    <p:sldId id="1345" r:id="rId18"/>
    <p:sldId id="1300" r:id="rId19"/>
    <p:sldId id="1301" r:id="rId20"/>
    <p:sldId id="1306" r:id="rId21"/>
    <p:sldId id="1307" r:id="rId22"/>
    <p:sldId id="1308" r:id="rId23"/>
    <p:sldId id="1309" r:id="rId24"/>
    <p:sldId id="1320" r:id="rId25"/>
    <p:sldId id="1348" r:id="rId26"/>
    <p:sldId id="1327" r:id="rId27"/>
    <p:sldId id="1328" r:id="rId28"/>
    <p:sldId id="1329" r:id="rId29"/>
    <p:sldId id="1330" r:id="rId30"/>
    <p:sldId id="1331" r:id="rId31"/>
    <p:sldId id="1333" r:id="rId32"/>
    <p:sldId id="1334" r:id="rId33"/>
    <p:sldId id="1335" r:id="rId34"/>
    <p:sldId id="1317" r:id="rId35"/>
  </p:sldIdLst>
  <p:sldSz cx="9906000" cy="6858000" type="A4"/>
  <p:notesSz cx="6797675" cy="9926638"/>
  <p:custDataLst>
    <p:tags r:id="rId38"/>
  </p:custDataLst>
  <p:defaultTex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80"/>
    <a:srgbClr val="D6CBC2"/>
    <a:srgbClr val="FF960C"/>
    <a:srgbClr val="09BAFF"/>
    <a:srgbClr val="003F56"/>
    <a:srgbClr val="87B9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103" autoAdjust="0"/>
    <p:restoredTop sz="94585" autoAdjust="0"/>
  </p:normalViewPr>
  <p:slideViewPr>
    <p:cSldViewPr snapToGrid="0" snapToObjects="1">
      <p:cViewPr>
        <p:scale>
          <a:sx n="70" d="100"/>
          <a:sy n="70" d="100"/>
        </p:scale>
        <p:origin x="-1104" y="-96"/>
      </p:cViewPr>
      <p:guideLst>
        <p:guide orient="horz" pos="275"/>
        <p:guide pos="51"/>
      </p:guideLst>
    </p:cSldViewPr>
  </p:slideViewPr>
  <p:notesTextViewPr>
    <p:cViewPr>
      <p:scale>
        <a:sx n="150" d="100"/>
        <a:sy n="150" d="100"/>
      </p:scale>
      <p:origin x="0" y="0"/>
    </p:cViewPr>
  </p:notesTextViewPr>
  <p:sorterViewPr>
    <p:cViewPr>
      <p:scale>
        <a:sx n="66" d="100"/>
        <a:sy n="66" d="100"/>
      </p:scale>
      <p:origin x="0" y="0"/>
    </p:cViewPr>
  </p:sorterViewPr>
  <p:notesViewPr>
    <p:cSldViewPr snapToGrid="0" snapToObjects="1" showGuides="1">
      <p:cViewPr varScale="1">
        <p:scale>
          <a:sx n="57" d="100"/>
          <a:sy n="57" d="100"/>
        </p:scale>
        <p:origin x="-3317" y="-8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2" Type="http://schemas.openxmlformats.org/officeDocument/2006/relationships/package" Target="../embeddings/Feuille_de_calcul_Microsoft_Excel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Feuille_de_calcul_Microsoft_Excel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Feuille_de_calcul_Microsoft_Excel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Feuille_de_calcul_Microsoft_Excel4.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1" Type="http://schemas.openxmlformats.org/officeDocument/2006/relationships/oleObject" Target="file:///D:\ANRTbis\suivi%20des%20march&#233;s\Tableau%20de%20bord\Mensuel_Trimestriel\2013\Trimestriel\TRIMESTRIEL_04-13.xlsx" TargetMode="External"/></Relationships>
</file>

<file path=ppt/charts/_rels/chart6.xml.rels><?xml version="1.0" encoding="UTF-8" standalone="yes"?>
<Relationships xmlns="http://schemas.openxmlformats.org/package/2006/relationships"><Relationship Id="rId2" Type="http://schemas.openxmlformats.org/officeDocument/2006/relationships/package" Target="../embeddings/Feuille_de_calcul_Microsoft_Excel5.xlsx"/><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2" Type="http://schemas.openxmlformats.org/officeDocument/2006/relationships/package" Target="../embeddings/Feuille_de_calcul_Microsoft_Excel6.xlsx"/><Relationship Id="rId1" Type="http://schemas.openxmlformats.org/officeDocument/2006/relationships/themeOverride" Target="../theme/themeOverride6.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Feuil2!$C$4</c:f>
              <c:strCache>
                <c:ptCount val="1"/>
                <c:pt idx="0">
                  <c:v>ARPM Mobile Global</c:v>
                </c:pt>
              </c:strCache>
            </c:strRef>
          </c:tx>
          <c:marker>
            <c:symbol val="none"/>
          </c:marker>
          <c:dLbls>
            <c:dLbl>
              <c:idx val="0"/>
              <c:layout>
                <c:manualLayout>
                  <c:x val="0"/>
                  <c:y val="-3.2604305251603717E-2"/>
                </c:manualLayout>
              </c:layout>
              <c:showLegendKey val="0"/>
              <c:showVal val="1"/>
              <c:showCatName val="0"/>
              <c:showSerName val="0"/>
              <c:showPercent val="0"/>
              <c:showBubbleSize val="0"/>
            </c:dLbl>
            <c:dLbl>
              <c:idx val="1"/>
              <c:layout>
                <c:manualLayout>
                  <c:x val="-5.4248802521757724E-3"/>
                  <c:y val="-2.8981604668092201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numRef>
              <c:f>Feuil2!$B$5:$B$10</c:f>
              <c:numCache>
                <c:formatCode>General</c:formatCode>
                <c:ptCount val="6"/>
                <c:pt idx="0">
                  <c:v>2008</c:v>
                </c:pt>
                <c:pt idx="1">
                  <c:v>2009</c:v>
                </c:pt>
                <c:pt idx="2">
                  <c:v>2010</c:v>
                </c:pt>
                <c:pt idx="3">
                  <c:v>2011</c:v>
                </c:pt>
                <c:pt idx="4">
                  <c:v>2012</c:v>
                </c:pt>
                <c:pt idx="5">
                  <c:v>2013</c:v>
                </c:pt>
              </c:numCache>
            </c:numRef>
          </c:cat>
          <c:val>
            <c:numRef>
              <c:f>Feuil2!$C$5:$C$10</c:f>
              <c:numCache>
                <c:formatCode>General</c:formatCode>
                <c:ptCount val="6"/>
                <c:pt idx="0">
                  <c:v>1.27</c:v>
                </c:pt>
                <c:pt idx="1">
                  <c:v>1.24</c:v>
                </c:pt>
                <c:pt idx="2">
                  <c:v>1.1200000000000001</c:v>
                </c:pt>
                <c:pt idx="3">
                  <c:v>0.74</c:v>
                </c:pt>
                <c:pt idx="4">
                  <c:v>0.53</c:v>
                </c:pt>
                <c:pt idx="5">
                  <c:v>0.41</c:v>
                </c:pt>
              </c:numCache>
            </c:numRef>
          </c:val>
          <c:smooth val="0"/>
        </c:ser>
        <c:ser>
          <c:idx val="1"/>
          <c:order val="1"/>
          <c:tx>
            <c:strRef>
              <c:f>Feuil2!$D$4</c:f>
              <c:strCache>
                <c:ptCount val="1"/>
                <c:pt idx="0">
                  <c:v>ARPM Mobile Postpayé</c:v>
                </c:pt>
              </c:strCache>
            </c:strRef>
          </c:tx>
          <c:marker>
            <c:symbol val="none"/>
          </c:marker>
          <c:dLbls>
            <c:dLbl>
              <c:idx val="0"/>
              <c:layout>
                <c:manualLayout>
                  <c:x val="0"/>
                  <c:y val="-3.9849706418626729E-2"/>
                </c:manualLayout>
              </c:layout>
              <c:showLegendKey val="0"/>
              <c:showVal val="1"/>
              <c:showCatName val="0"/>
              <c:showSerName val="0"/>
              <c:showPercent val="0"/>
              <c:showBubbleSize val="0"/>
            </c:dLbl>
            <c:dLbl>
              <c:idx val="1"/>
              <c:layout>
                <c:manualLayout>
                  <c:x val="0"/>
                  <c:y val="-1.8113502917557603E-2"/>
                </c:manualLayout>
              </c:layout>
              <c:showLegendKey val="0"/>
              <c:showVal val="1"/>
              <c:showCatName val="0"/>
              <c:showSerName val="0"/>
              <c:showPercent val="0"/>
              <c:showBubbleSize val="0"/>
            </c:dLbl>
            <c:dLbl>
              <c:idx val="4"/>
              <c:layout>
                <c:manualLayout>
                  <c:x val="0"/>
                  <c:y val="2.3148148148148147E-2"/>
                </c:manualLayout>
              </c:layout>
              <c:showLegendKey val="0"/>
              <c:showVal val="1"/>
              <c:showCatName val="0"/>
              <c:showSerName val="0"/>
              <c:showPercent val="0"/>
              <c:showBubbleSize val="0"/>
            </c:dLbl>
            <c:dLbl>
              <c:idx val="5"/>
              <c:layout>
                <c:manualLayout>
                  <c:x val="-2.7777777777778798E-3"/>
                  <c:y val="-2.7777777777777863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numRef>
              <c:f>Feuil2!$B$5:$B$10</c:f>
              <c:numCache>
                <c:formatCode>General</c:formatCode>
                <c:ptCount val="6"/>
                <c:pt idx="0">
                  <c:v>2008</c:v>
                </c:pt>
                <c:pt idx="1">
                  <c:v>2009</c:v>
                </c:pt>
                <c:pt idx="2">
                  <c:v>2010</c:v>
                </c:pt>
                <c:pt idx="3">
                  <c:v>2011</c:v>
                </c:pt>
                <c:pt idx="4">
                  <c:v>2012</c:v>
                </c:pt>
                <c:pt idx="5">
                  <c:v>2013</c:v>
                </c:pt>
              </c:numCache>
            </c:numRef>
          </c:cat>
          <c:val>
            <c:numRef>
              <c:f>Feuil2!$D$5:$D$10</c:f>
              <c:numCache>
                <c:formatCode>General</c:formatCode>
                <c:ptCount val="6"/>
                <c:pt idx="0">
                  <c:v>0.92</c:v>
                </c:pt>
                <c:pt idx="1">
                  <c:v>0.9</c:v>
                </c:pt>
                <c:pt idx="2">
                  <c:v>0.84</c:v>
                </c:pt>
                <c:pt idx="3">
                  <c:v>0.62</c:v>
                </c:pt>
                <c:pt idx="4">
                  <c:v>0.47</c:v>
                </c:pt>
                <c:pt idx="5">
                  <c:v>0.44</c:v>
                </c:pt>
              </c:numCache>
            </c:numRef>
          </c:val>
          <c:smooth val="0"/>
        </c:ser>
        <c:ser>
          <c:idx val="2"/>
          <c:order val="2"/>
          <c:tx>
            <c:strRef>
              <c:f>Feuil2!$E$4</c:f>
              <c:strCache>
                <c:ptCount val="1"/>
                <c:pt idx="0">
                  <c:v>ARPM Mobile Prépayé</c:v>
                </c:pt>
              </c:strCache>
            </c:strRef>
          </c:tx>
          <c:marker>
            <c:symbol val="none"/>
          </c:marker>
          <c:dLbls>
            <c:dLbl>
              <c:idx val="0"/>
              <c:layout>
                <c:manualLayout>
                  <c:x val="-8.1373203782636825E-3"/>
                  <c:y val="-3.2604305251603696E-2"/>
                </c:manualLayout>
              </c:layout>
              <c:showLegendKey val="0"/>
              <c:showVal val="1"/>
              <c:showCatName val="0"/>
              <c:showSerName val="0"/>
              <c:showPercent val="0"/>
              <c:showBubbleSize val="0"/>
            </c:dLbl>
            <c:dLbl>
              <c:idx val="3"/>
              <c:layout>
                <c:manualLayout>
                  <c:x val="8.3333333333333332E-3"/>
                  <c:y val="-1.8518518518518517E-2"/>
                </c:manualLayout>
              </c:layout>
              <c:showLegendKey val="0"/>
              <c:showVal val="1"/>
              <c:showCatName val="0"/>
              <c:showSerName val="0"/>
              <c:showPercent val="0"/>
              <c:showBubbleSize val="0"/>
            </c:dLbl>
            <c:dLbl>
              <c:idx val="4"/>
              <c:layout>
                <c:manualLayout>
                  <c:x val="1.1111111111111112E-2"/>
                  <c:y val="-4.1666666666666664E-2"/>
                </c:manualLayout>
              </c:layout>
              <c:showLegendKey val="0"/>
              <c:showVal val="1"/>
              <c:showCatName val="0"/>
              <c:showSerName val="0"/>
              <c:showPercent val="0"/>
              <c:showBubbleSize val="0"/>
            </c:dLbl>
            <c:dLbl>
              <c:idx val="5"/>
              <c:layout>
                <c:manualLayout>
                  <c:x val="-1.388888888888899E-2"/>
                  <c:y val="2.3148148148148064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numRef>
              <c:f>Feuil2!$B$5:$B$10</c:f>
              <c:numCache>
                <c:formatCode>General</c:formatCode>
                <c:ptCount val="6"/>
                <c:pt idx="0">
                  <c:v>2008</c:v>
                </c:pt>
                <c:pt idx="1">
                  <c:v>2009</c:v>
                </c:pt>
                <c:pt idx="2">
                  <c:v>2010</c:v>
                </c:pt>
                <c:pt idx="3">
                  <c:v>2011</c:v>
                </c:pt>
                <c:pt idx="4">
                  <c:v>2012</c:v>
                </c:pt>
                <c:pt idx="5">
                  <c:v>2013</c:v>
                </c:pt>
              </c:numCache>
            </c:numRef>
          </c:cat>
          <c:val>
            <c:numRef>
              <c:f>Feuil2!$E$5:$E$10</c:f>
              <c:numCache>
                <c:formatCode>General</c:formatCode>
                <c:ptCount val="6"/>
                <c:pt idx="0">
                  <c:v>1.64</c:v>
                </c:pt>
                <c:pt idx="1">
                  <c:v>1.6</c:v>
                </c:pt>
                <c:pt idx="2">
                  <c:v>1.27</c:v>
                </c:pt>
                <c:pt idx="3">
                  <c:v>0.81</c:v>
                </c:pt>
                <c:pt idx="4">
                  <c:v>0.56000000000000005</c:v>
                </c:pt>
                <c:pt idx="5">
                  <c:v>0.4</c:v>
                </c:pt>
              </c:numCache>
            </c:numRef>
          </c:val>
          <c:smooth val="0"/>
        </c:ser>
        <c:dLbls>
          <c:showLegendKey val="0"/>
          <c:showVal val="0"/>
          <c:showCatName val="0"/>
          <c:showSerName val="0"/>
          <c:showPercent val="0"/>
          <c:showBubbleSize val="0"/>
        </c:dLbls>
        <c:marker val="1"/>
        <c:smooth val="0"/>
        <c:axId val="107607552"/>
        <c:axId val="37993792"/>
      </c:lineChart>
      <c:catAx>
        <c:axId val="107607552"/>
        <c:scaling>
          <c:orientation val="minMax"/>
        </c:scaling>
        <c:delete val="0"/>
        <c:axPos val="b"/>
        <c:numFmt formatCode="General" sourceLinked="1"/>
        <c:majorTickMark val="out"/>
        <c:minorTickMark val="none"/>
        <c:tickLblPos val="nextTo"/>
        <c:crossAx val="37993792"/>
        <c:crosses val="autoZero"/>
        <c:auto val="1"/>
        <c:lblAlgn val="ctr"/>
        <c:lblOffset val="100"/>
        <c:noMultiLvlLbl val="0"/>
      </c:catAx>
      <c:valAx>
        <c:axId val="37993792"/>
        <c:scaling>
          <c:orientation val="minMax"/>
        </c:scaling>
        <c:delete val="0"/>
        <c:axPos val="l"/>
        <c:title>
          <c:tx>
            <c:rich>
              <a:bodyPr rot="-5400000" vert="horz"/>
              <a:lstStyle/>
              <a:p>
                <a:pPr>
                  <a:defRPr/>
                </a:pPr>
                <a:r>
                  <a:rPr lang="fr-FR"/>
                  <a:t>En</a:t>
                </a:r>
                <a:r>
                  <a:rPr lang="fr-FR" baseline="0"/>
                  <a:t> DH HT/mois</a:t>
                </a:r>
                <a:endParaRPr lang="fr-FR"/>
              </a:p>
            </c:rich>
          </c:tx>
          <c:layout/>
          <c:overlay val="0"/>
        </c:title>
        <c:numFmt formatCode="General" sourceLinked="1"/>
        <c:majorTickMark val="out"/>
        <c:minorTickMark val="none"/>
        <c:tickLblPos val="nextTo"/>
        <c:crossAx val="107607552"/>
        <c:crosses val="autoZero"/>
        <c:crossBetween val="between"/>
      </c:valAx>
    </c:plotArea>
    <c:legend>
      <c:legendPos val="b"/>
      <c:layout/>
      <c:overlay val="0"/>
      <c:txPr>
        <a:bodyPr/>
        <a:lstStyle/>
        <a:p>
          <a:pPr>
            <a:defRPr sz="900"/>
          </a:pPr>
          <a:endParaRPr lang="fr-FR"/>
        </a:p>
      </c:txPr>
    </c:legend>
    <c:plotVisOnly val="1"/>
    <c:dispBlanksAs val="gap"/>
    <c:showDLblsOverMax val="0"/>
  </c:chart>
  <c:spPr>
    <a:ln>
      <a:solidFill>
        <a:srgbClr val="000000"/>
      </a:solidFill>
    </a:ln>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400"/>
            </a:pPr>
            <a:r>
              <a:rPr lang="fr-FR" sz="1400"/>
              <a:t>Evolution de l'usage moyen sortant mobile</a:t>
            </a:r>
          </a:p>
        </c:rich>
      </c:tx>
      <c:layout>
        <c:manualLayout>
          <c:xMode val="edge"/>
          <c:yMode val="edge"/>
          <c:x val="0.17756319950905103"/>
          <c:y val="2.8981604668092166E-2"/>
        </c:manualLayout>
      </c:layout>
      <c:overlay val="0"/>
    </c:title>
    <c:autoTitleDeleted val="0"/>
    <c:plotArea>
      <c:layout/>
      <c:lineChart>
        <c:grouping val="standard"/>
        <c:varyColors val="0"/>
        <c:ser>
          <c:idx val="0"/>
          <c:order val="0"/>
          <c:tx>
            <c:strRef>
              <c:f>Feuil2!$C$15</c:f>
              <c:strCache>
                <c:ptCount val="1"/>
                <c:pt idx="0">
                  <c:v>Usage moyen sortant mobile</c:v>
                </c:pt>
              </c:strCache>
            </c:strRef>
          </c:tx>
          <c:marker>
            <c:symbol val="none"/>
          </c:marker>
          <c:dLbls>
            <c:dLbl>
              <c:idx val="0"/>
              <c:layout>
                <c:manualLayout>
                  <c:x val="-1.6666666666666666E-2"/>
                  <c:y val="-4.6296296296296294E-2"/>
                </c:manualLayout>
              </c:layout>
              <c:showLegendKey val="0"/>
              <c:showVal val="1"/>
              <c:showCatName val="0"/>
              <c:showSerName val="0"/>
              <c:showPercent val="0"/>
              <c:showBubbleSize val="0"/>
            </c:dLbl>
            <c:dLbl>
              <c:idx val="1"/>
              <c:layout>
                <c:manualLayout>
                  <c:x val="-3.8888888888888938E-2"/>
                  <c:y val="-5.5555555555555552E-2"/>
                </c:manualLayout>
              </c:layout>
              <c:showLegendKey val="0"/>
              <c:showVal val="1"/>
              <c:showCatName val="0"/>
              <c:showSerName val="0"/>
              <c:showPercent val="0"/>
              <c:showBubbleSize val="0"/>
            </c:dLbl>
            <c:dLbl>
              <c:idx val="2"/>
              <c:layout>
                <c:manualLayout>
                  <c:x val="-4.1666666666666664E-2"/>
                  <c:y val="-4.1666666666666664E-2"/>
                </c:manualLayout>
              </c:layout>
              <c:showLegendKey val="0"/>
              <c:showVal val="1"/>
              <c:showCatName val="0"/>
              <c:showSerName val="0"/>
              <c:showPercent val="0"/>
              <c:showBubbleSize val="0"/>
            </c:dLbl>
            <c:dLbl>
              <c:idx val="3"/>
              <c:layout>
                <c:manualLayout>
                  <c:x val="-3.3333333333333333E-2"/>
                  <c:y val="-5.5555555555555601E-2"/>
                </c:manualLayout>
              </c:layout>
              <c:showLegendKey val="0"/>
              <c:showVal val="1"/>
              <c:showCatName val="0"/>
              <c:showSerName val="0"/>
              <c:showPercent val="0"/>
              <c:showBubbleSize val="0"/>
            </c:dLbl>
            <c:dLbl>
              <c:idx val="4"/>
              <c:layout>
                <c:manualLayout>
                  <c:x val="-3.6111111111111108E-2"/>
                  <c:y val="-4.6296296296296294E-2"/>
                </c:manualLayout>
              </c:layout>
              <c:showLegendKey val="0"/>
              <c:showVal val="1"/>
              <c:showCatName val="0"/>
              <c:showSerName val="0"/>
              <c:showPercent val="0"/>
              <c:showBubbleSize val="0"/>
            </c:dLbl>
            <c:dLbl>
              <c:idx val="5"/>
              <c:layout>
                <c:manualLayout>
                  <c:x val="-3.3333333333333333E-2"/>
                  <c:y val="-6.018518518518521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numRef>
              <c:f>Feuil2!$B$16:$B$21</c:f>
              <c:numCache>
                <c:formatCode>General</c:formatCode>
                <c:ptCount val="6"/>
                <c:pt idx="0">
                  <c:v>2008</c:v>
                </c:pt>
                <c:pt idx="1">
                  <c:v>2009</c:v>
                </c:pt>
                <c:pt idx="2">
                  <c:v>2010</c:v>
                </c:pt>
                <c:pt idx="3">
                  <c:v>2011</c:v>
                </c:pt>
                <c:pt idx="4">
                  <c:v>2012</c:v>
                </c:pt>
                <c:pt idx="5">
                  <c:v>2013</c:v>
                </c:pt>
              </c:numCache>
            </c:numRef>
          </c:cat>
          <c:val>
            <c:numRef>
              <c:f>Feuil2!$C$16:$C$21</c:f>
              <c:numCache>
                <c:formatCode>General</c:formatCode>
                <c:ptCount val="6"/>
                <c:pt idx="0">
                  <c:v>43</c:v>
                </c:pt>
                <c:pt idx="1">
                  <c:v>40</c:v>
                </c:pt>
                <c:pt idx="2">
                  <c:v>41</c:v>
                </c:pt>
                <c:pt idx="3">
                  <c:v>57</c:v>
                </c:pt>
                <c:pt idx="4">
                  <c:v>75</c:v>
                </c:pt>
                <c:pt idx="5">
                  <c:v>83</c:v>
                </c:pt>
              </c:numCache>
            </c:numRef>
          </c:val>
          <c:smooth val="0"/>
        </c:ser>
        <c:dLbls>
          <c:showLegendKey val="0"/>
          <c:showVal val="0"/>
          <c:showCatName val="0"/>
          <c:showSerName val="0"/>
          <c:showPercent val="0"/>
          <c:showBubbleSize val="0"/>
        </c:dLbls>
        <c:marker val="1"/>
        <c:smooth val="0"/>
        <c:axId val="107755520"/>
        <c:axId val="101928320"/>
      </c:lineChart>
      <c:catAx>
        <c:axId val="107755520"/>
        <c:scaling>
          <c:orientation val="minMax"/>
        </c:scaling>
        <c:delete val="0"/>
        <c:axPos val="b"/>
        <c:numFmt formatCode="General" sourceLinked="1"/>
        <c:majorTickMark val="out"/>
        <c:minorTickMark val="none"/>
        <c:tickLblPos val="nextTo"/>
        <c:crossAx val="101928320"/>
        <c:crosses val="autoZero"/>
        <c:auto val="1"/>
        <c:lblAlgn val="ctr"/>
        <c:lblOffset val="100"/>
        <c:noMultiLvlLbl val="0"/>
      </c:catAx>
      <c:valAx>
        <c:axId val="101928320"/>
        <c:scaling>
          <c:orientation val="minMax"/>
        </c:scaling>
        <c:delete val="0"/>
        <c:axPos val="l"/>
        <c:title>
          <c:tx>
            <c:rich>
              <a:bodyPr rot="-5400000" vert="horz"/>
              <a:lstStyle/>
              <a:p>
                <a:pPr>
                  <a:defRPr/>
                </a:pPr>
                <a:r>
                  <a:rPr lang="en-US"/>
                  <a:t>Minutes/mois/abonné</a:t>
                </a:r>
              </a:p>
            </c:rich>
          </c:tx>
          <c:layout/>
          <c:overlay val="0"/>
        </c:title>
        <c:numFmt formatCode="General" sourceLinked="1"/>
        <c:majorTickMark val="out"/>
        <c:minorTickMark val="none"/>
        <c:tickLblPos val="nextTo"/>
        <c:crossAx val="107755520"/>
        <c:crosses val="autoZero"/>
        <c:crossBetween val="between"/>
      </c:valAx>
    </c:plotArea>
    <c:plotVisOnly val="1"/>
    <c:dispBlanksAs val="gap"/>
    <c:showDLblsOverMax val="0"/>
  </c:chart>
  <c:spPr>
    <a:ln>
      <a:solidFill>
        <a:srgbClr val="000000"/>
      </a:solidFill>
    </a:ln>
  </c:sp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overlay val="0"/>
      <c:txPr>
        <a:bodyPr/>
        <a:lstStyle/>
        <a:p>
          <a:pPr>
            <a:defRPr sz="1400"/>
          </a:pPr>
          <a:endParaRPr lang="fr-FR"/>
        </a:p>
      </c:txPr>
    </c:title>
    <c:autoTitleDeleted val="0"/>
    <c:plotArea>
      <c:layout>
        <c:manualLayout>
          <c:layoutTarget val="inner"/>
          <c:xMode val="edge"/>
          <c:yMode val="edge"/>
          <c:x val="0.14497462817147858"/>
          <c:y val="0.12848388743073783"/>
          <c:w val="0.82446981627296589"/>
          <c:h val="0.75553623505395162"/>
        </c:manualLayout>
      </c:layout>
      <c:lineChart>
        <c:grouping val="standard"/>
        <c:varyColors val="0"/>
        <c:ser>
          <c:idx val="0"/>
          <c:order val="0"/>
          <c:tx>
            <c:strRef>
              <c:f>Fixe!$D$3</c:f>
              <c:strCache>
                <c:ptCount val="1"/>
                <c:pt idx="0">
                  <c:v>Usage moyen sortant fixe</c:v>
                </c:pt>
              </c:strCache>
            </c:strRef>
          </c:tx>
          <c:marker>
            <c:symbol val="square"/>
            <c:size val="5"/>
          </c:marker>
          <c:dLbls>
            <c:dLbl>
              <c:idx val="0"/>
              <c:layout>
                <c:manualLayout>
                  <c:x val="-2.4999999999999974E-2"/>
                  <c:y val="-6.0185185185185196E-2"/>
                </c:manualLayout>
              </c:layout>
              <c:showLegendKey val="0"/>
              <c:showVal val="1"/>
              <c:showCatName val="0"/>
              <c:showSerName val="0"/>
              <c:showPercent val="0"/>
              <c:showBubbleSize val="0"/>
            </c:dLbl>
            <c:dLbl>
              <c:idx val="1"/>
              <c:layout>
                <c:manualLayout>
                  <c:x val="-3.0555555555555555E-2"/>
                  <c:y val="-8.3333333333333356E-2"/>
                </c:manualLayout>
              </c:layout>
              <c:showLegendKey val="0"/>
              <c:showVal val="1"/>
              <c:showCatName val="0"/>
              <c:showSerName val="0"/>
              <c:showPercent val="0"/>
              <c:showBubbleSize val="0"/>
            </c:dLbl>
            <c:dLbl>
              <c:idx val="2"/>
              <c:layout>
                <c:manualLayout>
                  <c:x val="-2.5000000000000102E-2"/>
                  <c:y val="-6.9444444444444448E-2"/>
                </c:manualLayout>
              </c:layout>
              <c:showLegendKey val="0"/>
              <c:showVal val="1"/>
              <c:showCatName val="0"/>
              <c:showSerName val="0"/>
              <c:showPercent val="0"/>
              <c:showBubbleSize val="0"/>
            </c:dLbl>
            <c:dLbl>
              <c:idx val="3"/>
              <c:layout>
                <c:manualLayout>
                  <c:x val="-1.9444444444444545E-2"/>
                  <c:y val="-6.4814814814814853E-2"/>
                </c:manualLayout>
              </c:layout>
              <c:showLegendKey val="0"/>
              <c:showVal val="1"/>
              <c:showCatName val="0"/>
              <c:showSerName val="0"/>
              <c:showPercent val="0"/>
              <c:showBubbleSize val="0"/>
            </c:dLbl>
            <c:dLbl>
              <c:idx val="4"/>
              <c:layout>
                <c:manualLayout>
                  <c:x val="-3.3333333333333333E-2"/>
                  <c:y val="-5.5555555555555643E-2"/>
                </c:manualLayout>
              </c:layout>
              <c:showLegendKey val="0"/>
              <c:showVal val="1"/>
              <c:showCatName val="0"/>
              <c:showSerName val="0"/>
              <c:showPercent val="0"/>
              <c:showBubbleSize val="0"/>
            </c:dLbl>
            <c:dLbl>
              <c:idx val="5"/>
              <c:layout>
                <c:manualLayout>
                  <c:x val="-3.3333333333333333E-2"/>
                  <c:y val="-5.5555555555555601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numRef>
              <c:f>Fixe!$C$4:$C$9</c:f>
              <c:numCache>
                <c:formatCode>General</c:formatCode>
                <c:ptCount val="6"/>
                <c:pt idx="0">
                  <c:v>2008</c:v>
                </c:pt>
                <c:pt idx="1">
                  <c:v>2009</c:v>
                </c:pt>
                <c:pt idx="2">
                  <c:v>2010</c:v>
                </c:pt>
                <c:pt idx="3">
                  <c:v>2011</c:v>
                </c:pt>
                <c:pt idx="4">
                  <c:v>2012</c:v>
                </c:pt>
                <c:pt idx="5">
                  <c:v>2013</c:v>
                </c:pt>
              </c:numCache>
            </c:numRef>
          </c:cat>
          <c:val>
            <c:numRef>
              <c:f>Fixe!$D$4:$D$9</c:f>
              <c:numCache>
                <c:formatCode>#,##0</c:formatCode>
                <c:ptCount val="6"/>
                <c:pt idx="0">
                  <c:v>187</c:v>
                </c:pt>
                <c:pt idx="1">
                  <c:v>158</c:v>
                </c:pt>
                <c:pt idx="2">
                  <c:v>136</c:v>
                </c:pt>
                <c:pt idx="3">
                  <c:v>126</c:v>
                </c:pt>
                <c:pt idx="4">
                  <c:v>111</c:v>
                </c:pt>
                <c:pt idx="5">
                  <c:v>125</c:v>
                </c:pt>
              </c:numCache>
            </c:numRef>
          </c:val>
          <c:smooth val="0"/>
        </c:ser>
        <c:dLbls>
          <c:showLegendKey val="0"/>
          <c:showVal val="0"/>
          <c:showCatName val="0"/>
          <c:showSerName val="0"/>
          <c:showPercent val="0"/>
          <c:showBubbleSize val="0"/>
        </c:dLbls>
        <c:marker val="1"/>
        <c:smooth val="0"/>
        <c:axId val="107346944"/>
        <c:axId val="104636992"/>
      </c:lineChart>
      <c:catAx>
        <c:axId val="107346944"/>
        <c:scaling>
          <c:orientation val="minMax"/>
        </c:scaling>
        <c:delete val="0"/>
        <c:axPos val="b"/>
        <c:numFmt formatCode="General" sourceLinked="1"/>
        <c:majorTickMark val="out"/>
        <c:minorTickMark val="none"/>
        <c:tickLblPos val="nextTo"/>
        <c:crossAx val="104636992"/>
        <c:crosses val="autoZero"/>
        <c:auto val="1"/>
        <c:lblAlgn val="ctr"/>
        <c:lblOffset val="100"/>
        <c:noMultiLvlLbl val="0"/>
      </c:catAx>
      <c:valAx>
        <c:axId val="104636992"/>
        <c:scaling>
          <c:orientation val="minMax"/>
        </c:scaling>
        <c:delete val="0"/>
        <c:axPos val="l"/>
        <c:title>
          <c:tx>
            <c:rich>
              <a:bodyPr rot="-5400000" vert="horz"/>
              <a:lstStyle/>
              <a:p>
                <a:pPr>
                  <a:defRPr/>
                </a:pPr>
                <a:r>
                  <a:rPr lang="en-US"/>
                  <a:t>Par minute/mois/abonné</a:t>
                </a:r>
              </a:p>
            </c:rich>
          </c:tx>
          <c:layout/>
          <c:overlay val="0"/>
        </c:title>
        <c:numFmt formatCode="#,##0" sourceLinked="1"/>
        <c:majorTickMark val="out"/>
        <c:minorTickMark val="none"/>
        <c:tickLblPos val="nextTo"/>
        <c:crossAx val="107346944"/>
        <c:crosses val="autoZero"/>
        <c:crossBetween val="between"/>
      </c:valAx>
    </c:plotArea>
    <c:plotVisOnly val="1"/>
    <c:dispBlanksAs val="gap"/>
    <c:showDLblsOverMax val="0"/>
  </c:chart>
  <c:spPr>
    <a:ln>
      <a:solidFill>
        <a:srgbClr val="000000"/>
      </a:solidFill>
    </a:ln>
  </c:sp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400"/>
            </a:pPr>
            <a:r>
              <a:rPr lang="en-US" sz="1400"/>
              <a:t>Evolution du revenu moyen</a:t>
            </a:r>
            <a:r>
              <a:rPr lang="en-US" sz="1400" baseline="0"/>
              <a:t> par minute Fixe (ARPM)</a:t>
            </a:r>
            <a:endParaRPr lang="en-US" sz="1400"/>
          </a:p>
        </c:rich>
      </c:tx>
      <c:layout/>
      <c:overlay val="0"/>
    </c:title>
    <c:autoTitleDeleted val="0"/>
    <c:plotArea>
      <c:layout/>
      <c:lineChart>
        <c:grouping val="standard"/>
        <c:varyColors val="0"/>
        <c:ser>
          <c:idx val="0"/>
          <c:order val="0"/>
          <c:tx>
            <c:strRef>
              <c:f>Fixe!$D$17</c:f>
              <c:strCache>
                <c:ptCount val="1"/>
                <c:pt idx="0">
                  <c:v>ARPM Fixe Global</c:v>
                </c:pt>
              </c:strCache>
            </c:strRef>
          </c:tx>
          <c:marker>
            <c:symbol val="triangle"/>
            <c:size val="5"/>
          </c:marker>
          <c:dLbls>
            <c:dLbl>
              <c:idx val="0"/>
              <c:layout>
                <c:manualLayout>
                  <c:x val="-3.3333333333333361E-2"/>
                  <c:y val="-6.4814814814814811E-2"/>
                </c:manualLayout>
              </c:layout>
              <c:showLegendKey val="0"/>
              <c:showVal val="1"/>
              <c:showCatName val="0"/>
              <c:showSerName val="0"/>
              <c:showPercent val="0"/>
              <c:showBubbleSize val="0"/>
            </c:dLbl>
            <c:dLbl>
              <c:idx val="1"/>
              <c:layout>
                <c:manualLayout>
                  <c:x val="-4.1666666666666664E-2"/>
                  <c:y val="-5.0925925925925923E-2"/>
                </c:manualLayout>
              </c:layout>
              <c:showLegendKey val="0"/>
              <c:showVal val="1"/>
              <c:showCatName val="0"/>
              <c:showSerName val="0"/>
              <c:showPercent val="0"/>
              <c:showBubbleSize val="0"/>
            </c:dLbl>
            <c:dLbl>
              <c:idx val="2"/>
              <c:layout>
                <c:manualLayout>
                  <c:x val="-4.1666666666666664E-2"/>
                  <c:y val="-5.5555555555555552E-2"/>
                </c:manualLayout>
              </c:layout>
              <c:showLegendKey val="0"/>
              <c:showVal val="1"/>
              <c:showCatName val="0"/>
              <c:showSerName val="0"/>
              <c:showPercent val="0"/>
              <c:showBubbleSize val="0"/>
            </c:dLbl>
            <c:dLbl>
              <c:idx val="3"/>
              <c:layout>
                <c:manualLayout>
                  <c:x val="-2.7777777777777776E-2"/>
                  <c:y val="-5.5555555555555552E-2"/>
                </c:manualLayout>
              </c:layout>
              <c:showLegendKey val="0"/>
              <c:showVal val="1"/>
              <c:showCatName val="0"/>
              <c:showSerName val="0"/>
              <c:showPercent val="0"/>
              <c:showBubbleSize val="0"/>
            </c:dLbl>
            <c:dLbl>
              <c:idx val="4"/>
              <c:layout>
                <c:manualLayout>
                  <c:x val="-3.3333333333333437E-2"/>
                  <c:y val="-6.4814814814814811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numRef>
              <c:f>Fixe!$C$18:$C$23</c:f>
              <c:numCache>
                <c:formatCode>General</c:formatCode>
                <c:ptCount val="6"/>
                <c:pt idx="0">
                  <c:v>2008</c:v>
                </c:pt>
                <c:pt idx="1">
                  <c:v>2009</c:v>
                </c:pt>
                <c:pt idx="2">
                  <c:v>2010</c:v>
                </c:pt>
                <c:pt idx="3">
                  <c:v>2011</c:v>
                </c:pt>
                <c:pt idx="4">
                  <c:v>2012</c:v>
                </c:pt>
                <c:pt idx="5">
                  <c:v>2013</c:v>
                </c:pt>
              </c:numCache>
            </c:numRef>
          </c:cat>
          <c:val>
            <c:numRef>
              <c:f>Fixe!$D$18:$D$23</c:f>
              <c:numCache>
                <c:formatCode>#,##0.00</c:formatCode>
                <c:ptCount val="6"/>
                <c:pt idx="0" formatCode="#,##0.0">
                  <c:v>1.1000000000000001</c:v>
                </c:pt>
                <c:pt idx="1">
                  <c:v>1.08</c:v>
                </c:pt>
                <c:pt idx="2">
                  <c:v>1.01</c:v>
                </c:pt>
                <c:pt idx="3">
                  <c:v>0.95</c:v>
                </c:pt>
                <c:pt idx="4">
                  <c:v>0.79</c:v>
                </c:pt>
                <c:pt idx="5">
                  <c:v>0.69</c:v>
                </c:pt>
              </c:numCache>
            </c:numRef>
          </c:val>
          <c:smooth val="0"/>
        </c:ser>
        <c:dLbls>
          <c:showLegendKey val="0"/>
          <c:showVal val="0"/>
          <c:showCatName val="0"/>
          <c:showSerName val="0"/>
          <c:showPercent val="0"/>
          <c:showBubbleSize val="0"/>
        </c:dLbls>
        <c:marker val="1"/>
        <c:smooth val="0"/>
        <c:axId val="108777472"/>
        <c:axId val="104638720"/>
      </c:lineChart>
      <c:catAx>
        <c:axId val="108777472"/>
        <c:scaling>
          <c:orientation val="minMax"/>
        </c:scaling>
        <c:delete val="0"/>
        <c:axPos val="b"/>
        <c:numFmt formatCode="General" sourceLinked="1"/>
        <c:majorTickMark val="out"/>
        <c:minorTickMark val="none"/>
        <c:tickLblPos val="nextTo"/>
        <c:crossAx val="104638720"/>
        <c:crosses val="autoZero"/>
        <c:auto val="1"/>
        <c:lblAlgn val="ctr"/>
        <c:lblOffset val="100"/>
        <c:noMultiLvlLbl val="0"/>
      </c:catAx>
      <c:valAx>
        <c:axId val="104638720"/>
        <c:scaling>
          <c:orientation val="minMax"/>
        </c:scaling>
        <c:delete val="0"/>
        <c:axPos val="l"/>
        <c:numFmt formatCode="#,##0.0" sourceLinked="1"/>
        <c:majorTickMark val="out"/>
        <c:minorTickMark val="none"/>
        <c:tickLblPos val="nextTo"/>
        <c:crossAx val="108777472"/>
        <c:crosses val="autoZero"/>
        <c:crossBetween val="between"/>
      </c:valAx>
    </c:plotArea>
    <c:plotVisOnly val="1"/>
    <c:dispBlanksAs val="gap"/>
    <c:showDLblsOverMax val="0"/>
  </c:chart>
  <c:spPr>
    <a:ln>
      <a:solidFill>
        <a:srgbClr val="000000"/>
      </a:solidFill>
    </a:ln>
  </c:sp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fr-FR" sz="1400" dirty="0"/>
              <a:t>Répartition du parc Internet </a:t>
            </a:r>
            <a:endParaRPr lang="fr-FR" sz="1400" dirty="0" smtClean="0"/>
          </a:p>
          <a:p>
            <a:pPr>
              <a:defRPr sz="1400"/>
            </a:pPr>
            <a:r>
              <a:rPr lang="fr-FR" sz="1400" dirty="0" smtClean="0"/>
              <a:t>par </a:t>
            </a:r>
            <a:r>
              <a:rPr lang="fr-FR" sz="1400" dirty="0"/>
              <a:t>type d'accès       </a:t>
            </a:r>
          </a:p>
          <a:p>
            <a:pPr>
              <a:defRPr sz="1400"/>
            </a:pPr>
            <a:r>
              <a:rPr lang="fr-FR" sz="1400" b="0" i="1" dirty="0"/>
              <a:t> (Décembre 2013)</a:t>
            </a:r>
          </a:p>
        </c:rich>
      </c:tx>
      <c:layout/>
      <c:overlay val="0"/>
    </c:title>
    <c:autoTitleDeleted val="0"/>
    <c:plotArea>
      <c:layout>
        <c:manualLayout>
          <c:layoutTarget val="inner"/>
          <c:xMode val="edge"/>
          <c:yMode val="edge"/>
          <c:x val="0.18899612345139361"/>
          <c:y val="0.21270350122366749"/>
          <c:w val="0.60985263535062828"/>
          <c:h val="0.65144627013443479"/>
        </c:manualLayout>
      </c:layout>
      <c:pieChart>
        <c:varyColors val="1"/>
        <c:ser>
          <c:idx val="0"/>
          <c:order val="0"/>
          <c:explosion val="25"/>
          <c:dPt>
            <c:idx val="0"/>
            <c:bubble3D val="0"/>
            <c:spPr>
              <a:solidFill>
                <a:srgbClr val="00FFFF"/>
              </a:solidFill>
            </c:spPr>
          </c:dPt>
          <c:dPt>
            <c:idx val="1"/>
            <c:bubble3D val="0"/>
            <c:spPr>
              <a:solidFill>
                <a:srgbClr val="B2B2B2"/>
              </a:solidFill>
            </c:spPr>
          </c:dPt>
          <c:dLbls>
            <c:dLbl>
              <c:idx val="0"/>
              <c:layout>
                <c:manualLayout>
                  <c:x val="5.0713058307804176E-2"/>
                  <c:y val="4.3861440212581669E-2"/>
                </c:manualLayout>
              </c:layout>
              <c:spPr/>
              <c:txPr>
                <a:bodyPr/>
                <a:lstStyle/>
                <a:p>
                  <a:pPr>
                    <a:defRPr sz="1400" b="1"/>
                  </a:pPr>
                  <a:endParaRPr lang="fr-FR"/>
                </a:p>
              </c:txPr>
              <c:dLblPos val="bestFit"/>
              <c:showLegendKey val="0"/>
              <c:showVal val="1"/>
              <c:showCatName val="0"/>
              <c:showSerName val="0"/>
              <c:showPercent val="0"/>
              <c:showBubbleSize val="0"/>
            </c:dLbl>
            <c:dLbl>
              <c:idx val="1"/>
              <c:layout>
                <c:manualLayout>
                  <c:x val="-3.9657589079973792E-2"/>
                  <c:y val="-4.2857251167784681E-2"/>
                </c:manualLayout>
              </c:layout>
              <c:spPr/>
              <c:txPr>
                <a:bodyPr/>
                <a:lstStyle/>
                <a:p>
                  <a:pPr>
                    <a:defRPr sz="1400" b="1"/>
                  </a:pPr>
                  <a:endParaRPr lang="fr-FR"/>
                </a:p>
              </c:txPr>
              <c:dLblPos val="bestFit"/>
              <c:showLegendKey val="0"/>
              <c:showVal val="1"/>
              <c:showCatName val="0"/>
              <c:showSerName val="0"/>
              <c:showPercent val="0"/>
              <c:showBubbleSize val="0"/>
            </c:dLbl>
            <c:dLbl>
              <c:idx val="2"/>
              <c:layout>
                <c:manualLayout>
                  <c:x val="-5.4587893684816265E-2"/>
                  <c:y val="7.9437601847017675E-2"/>
                </c:manualLayout>
              </c:layout>
              <c:spPr/>
              <c:txPr>
                <a:bodyPr/>
                <a:lstStyle/>
                <a:p>
                  <a:pPr>
                    <a:defRPr sz="1400" b="1"/>
                  </a:pPr>
                  <a:endParaRPr lang="fr-FR"/>
                </a:p>
              </c:txPr>
              <c:dLblPos val="bestFit"/>
              <c:showLegendKey val="0"/>
              <c:showVal val="1"/>
              <c:showCatName val="0"/>
              <c:showSerName val="0"/>
              <c:showPercent val="0"/>
              <c:showBubbleSize val="0"/>
            </c:dLbl>
            <c:txPr>
              <a:bodyPr/>
              <a:lstStyle/>
              <a:p>
                <a:pPr>
                  <a:defRPr sz="1200" b="1"/>
                </a:pPr>
                <a:endParaRPr lang="fr-FR"/>
              </a:p>
            </c:txPr>
            <c:dLblPos val="outEnd"/>
            <c:showLegendKey val="0"/>
            <c:showVal val="1"/>
            <c:showCatName val="0"/>
            <c:showSerName val="0"/>
            <c:showPercent val="0"/>
            <c:showBubbleSize val="0"/>
            <c:showLeaderLines val="0"/>
          </c:dLbls>
          <c:cat>
            <c:strRef>
              <c:f>(INTERNET!$B$5,INTERNET!$B$22,INTERNET!$B$57)</c:f>
              <c:strCache>
                <c:ptCount val="3"/>
                <c:pt idx="0">
                  <c:v>ADSL </c:v>
                </c:pt>
                <c:pt idx="1">
                  <c:v>Internet 3G</c:v>
                </c:pt>
                <c:pt idx="2">
                  <c:v>Autres offres Internet</c:v>
                </c:pt>
              </c:strCache>
            </c:strRef>
          </c:cat>
          <c:val>
            <c:numRef>
              <c:f>(INTERNET!$H$9,INTERNET!$H$26,INTERNET!$H$61)</c:f>
              <c:numCache>
                <c:formatCode>0.00%</c:formatCode>
                <c:ptCount val="3"/>
                <c:pt idx="0">
                  <c:v>0.14471242464517625</c:v>
                </c:pt>
                <c:pt idx="1">
                  <c:v>0.85497802783954135</c:v>
                </c:pt>
                <c:pt idx="2">
                  <c:v>3.0954751528390856E-4</c:v>
                </c:pt>
              </c:numCache>
            </c:numRef>
          </c:val>
        </c:ser>
        <c:dLbls>
          <c:showLegendKey val="0"/>
          <c:showVal val="1"/>
          <c:showCatName val="0"/>
          <c:showSerName val="0"/>
          <c:showPercent val="0"/>
          <c:showBubbleSize val="0"/>
          <c:showLeaderLines val="0"/>
        </c:dLbls>
        <c:firstSliceAng val="0"/>
      </c:pieChart>
    </c:plotArea>
    <c:legend>
      <c:legendPos val="b"/>
      <c:layout/>
      <c:overlay val="0"/>
      <c:txPr>
        <a:bodyPr/>
        <a:lstStyle/>
        <a:p>
          <a:pPr>
            <a:defRPr sz="1400"/>
          </a:pPr>
          <a:endParaRPr lang="fr-FR"/>
        </a:p>
      </c:txPr>
    </c:legend>
    <c:plotVisOnly val="1"/>
    <c:dispBlanksAs val="gap"/>
    <c:showDLblsOverMax val="0"/>
  </c:chart>
  <c:spPr>
    <a:ln>
      <a:solidFill>
        <a:schemeClr val="tx1"/>
      </a:solidFill>
    </a:ln>
  </c:sp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800"/>
            </a:pPr>
            <a:r>
              <a:rPr lang="fr-FR" sz="1800"/>
              <a:t>Evolution de la facture moyenne Internet</a:t>
            </a:r>
          </a:p>
        </c:rich>
      </c:tx>
      <c:layout>
        <c:manualLayout>
          <c:xMode val="edge"/>
          <c:yMode val="edge"/>
          <c:x val="0.26729593448121891"/>
          <c:y val="2.5518337034943377E-2"/>
        </c:manualLayout>
      </c:layout>
      <c:overlay val="1"/>
    </c:title>
    <c:autoTitleDeleted val="0"/>
    <c:plotArea>
      <c:layout>
        <c:manualLayout>
          <c:layoutTarget val="inner"/>
          <c:xMode val="edge"/>
          <c:yMode val="edge"/>
          <c:x val="0.13799944368419079"/>
          <c:y val="0.12871718249300904"/>
          <c:w val="0.82519815728428136"/>
          <c:h val="0.72481596677756677"/>
        </c:manualLayout>
      </c:layout>
      <c:lineChart>
        <c:grouping val="standard"/>
        <c:varyColors val="0"/>
        <c:ser>
          <c:idx val="0"/>
          <c:order val="0"/>
          <c:tx>
            <c:strRef>
              <c:f>Internet!$D$3</c:f>
              <c:strCache>
                <c:ptCount val="1"/>
                <c:pt idx="0">
                  <c:v>ADSL</c:v>
                </c:pt>
              </c:strCache>
            </c:strRef>
          </c:tx>
          <c:marker>
            <c:symbol val="square"/>
            <c:size val="5"/>
          </c:marker>
          <c:dLbls>
            <c:dLbl>
              <c:idx val="0"/>
              <c:layout>
                <c:manualLayout>
                  <c:x val="-4.7026279391424619E-2"/>
                  <c:y val="-4.004004004004004E-2"/>
                </c:manualLayout>
              </c:layout>
              <c:showLegendKey val="0"/>
              <c:showVal val="1"/>
              <c:showCatName val="0"/>
              <c:showSerName val="0"/>
              <c:showPercent val="0"/>
              <c:showBubbleSize val="0"/>
            </c:dLbl>
            <c:dLbl>
              <c:idx val="1"/>
              <c:layout>
                <c:manualLayout>
                  <c:x val="-2.7662517289073305E-2"/>
                  <c:y val="-4.4044044044044064E-2"/>
                </c:manualLayout>
              </c:layout>
              <c:showLegendKey val="0"/>
              <c:showVal val="1"/>
              <c:showCatName val="0"/>
              <c:showSerName val="0"/>
              <c:showPercent val="0"/>
              <c:showBubbleSize val="0"/>
            </c:dLbl>
            <c:dLbl>
              <c:idx val="2"/>
              <c:layout>
                <c:manualLayout>
                  <c:x val="-2.7662517289073305E-2"/>
                  <c:y val="-4.2281967006376459E-2"/>
                </c:manualLayout>
              </c:layout>
              <c:showLegendKey val="0"/>
              <c:showVal val="1"/>
              <c:showCatName val="0"/>
              <c:showSerName val="0"/>
              <c:showPercent val="0"/>
              <c:showBubbleSize val="0"/>
            </c:dLbl>
            <c:dLbl>
              <c:idx val="3"/>
              <c:layout>
                <c:manualLayout>
                  <c:x val="-1.6597510373443983E-2"/>
                  <c:y val="-5.1036674069886719E-2"/>
                </c:manualLayout>
              </c:layout>
              <c:showLegendKey val="0"/>
              <c:showVal val="1"/>
              <c:showCatName val="0"/>
              <c:showSerName val="0"/>
              <c:showPercent val="0"/>
              <c:showBubbleSize val="0"/>
            </c:dLbl>
            <c:dLbl>
              <c:idx val="4"/>
              <c:layout>
                <c:manualLayout>
                  <c:x val="-3.3195020746887967E-2"/>
                  <c:y val="-4.253056172490563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numRef>
              <c:f>Internet!$C$4:$C$9</c:f>
              <c:numCache>
                <c:formatCode>General</c:formatCode>
                <c:ptCount val="6"/>
                <c:pt idx="0">
                  <c:v>2008</c:v>
                </c:pt>
                <c:pt idx="1">
                  <c:v>2009</c:v>
                </c:pt>
                <c:pt idx="2">
                  <c:v>2010</c:v>
                </c:pt>
                <c:pt idx="3">
                  <c:v>2011</c:v>
                </c:pt>
                <c:pt idx="4">
                  <c:v>2012</c:v>
                </c:pt>
                <c:pt idx="5">
                  <c:v>2013</c:v>
                </c:pt>
              </c:numCache>
            </c:numRef>
          </c:cat>
          <c:val>
            <c:numRef>
              <c:f>Internet!$D$4:$D$9</c:f>
              <c:numCache>
                <c:formatCode>#,##0</c:formatCode>
                <c:ptCount val="6"/>
                <c:pt idx="0">
                  <c:v>167</c:v>
                </c:pt>
                <c:pt idx="1">
                  <c:v>157</c:v>
                </c:pt>
                <c:pt idx="2">
                  <c:v>139</c:v>
                </c:pt>
                <c:pt idx="3">
                  <c:v>116</c:v>
                </c:pt>
                <c:pt idx="4">
                  <c:v>111</c:v>
                </c:pt>
                <c:pt idx="5">
                  <c:v>98</c:v>
                </c:pt>
              </c:numCache>
            </c:numRef>
          </c:val>
          <c:smooth val="0"/>
        </c:ser>
        <c:ser>
          <c:idx val="1"/>
          <c:order val="1"/>
          <c:tx>
            <c:strRef>
              <c:f>Internet!$E$3</c:f>
              <c:strCache>
                <c:ptCount val="1"/>
                <c:pt idx="0">
                  <c:v>Global Internet</c:v>
                </c:pt>
              </c:strCache>
            </c:strRef>
          </c:tx>
          <c:marker>
            <c:symbol val="diamond"/>
            <c:size val="5"/>
          </c:marker>
          <c:dLbls>
            <c:dLbl>
              <c:idx val="0"/>
              <c:layout>
                <c:manualLayout>
                  <c:x val="-7.4688796680497951E-2"/>
                  <c:y val="-1.6016016016016016E-2"/>
                </c:manualLayout>
              </c:layout>
              <c:showLegendKey val="0"/>
              <c:showVal val="1"/>
              <c:showCatName val="0"/>
              <c:showSerName val="0"/>
              <c:showPercent val="0"/>
              <c:showBubbleSize val="0"/>
            </c:dLbl>
            <c:dLbl>
              <c:idx val="1"/>
              <c:layout>
                <c:manualLayout>
                  <c:x val="-2.2130013831258646E-2"/>
                  <c:y val="-4.4044044044044044E-2"/>
                </c:manualLayout>
              </c:layout>
              <c:showLegendKey val="0"/>
              <c:showVal val="1"/>
              <c:showCatName val="0"/>
              <c:showSerName val="0"/>
              <c:showPercent val="0"/>
              <c:showBubbleSize val="0"/>
            </c:dLbl>
            <c:dLbl>
              <c:idx val="2"/>
              <c:layout>
                <c:manualLayout>
                  <c:x val="-1.6597510373443983E-2"/>
                  <c:y val="-4.4044044044044044E-2"/>
                </c:manualLayout>
              </c:layout>
              <c:showLegendKey val="0"/>
              <c:showVal val="1"/>
              <c:showCatName val="0"/>
              <c:showSerName val="0"/>
              <c:showPercent val="0"/>
              <c:showBubbleSize val="0"/>
            </c:dLbl>
            <c:dLbl>
              <c:idx val="3"/>
              <c:layout>
                <c:manualLayout>
                  <c:x val="-1.6597510373443983E-2"/>
                  <c:y val="-3.6036036036036112E-2"/>
                </c:manualLayout>
              </c:layout>
              <c:showLegendKey val="0"/>
              <c:showVal val="1"/>
              <c:showCatName val="0"/>
              <c:showSerName val="0"/>
              <c:showPercent val="0"/>
              <c:showBubbleSize val="0"/>
            </c:dLbl>
            <c:dLbl>
              <c:idx val="4"/>
              <c:layout>
                <c:manualLayout>
                  <c:x val="-2.4896265560166077E-2"/>
                  <c:y val="-5.6056056056056056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numRef>
              <c:f>Internet!$C$4:$C$9</c:f>
              <c:numCache>
                <c:formatCode>General</c:formatCode>
                <c:ptCount val="6"/>
                <c:pt idx="0">
                  <c:v>2008</c:v>
                </c:pt>
                <c:pt idx="1">
                  <c:v>2009</c:v>
                </c:pt>
                <c:pt idx="2">
                  <c:v>2010</c:v>
                </c:pt>
                <c:pt idx="3">
                  <c:v>2011</c:v>
                </c:pt>
                <c:pt idx="4">
                  <c:v>2012</c:v>
                </c:pt>
                <c:pt idx="5">
                  <c:v>2013</c:v>
                </c:pt>
              </c:numCache>
            </c:numRef>
          </c:cat>
          <c:val>
            <c:numRef>
              <c:f>Internet!$E$4:$E$9</c:f>
              <c:numCache>
                <c:formatCode>#,##0</c:formatCode>
                <c:ptCount val="6"/>
                <c:pt idx="0">
                  <c:v>154</c:v>
                </c:pt>
                <c:pt idx="1">
                  <c:v>121</c:v>
                </c:pt>
                <c:pt idx="2">
                  <c:v>82</c:v>
                </c:pt>
                <c:pt idx="3">
                  <c:v>53</c:v>
                </c:pt>
                <c:pt idx="4">
                  <c:v>42</c:v>
                </c:pt>
                <c:pt idx="5">
                  <c:v>36</c:v>
                </c:pt>
              </c:numCache>
            </c:numRef>
          </c:val>
          <c:smooth val="0"/>
        </c:ser>
        <c:ser>
          <c:idx val="2"/>
          <c:order val="2"/>
          <c:tx>
            <c:strRef>
              <c:f>Internet!$F$3</c:f>
              <c:strCache>
                <c:ptCount val="1"/>
                <c:pt idx="0">
                  <c:v>3G</c:v>
                </c:pt>
              </c:strCache>
            </c:strRef>
          </c:tx>
          <c:marker>
            <c:symbol val="triangle"/>
            <c:size val="5"/>
          </c:marker>
          <c:dLbls>
            <c:dLbl>
              <c:idx val="0"/>
              <c:layout>
                <c:manualLayout>
                  <c:x val="-5.5325034578146637E-2"/>
                  <c:y val="-3.6036036036036036E-2"/>
                </c:manualLayout>
              </c:layout>
              <c:showLegendKey val="0"/>
              <c:showVal val="1"/>
              <c:showCatName val="0"/>
              <c:showSerName val="0"/>
              <c:showPercent val="0"/>
              <c:showBubbleSize val="0"/>
            </c:dLbl>
            <c:dLbl>
              <c:idx val="1"/>
              <c:layout>
                <c:manualLayout>
                  <c:x val="-2.7662517289073305E-2"/>
                  <c:y val="-4.004004004004004E-2"/>
                </c:manualLayout>
              </c:layout>
              <c:showLegendKey val="0"/>
              <c:showVal val="1"/>
              <c:showCatName val="0"/>
              <c:showSerName val="0"/>
              <c:showPercent val="0"/>
              <c:showBubbleSize val="0"/>
            </c:dLbl>
            <c:dLbl>
              <c:idx val="2"/>
              <c:layout>
                <c:manualLayout>
                  <c:x val="-3.3195020746887967E-2"/>
                  <c:y val="-4.0040040040039963E-2"/>
                </c:manualLayout>
              </c:layout>
              <c:showLegendKey val="0"/>
              <c:showVal val="1"/>
              <c:showCatName val="0"/>
              <c:showSerName val="0"/>
              <c:showPercent val="0"/>
              <c:showBubbleSize val="0"/>
            </c:dLbl>
            <c:dLbl>
              <c:idx val="3"/>
              <c:layout>
                <c:manualLayout>
                  <c:x val="-3.5961272475795295E-2"/>
                  <c:y val="-2.4024024024024024E-2"/>
                </c:manualLayout>
              </c:layout>
              <c:showLegendKey val="0"/>
              <c:showVal val="1"/>
              <c:showCatName val="0"/>
              <c:showSerName val="0"/>
              <c:showPercent val="0"/>
              <c:showBubbleSize val="0"/>
            </c:dLbl>
            <c:dLbl>
              <c:idx val="4"/>
              <c:layout>
                <c:manualLayout>
                  <c:x val="-4.1493775933610061E-2"/>
                  <c:y val="-2.8028028028028174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numRef>
              <c:f>Internet!$C$4:$C$9</c:f>
              <c:numCache>
                <c:formatCode>General</c:formatCode>
                <c:ptCount val="6"/>
                <c:pt idx="0">
                  <c:v>2008</c:v>
                </c:pt>
                <c:pt idx="1">
                  <c:v>2009</c:v>
                </c:pt>
                <c:pt idx="2">
                  <c:v>2010</c:v>
                </c:pt>
                <c:pt idx="3">
                  <c:v>2011</c:v>
                </c:pt>
                <c:pt idx="4">
                  <c:v>2012</c:v>
                </c:pt>
                <c:pt idx="5">
                  <c:v>2013</c:v>
                </c:pt>
              </c:numCache>
            </c:numRef>
          </c:cat>
          <c:val>
            <c:numRef>
              <c:f>Internet!$F$4:$F$9</c:f>
              <c:numCache>
                <c:formatCode>#,##0</c:formatCode>
                <c:ptCount val="6"/>
                <c:pt idx="0">
                  <c:v>110</c:v>
                </c:pt>
                <c:pt idx="1">
                  <c:v>83</c:v>
                </c:pt>
                <c:pt idx="2">
                  <c:v>58</c:v>
                </c:pt>
                <c:pt idx="3">
                  <c:v>37</c:v>
                </c:pt>
                <c:pt idx="4">
                  <c:v>27</c:v>
                </c:pt>
                <c:pt idx="5">
                  <c:v>21</c:v>
                </c:pt>
              </c:numCache>
            </c:numRef>
          </c:val>
          <c:smooth val="0"/>
        </c:ser>
        <c:dLbls>
          <c:showLegendKey val="0"/>
          <c:showVal val="0"/>
          <c:showCatName val="0"/>
          <c:showSerName val="0"/>
          <c:showPercent val="0"/>
          <c:showBubbleSize val="0"/>
        </c:dLbls>
        <c:marker val="1"/>
        <c:smooth val="0"/>
        <c:axId val="120037888"/>
        <c:axId val="40817728"/>
      </c:lineChart>
      <c:catAx>
        <c:axId val="120037888"/>
        <c:scaling>
          <c:orientation val="minMax"/>
        </c:scaling>
        <c:delete val="0"/>
        <c:axPos val="b"/>
        <c:numFmt formatCode="General" sourceLinked="1"/>
        <c:majorTickMark val="out"/>
        <c:minorTickMark val="none"/>
        <c:tickLblPos val="nextTo"/>
        <c:crossAx val="40817728"/>
        <c:crosses val="autoZero"/>
        <c:auto val="1"/>
        <c:lblAlgn val="ctr"/>
        <c:lblOffset val="100"/>
        <c:noMultiLvlLbl val="0"/>
      </c:catAx>
      <c:valAx>
        <c:axId val="40817728"/>
        <c:scaling>
          <c:orientation val="minMax"/>
        </c:scaling>
        <c:delete val="0"/>
        <c:axPos val="l"/>
        <c:title>
          <c:tx>
            <c:rich>
              <a:bodyPr rot="-5400000" vert="horz"/>
              <a:lstStyle/>
              <a:p>
                <a:pPr>
                  <a:defRPr/>
                </a:pPr>
                <a:r>
                  <a:rPr lang="fr-FR"/>
                  <a:t>En</a:t>
                </a:r>
                <a:r>
                  <a:rPr lang="fr-FR" baseline="0"/>
                  <a:t> DH HT/mois/abonné</a:t>
                </a:r>
                <a:endParaRPr lang="fr-FR"/>
              </a:p>
            </c:rich>
          </c:tx>
          <c:layout/>
          <c:overlay val="0"/>
        </c:title>
        <c:numFmt formatCode="#,##0" sourceLinked="1"/>
        <c:majorTickMark val="out"/>
        <c:minorTickMark val="none"/>
        <c:tickLblPos val="nextTo"/>
        <c:crossAx val="120037888"/>
        <c:crosses val="autoZero"/>
        <c:crossBetween val="between"/>
      </c:valAx>
    </c:plotArea>
    <c:legend>
      <c:legendPos val="b"/>
      <c:layout/>
      <c:overlay val="0"/>
      <c:txPr>
        <a:bodyPr/>
        <a:lstStyle/>
        <a:p>
          <a:pPr>
            <a:defRPr sz="1400"/>
          </a:pPr>
          <a:endParaRPr lang="fr-FR"/>
        </a:p>
      </c:txPr>
    </c:legend>
    <c:plotVisOnly val="1"/>
    <c:dispBlanksAs val="gap"/>
    <c:showDLblsOverMax val="0"/>
  </c:chart>
  <c:spPr>
    <a:ln>
      <a:solidFill>
        <a:srgbClr val="000000"/>
      </a:solidFill>
    </a:ln>
  </c:sp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Feuil1!$B$20</c:f>
              <c:strCache>
                <c:ptCount val="1"/>
                <c:pt idx="0">
                  <c:v>Parc Total</c:v>
                </c:pt>
              </c:strCache>
            </c:strRef>
          </c:tx>
          <c:invertIfNegative val="0"/>
          <c:dLbls>
            <c:dLbl>
              <c:idx val="5"/>
              <c:layout>
                <c:manualLayout>
                  <c:x val="0"/>
                  <c:y val="-2.9588530134432692E-2"/>
                </c:manualLayout>
              </c:layout>
              <c:showLegendKey val="0"/>
              <c:showVal val="1"/>
              <c:showCatName val="0"/>
              <c:showSerName val="0"/>
              <c:showPercent val="0"/>
              <c:showBubbleSize val="0"/>
            </c:dLbl>
            <c:dLbl>
              <c:idx val="9"/>
              <c:layout>
                <c:manualLayout>
                  <c:x val="5.8287795992714025E-3"/>
                  <c:y val="0"/>
                </c:manualLayout>
              </c:layout>
              <c:showLegendKey val="0"/>
              <c:showVal val="1"/>
              <c:showCatName val="0"/>
              <c:showSerName val="0"/>
              <c:showPercent val="0"/>
              <c:showBubbleSize val="0"/>
            </c:dLbl>
            <c:dLbl>
              <c:idx val="10"/>
              <c:layout>
                <c:manualLayout>
                  <c:x val="7.2859744990892532E-3"/>
                  <c:y val="3.3903132460491544E-17"/>
                </c:manualLayout>
              </c:layout>
              <c:showLegendKey val="0"/>
              <c:showVal val="1"/>
              <c:showCatName val="0"/>
              <c:showSerName val="0"/>
              <c:showPercent val="0"/>
              <c:showBubbleSize val="0"/>
            </c:dLbl>
            <c:dLbl>
              <c:idx val="11"/>
              <c:layout>
                <c:manualLayout>
                  <c:x val="8.7431693989071038E-3"/>
                  <c:y val="0"/>
                </c:manualLayout>
              </c:layout>
              <c:showLegendKey val="0"/>
              <c:showVal val="1"/>
              <c:showCatName val="0"/>
              <c:showSerName val="0"/>
              <c:showPercent val="0"/>
              <c:showBubbleSize val="0"/>
            </c:dLbl>
            <c:dLbl>
              <c:idx val="12"/>
              <c:layout>
                <c:manualLayout>
                  <c:x val="8.7431693989069963E-3"/>
                  <c:y val="0"/>
                </c:manualLayout>
              </c:layout>
              <c:showLegendKey val="0"/>
              <c:showVal val="1"/>
              <c:showCatName val="0"/>
              <c:showSerName val="0"/>
              <c:showPercent val="0"/>
              <c:showBubbleSize val="0"/>
            </c:dLbl>
            <c:dLbl>
              <c:idx val="13"/>
              <c:layout>
                <c:manualLayout>
                  <c:x val="5.8287795992714025E-3"/>
                  <c:y val="-1.4794265067216329E-2"/>
                </c:manualLayout>
              </c:layout>
              <c:showLegendKey val="0"/>
              <c:showVal val="1"/>
              <c:showCatName val="0"/>
              <c:showSerName val="0"/>
              <c:showPercent val="0"/>
              <c:showBubbleSize val="0"/>
            </c:dLbl>
            <c:txPr>
              <a:bodyPr/>
              <a:lstStyle/>
              <a:p>
                <a:pPr>
                  <a:defRPr b="1"/>
                </a:pPr>
                <a:endParaRPr lang="fr-FR"/>
              </a:p>
            </c:txPr>
            <c:showLegendKey val="0"/>
            <c:showVal val="1"/>
            <c:showCatName val="0"/>
            <c:showSerName val="0"/>
            <c:showPercent val="0"/>
            <c:showBubbleSize val="0"/>
            <c:showLeaderLines val="0"/>
          </c:dLbls>
          <c:cat>
            <c:numRef>
              <c:f>Feuil1!$A$21:$A$34</c:f>
              <c:numCache>
                <c:formatCode>General</c:formatCode>
                <c:ptCount val="1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numCache>
            </c:numRef>
          </c:cat>
          <c:val>
            <c:numRef>
              <c:f>Feuil1!$B$21:$B$34</c:f>
              <c:numCache>
                <c:formatCode>#,##0</c:formatCode>
                <c:ptCount val="14"/>
                <c:pt idx="0" formatCode="General">
                  <c:v>674</c:v>
                </c:pt>
                <c:pt idx="1">
                  <c:v>1998</c:v>
                </c:pt>
                <c:pt idx="2">
                  <c:v>3586</c:v>
                </c:pt>
                <c:pt idx="3">
                  <c:v>5298</c:v>
                </c:pt>
                <c:pt idx="4">
                  <c:v>9476</c:v>
                </c:pt>
                <c:pt idx="5">
                  <c:v>19025</c:v>
                </c:pt>
                <c:pt idx="6">
                  <c:v>22583</c:v>
                </c:pt>
                <c:pt idx="7">
                  <c:v>25890</c:v>
                </c:pt>
                <c:pt idx="8">
                  <c:v>29450</c:v>
                </c:pt>
                <c:pt idx="9">
                  <c:v>34008</c:v>
                </c:pt>
                <c:pt idx="10">
                  <c:v>37969</c:v>
                </c:pt>
                <c:pt idx="11">
                  <c:v>42187</c:v>
                </c:pt>
                <c:pt idx="12">
                  <c:v>46806</c:v>
                </c:pt>
                <c:pt idx="13">
                  <c:v>50945</c:v>
                </c:pt>
              </c:numCache>
            </c:numRef>
          </c:val>
        </c:ser>
        <c:dLbls>
          <c:showLegendKey val="0"/>
          <c:showVal val="0"/>
          <c:showCatName val="0"/>
          <c:showSerName val="0"/>
          <c:showPercent val="0"/>
          <c:showBubbleSize val="0"/>
        </c:dLbls>
        <c:gapWidth val="150"/>
        <c:shape val="box"/>
        <c:axId val="120037376"/>
        <c:axId val="101926016"/>
        <c:axId val="0"/>
      </c:bar3DChart>
      <c:catAx>
        <c:axId val="120037376"/>
        <c:scaling>
          <c:orientation val="minMax"/>
        </c:scaling>
        <c:delete val="0"/>
        <c:axPos val="b"/>
        <c:numFmt formatCode="General" sourceLinked="1"/>
        <c:majorTickMark val="out"/>
        <c:minorTickMark val="none"/>
        <c:tickLblPos val="nextTo"/>
        <c:crossAx val="101926016"/>
        <c:crosses val="autoZero"/>
        <c:auto val="1"/>
        <c:lblAlgn val="ctr"/>
        <c:lblOffset val="100"/>
        <c:noMultiLvlLbl val="0"/>
      </c:catAx>
      <c:valAx>
        <c:axId val="101926016"/>
        <c:scaling>
          <c:orientation val="minMax"/>
        </c:scaling>
        <c:delete val="0"/>
        <c:axPos val="l"/>
        <c:majorGridlines>
          <c:spPr>
            <a:ln w="3175">
              <a:solidFill>
                <a:schemeClr val="bg1">
                  <a:lumMod val="85000"/>
                </a:schemeClr>
              </a:solidFill>
            </a:ln>
          </c:spPr>
        </c:majorGridlines>
        <c:numFmt formatCode="General" sourceLinked="1"/>
        <c:majorTickMark val="out"/>
        <c:minorTickMark val="none"/>
        <c:tickLblPos val="nextTo"/>
        <c:crossAx val="120037376"/>
        <c:crosses val="autoZero"/>
        <c:crossBetween val="between"/>
      </c:valAx>
    </c:plotArea>
    <c:plotVisOnly val="1"/>
    <c:dispBlanksAs val="gap"/>
    <c:showDLblsOverMax val="0"/>
  </c:chart>
  <c:spPr>
    <a:ln>
      <a:solidFill>
        <a:srgbClr val="000000"/>
      </a:solidFill>
    </a:ln>
  </c:sp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332"/>
          </a:xfrm>
          <a:prstGeom prst="rect">
            <a:avLst/>
          </a:prstGeom>
        </p:spPr>
        <p:txBody>
          <a:bodyPr vert="horz" lIns="91568" tIns="45784" rIns="91568" bIns="45784" rtlCol="0"/>
          <a:lstStyle>
            <a:lvl1pPr algn="l">
              <a:defRPr sz="1200"/>
            </a:lvl1pPr>
          </a:lstStyle>
          <a:p>
            <a:endParaRPr lang="fr-FR"/>
          </a:p>
        </p:txBody>
      </p:sp>
      <p:sp>
        <p:nvSpPr>
          <p:cNvPr id="3" name="Espace réservé de la date 2"/>
          <p:cNvSpPr>
            <a:spLocks noGrp="1"/>
          </p:cNvSpPr>
          <p:nvPr>
            <p:ph type="dt" sz="quarter" idx="1"/>
          </p:nvPr>
        </p:nvSpPr>
        <p:spPr>
          <a:xfrm>
            <a:off x="3850927" y="0"/>
            <a:ext cx="2945659" cy="496332"/>
          </a:xfrm>
          <a:prstGeom prst="rect">
            <a:avLst/>
          </a:prstGeom>
        </p:spPr>
        <p:txBody>
          <a:bodyPr vert="horz" lIns="91568" tIns="45784" rIns="91568" bIns="45784" rtlCol="0"/>
          <a:lstStyle>
            <a:lvl1pPr algn="r">
              <a:defRPr sz="1200"/>
            </a:lvl1pPr>
          </a:lstStyle>
          <a:p>
            <a:fld id="{106028EA-595D-4B64-932B-48D37FB29A5B}" type="datetimeFigureOut">
              <a:rPr lang="fr-FR" smtClean="0"/>
              <a:t>05/03/2014</a:t>
            </a:fld>
            <a:endParaRPr lang="fr-FR"/>
          </a:p>
        </p:txBody>
      </p:sp>
      <p:sp>
        <p:nvSpPr>
          <p:cNvPr id="4" name="Espace réservé du pied de page 3"/>
          <p:cNvSpPr>
            <a:spLocks noGrp="1"/>
          </p:cNvSpPr>
          <p:nvPr>
            <p:ph type="ftr" sz="quarter" idx="2"/>
          </p:nvPr>
        </p:nvSpPr>
        <p:spPr>
          <a:xfrm>
            <a:off x="0" y="9427988"/>
            <a:ext cx="2945659" cy="496332"/>
          </a:xfrm>
          <a:prstGeom prst="rect">
            <a:avLst/>
          </a:prstGeom>
        </p:spPr>
        <p:txBody>
          <a:bodyPr vert="horz" lIns="91568" tIns="45784" rIns="91568" bIns="45784" rtlCol="0" anchor="b"/>
          <a:lstStyle>
            <a:lvl1pPr algn="l">
              <a:defRPr sz="1200"/>
            </a:lvl1pPr>
          </a:lstStyle>
          <a:p>
            <a:endParaRPr lang="fr-FR"/>
          </a:p>
        </p:txBody>
      </p:sp>
      <p:sp>
        <p:nvSpPr>
          <p:cNvPr id="6" name="Espace réservé du numéro de diapositive 5"/>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2D61558B-7917-43FE-A792-033395951326}" type="slidenum">
              <a:rPr lang="fr-FR" smtClean="0"/>
              <a:t>‹N°›</a:t>
            </a:fld>
            <a:endParaRPr lang="fr-FR"/>
          </a:p>
        </p:txBody>
      </p:sp>
    </p:spTree>
    <p:extLst>
      <p:ext uri="{BB962C8B-B14F-4D97-AF65-F5344CB8AC3E}">
        <p14:creationId xmlns:p14="http://schemas.microsoft.com/office/powerpoint/2010/main" val="24747531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4"/>
            <a:ext cx="2946169" cy="495396"/>
          </a:xfrm>
          <a:prstGeom prst="rect">
            <a:avLst/>
          </a:prstGeom>
        </p:spPr>
        <p:txBody>
          <a:bodyPr vert="horz" lIns="91903" tIns="45951" rIns="91903" bIns="45951" rtlCol="0"/>
          <a:lstStyle>
            <a:lvl1pPr algn="l">
              <a:defRPr sz="1200"/>
            </a:lvl1pPr>
          </a:lstStyle>
          <a:p>
            <a:endParaRPr lang="en-US"/>
          </a:p>
        </p:txBody>
      </p:sp>
      <p:sp>
        <p:nvSpPr>
          <p:cNvPr id="3" name="Date Placeholder 2"/>
          <p:cNvSpPr>
            <a:spLocks noGrp="1"/>
          </p:cNvSpPr>
          <p:nvPr>
            <p:ph type="dt" idx="1"/>
          </p:nvPr>
        </p:nvSpPr>
        <p:spPr>
          <a:xfrm>
            <a:off x="3850417" y="4"/>
            <a:ext cx="2946169" cy="495396"/>
          </a:xfrm>
          <a:prstGeom prst="rect">
            <a:avLst/>
          </a:prstGeom>
        </p:spPr>
        <p:txBody>
          <a:bodyPr vert="horz" lIns="91903" tIns="45951" rIns="91903" bIns="45951" rtlCol="0"/>
          <a:lstStyle>
            <a:lvl1pPr algn="r">
              <a:defRPr sz="1200"/>
            </a:lvl1pPr>
          </a:lstStyle>
          <a:p>
            <a:fld id="{30EE44EB-359A-4AC6-9641-DE65756F480E}" type="datetimeFigureOut">
              <a:rPr lang="en-US" smtClean="0"/>
              <a:pPr/>
              <a:t>3/5/2014</a:t>
            </a:fld>
            <a:endParaRPr lang="en-US"/>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903" tIns="45951" rIns="91903" bIns="45951" rtlCol="0" anchor="ctr"/>
          <a:lstStyle/>
          <a:p>
            <a:endParaRPr lang="en-US"/>
          </a:p>
        </p:txBody>
      </p:sp>
      <p:sp>
        <p:nvSpPr>
          <p:cNvPr id="5" name="Notes Placeholder 4"/>
          <p:cNvSpPr>
            <a:spLocks noGrp="1"/>
          </p:cNvSpPr>
          <p:nvPr>
            <p:ph type="body" sz="quarter" idx="3"/>
          </p:nvPr>
        </p:nvSpPr>
        <p:spPr>
          <a:xfrm>
            <a:off x="679552" y="4715622"/>
            <a:ext cx="5438576" cy="4465586"/>
          </a:xfrm>
          <a:prstGeom prst="rect">
            <a:avLst/>
          </a:prstGeom>
        </p:spPr>
        <p:txBody>
          <a:bodyPr vert="horz" lIns="91903" tIns="45951" rIns="91903" bIns="45951"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428909"/>
            <a:ext cx="2946169" cy="495396"/>
          </a:xfrm>
          <a:prstGeom prst="rect">
            <a:avLst/>
          </a:prstGeom>
        </p:spPr>
        <p:txBody>
          <a:bodyPr vert="horz" lIns="91903" tIns="45951" rIns="91903" bIns="45951" rtlCol="0" anchor="b"/>
          <a:lstStyle>
            <a:lvl1pPr algn="l">
              <a:defRPr sz="1200"/>
            </a:lvl1pPr>
          </a:lstStyle>
          <a:p>
            <a:endParaRPr lang="en-US"/>
          </a:p>
        </p:txBody>
      </p:sp>
      <p:sp>
        <p:nvSpPr>
          <p:cNvPr id="7" name="Slide Number Placeholder 6"/>
          <p:cNvSpPr>
            <a:spLocks noGrp="1"/>
          </p:cNvSpPr>
          <p:nvPr>
            <p:ph type="sldNum" sz="quarter" idx="5"/>
          </p:nvPr>
        </p:nvSpPr>
        <p:spPr>
          <a:xfrm>
            <a:off x="3850417" y="9428909"/>
            <a:ext cx="2946169" cy="495396"/>
          </a:xfrm>
          <a:prstGeom prst="rect">
            <a:avLst/>
          </a:prstGeom>
        </p:spPr>
        <p:txBody>
          <a:bodyPr vert="horz" lIns="91903" tIns="45951" rIns="91903" bIns="45951" rtlCol="0" anchor="b"/>
          <a:lstStyle>
            <a:lvl1pPr algn="r">
              <a:defRPr sz="1200"/>
            </a:lvl1pPr>
          </a:lstStyle>
          <a:p>
            <a:fld id="{D5576A0E-DBB0-47D1-882E-336823F1E5BA}" type="slidenum">
              <a:rPr lang="en-US" smtClean="0"/>
              <a:pPr/>
              <a:t>‹N°›</a:t>
            </a:fld>
            <a:endParaRPr lang="en-US"/>
          </a:p>
        </p:txBody>
      </p:sp>
    </p:spTree>
    <p:extLst>
      <p:ext uri="{BB962C8B-B14F-4D97-AF65-F5344CB8AC3E}">
        <p14:creationId xmlns:p14="http://schemas.microsoft.com/office/powerpoint/2010/main" val="32598751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Book Antiqua" pitchFamily="18" charset="0"/>
              </a:defRPr>
            </a:lvl1pPr>
            <a:lvl2pPr marL="743990" indent="-286150">
              <a:defRPr>
                <a:solidFill>
                  <a:schemeClr val="tx1"/>
                </a:solidFill>
                <a:latin typeface="Book Antiqua" pitchFamily="18" charset="0"/>
              </a:defRPr>
            </a:lvl2pPr>
            <a:lvl3pPr marL="1144600" indent="-228920">
              <a:defRPr>
                <a:solidFill>
                  <a:schemeClr val="tx1"/>
                </a:solidFill>
                <a:latin typeface="Book Antiqua" pitchFamily="18" charset="0"/>
              </a:defRPr>
            </a:lvl3pPr>
            <a:lvl4pPr marL="1602440" indent="-228920">
              <a:defRPr>
                <a:solidFill>
                  <a:schemeClr val="tx1"/>
                </a:solidFill>
                <a:latin typeface="Book Antiqua" pitchFamily="18" charset="0"/>
              </a:defRPr>
            </a:lvl4pPr>
            <a:lvl5pPr marL="2060280" indent="-228920">
              <a:defRPr>
                <a:solidFill>
                  <a:schemeClr val="tx1"/>
                </a:solidFill>
                <a:latin typeface="Book Antiqua" pitchFamily="18" charset="0"/>
              </a:defRPr>
            </a:lvl5pPr>
            <a:lvl6pPr marL="2518120" indent="-228920" fontAlgn="base">
              <a:spcBef>
                <a:spcPct val="0"/>
              </a:spcBef>
              <a:spcAft>
                <a:spcPct val="0"/>
              </a:spcAft>
              <a:defRPr>
                <a:solidFill>
                  <a:schemeClr val="tx1"/>
                </a:solidFill>
                <a:latin typeface="Book Antiqua" pitchFamily="18" charset="0"/>
              </a:defRPr>
            </a:lvl6pPr>
            <a:lvl7pPr marL="2975961" indent="-228920" fontAlgn="base">
              <a:spcBef>
                <a:spcPct val="0"/>
              </a:spcBef>
              <a:spcAft>
                <a:spcPct val="0"/>
              </a:spcAft>
              <a:defRPr>
                <a:solidFill>
                  <a:schemeClr val="tx1"/>
                </a:solidFill>
                <a:latin typeface="Book Antiqua" pitchFamily="18" charset="0"/>
              </a:defRPr>
            </a:lvl7pPr>
            <a:lvl8pPr marL="3433801" indent="-228920" fontAlgn="base">
              <a:spcBef>
                <a:spcPct val="0"/>
              </a:spcBef>
              <a:spcAft>
                <a:spcPct val="0"/>
              </a:spcAft>
              <a:defRPr>
                <a:solidFill>
                  <a:schemeClr val="tx1"/>
                </a:solidFill>
                <a:latin typeface="Book Antiqua" pitchFamily="18" charset="0"/>
              </a:defRPr>
            </a:lvl8pPr>
            <a:lvl9pPr marL="3891641" indent="-228920" fontAlgn="base">
              <a:spcBef>
                <a:spcPct val="0"/>
              </a:spcBef>
              <a:spcAft>
                <a:spcPct val="0"/>
              </a:spcAft>
              <a:defRPr>
                <a:solidFill>
                  <a:schemeClr val="tx1"/>
                </a:solidFill>
                <a:latin typeface="Book Antiqua" pitchFamily="18" charset="0"/>
              </a:defRPr>
            </a:lvl9pPr>
          </a:lstStyle>
          <a:p>
            <a:pPr fontAlgn="base">
              <a:spcBef>
                <a:spcPct val="0"/>
              </a:spcBef>
              <a:spcAft>
                <a:spcPct val="0"/>
              </a:spcAft>
              <a:defRPr/>
            </a:pPr>
            <a:fld id="{56C7001E-37F4-4B93-A829-17D14B611622}" type="slidenum">
              <a:rPr lang="fr-FR" smtClean="0">
                <a:solidFill>
                  <a:srgbClr val="000000"/>
                </a:solidFill>
                <a:latin typeface="Calibri" pitchFamily="34" charset="0"/>
              </a:rPr>
              <a:pPr fontAlgn="base">
                <a:spcBef>
                  <a:spcPct val="0"/>
                </a:spcBef>
                <a:spcAft>
                  <a:spcPct val="0"/>
                </a:spcAft>
                <a:defRPr/>
              </a:pPr>
              <a:t>1</a:t>
            </a:fld>
            <a:endParaRPr lang="fr-FR" smtClean="0">
              <a:solidFill>
                <a:srgbClr val="000000"/>
              </a:solidFill>
              <a:latin typeface="Calibri" pitchFamily="34" charset="0"/>
            </a:endParaRPr>
          </a:p>
        </p:txBody>
      </p:sp>
      <p:sp>
        <p:nvSpPr>
          <p:cNvPr id="61443" name="Rectangle 2"/>
          <p:cNvSpPr>
            <a:spLocks noGrp="1" noRot="1" noChangeAspect="1" noChangeArrowheads="1" noTextEdit="1"/>
          </p:cNvSpPr>
          <p:nvPr>
            <p:ph type="sldImg"/>
          </p:nvPr>
        </p:nvSpPr>
        <p:spPr bwMode="auto">
          <a:xfrm>
            <a:off x="711200" y="744538"/>
            <a:ext cx="5375275"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smtClean="0">
              <a:latin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Espace réservé de l'image des diapositives 1"/>
          <p:cNvSpPr>
            <a:spLocks noGrp="1" noRot="1" noChangeAspect="1" noTextEdit="1"/>
          </p:cNvSpPr>
          <p:nvPr>
            <p:ph type="sldImg"/>
          </p:nvPr>
        </p:nvSpPr>
        <p:spPr bwMode="auto">
          <a:xfrm>
            <a:off x="711200" y="744538"/>
            <a:ext cx="5375275"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FCCF60AF-51A7-4223-92F5-53BAF25DBAF3}" type="slidenum">
              <a:rPr lang="fr-FR" smtClean="0">
                <a:latin typeface="Arial" charset="0"/>
              </a:rPr>
              <a:pPr>
                <a:defRPr/>
              </a:pPr>
              <a:t>10</a:t>
            </a:fld>
            <a:endParaRPr lang="fr-FR" smtClean="0">
              <a:latin typeface="Arial"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Espace réservé de l'image des diapositives 1"/>
          <p:cNvSpPr>
            <a:spLocks noGrp="1" noRot="1" noChangeAspect="1" noTextEdit="1"/>
          </p:cNvSpPr>
          <p:nvPr>
            <p:ph type="sldImg"/>
          </p:nvPr>
        </p:nvSpPr>
        <p:spPr bwMode="auto">
          <a:xfrm>
            <a:off x="711200" y="744538"/>
            <a:ext cx="5375275"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73418B0D-277A-4DF5-9971-09FEC47376ED}" type="slidenum">
              <a:rPr lang="fr-FR" smtClean="0">
                <a:latin typeface="Arial" charset="0"/>
              </a:rPr>
              <a:pPr>
                <a:defRPr/>
              </a:pPr>
              <a:t>11</a:t>
            </a:fld>
            <a:endParaRPr lang="fr-FR" smtClean="0">
              <a:latin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Espace réservé de l'image des diapositives 1"/>
          <p:cNvSpPr>
            <a:spLocks noGrp="1" noRot="1" noChangeAspect="1" noTextEdit="1"/>
          </p:cNvSpPr>
          <p:nvPr>
            <p:ph type="sldImg"/>
          </p:nvPr>
        </p:nvSpPr>
        <p:spPr>
          <a:ln/>
        </p:spPr>
      </p:sp>
      <p:sp>
        <p:nvSpPr>
          <p:cNvPr id="179203"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
        <p:nvSpPr>
          <p:cNvPr id="112644" name="Espace réservé du numéro de diapositive 3"/>
          <p:cNvSpPr>
            <a:spLocks noGrp="1"/>
          </p:cNvSpPr>
          <p:nvPr>
            <p:ph type="sldNum" sz="quarter" idx="5"/>
          </p:nvPr>
        </p:nvSpPr>
        <p:spPr/>
        <p:txBody>
          <a:bodyPr/>
          <a:lstStyle/>
          <a:p>
            <a:pPr>
              <a:defRPr/>
            </a:pPr>
            <a:fld id="{4A93B064-8EC8-43A3-A405-94A009C4D50D}" type="slidenum">
              <a:rPr lang="fr-FR" smtClean="0">
                <a:latin typeface="Arial" charset="0"/>
              </a:rPr>
              <a:pPr>
                <a:defRPr/>
              </a:pPr>
              <a:t>13</a:t>
            </a:fld>
            <a:endParaRPr lang="fr-FR" smtClean="0">
              <a:latin typeface="Arial"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Espace réservé de l'image des diapositives 1"/>
          <p:cNvSpPr>
            <a:spLocks noGrp="1" noRot="1" noChangeAspect="1" noTextEdit="1"/>
          </p:cNvSpPr>
          <p:nvPr>
            <p:ph type="sldImg"/>
          </p:nvPr>
        </p:nvSpPr>
        <p:spPr>
          <a:ln/>
        </p:spPr>
      </p:sp>
      <p:sp>
        <p:nvSpPr>
          <p:cNvPr id="180227"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
        <p:nvSpPr>
          <p:cNvPr id="182276" name="Espace réservé du numéro de diapositive 3"/>
          <p:cNvSpPr>
            <a:spLocks noGrp="1"/>
          </p:cNvSpPr>
          <p:nvPr>
            <p:ph type="sldNum" sz="quarter" idx="5"/>
          </p:nvPr>
        </p:nvSpPr>
        <p:spPr/>
        <p:txBody>
          <a:bodyPr/>
          <a:lstStyle/>
          <a:p>
            <a:pPr>
              <a:defRPr/>
            </a:pPr>
            <a:fld id="{7882A264-E48A-416A-9010-4B1328D03D62}" type="slidenum">
              <a:rPr lang="fr-FR" smtClean="0">
                <a:latin typeface="Arial" charset="0"/>
              </a:rPr>
              <a:pPr>
                <a:defRPr/>
              </a:pPr>
              <a:t>14</a:t>
            </a:fld>
            <a:endParaRPr lang="fr-FR" smtClean="0">
              <a:latin typeface="Arial"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Espace réservé de l'image des diapositives 1"/>
          <p:cNvSpPr>
            <a:spLocks noGrp="1" noRot="1" noChangeAspect="1" noTextEdit="1"/>
          </p:cNvSpPr>
          <p:nvPr>
            <p:ph type="sldImg"/>
          </p:nvPr>
        </p:nvSpPr>
        <p:spPr>
          <a:ln/>
        </p:spPr>
      </p:sp>
      <p:sp>
        <p:nvSpPr>
          <p:cNvPr id="181251"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
        <p:nvSpPr>
          <p:cNvPr id="182276" name="Espace réservé du numéro de diapositive 3"/>
          <p:cNvSpPr>
            <a:spLocks noGrp="1"/>
          </p:cNvSpPr>
          <p:nvPr>
            <p:ph type="sldNum" sz="quarter" idx="5"/>
          </p:nvPr>
        </p:nvSpPr>
        <p:spPr/>
        <p:txBody>
          <a:bodyPr/>
          <a:lstStyle/>
          <a:p>
            <a:pPr>
              <a:defRPr/>
            </a:pPr>
            <a:fld id="{395AD811-9D84-4DAB-96AD-7D7F6B4B6C8A}" type="slidenum">
              <a:rPr lang="fr-FR" smtClean="0">
                <a:latin typeface="Arial" charset="0"/>
              </a:rPr>
              <a:pPr>
                <a:defRPr/>
              </a:pPr>
              <a:t>15</a:t>
            </a:fld>
            <a:endParaRPr lang="fr-FR" smtClean="0">
              <a:latin typeface="Arial"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F511BF1F-7C7C-4B1F-B7EB-CF676C33CF8B}" type="slidenum">
              <a:rPr lang="en-GB" smtClean="0"/>
              <a:pPr/>
              <a:t>16</a:t>
            </a:fld>
            <a:endParaRPr lang="en-GB"/>
          </a:p>
        </p:txBody>
      </p:sp>
    </p:spTree>
    <p:extLst>
      <p:ext uri="{BB962C8B-B14F-4D97-AF65-F5344CB8AC3E}">
        <p14:creationId xmlns:p14="http://schemas.microsoft.com/office/powerpoint/2010/main" val="33527329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Espace réservé de l'image des diapositives 1"/>
          <p:cNvSpPr>
            <a:spLocks noGrp="1" noRot="1" noChangeAspect="1" noTextEdit="1"/>
          </p:cNvSpPr>
          <p:nvPr>
            <p:ph type="sldImg"/>
          </p:nvPr>
        </p:nvSpPr>
        <p:spPr>
          <a:ln/>
        </p:spPr>
      </p:sp>
      <p:sp>
        <p:nvSpPr>
          <p:cNvPr id="182275"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
        <p:nvSpPr>
          <p:cNvPr id="112644" name="Espace réservé du numéro de diapositive 3"/>
          <p:cNvSpPr>
            <a:spLocks noGrp="1"/>
          </p:cNvSpPr>
          <p:nvPr>
            <p:ph type="sldNum" sz="quarter" idx="5"/>
          </p:nvPr>
        </p:nvSpPr>
        <p:spPr/>
        <p:txBody>
          <a:bodyPr/>
          <a:lstStyle/>
          <a:p>
            <a:pPr>
              <a:defRPr/>
            </a:pPr>
            <a:fld id="{16B86CC1-55AD-4680-8900-272400B303BF}" type="slidenum">
              <a:rPr lang="fr-FR" smtClean="0">
                <a:latin typeface="Arial" charset="0"/>
              </a:rPr>
              <a:pPr>
                <a:defRPr/>
              </a:pPr>
              <a:t>18</a:t>
            </a:fld>
            <a:endParaRPr lang="fr-FR" smtClean="0">
              <a:latin typeface="Arial"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Espace réservé de l'image des diapositives 1"/>
          <p:cNvSpPr>
            <a:spLocks noGrp="1" noRot="1" noChangeAspect="1" noTextEdit="1"/>
          </p:cNvSpPr>
          <p:nvPr>
            <p:ph type="sldImg"/>
          </p:nvPr>
        </p:nvSpPr>
        <p:spPr>
          <a:ln/>
        </p:spPr>
      </p:sp>
      <p:sp>
        <p:nvSpPr>
          <p:cNvPr id="183299"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
        <p:nvSpPr>
          <p:cNvPr id="182276" name="Espace réservé du numéro de diapositive 3"/>
          <p:cNvSpPr>
            <a:spLocks noGrp="1"/>
          </p:cNvSpPr>
          <p:nvPr>
            <p:ph type="sldNum" sz="quarter" idx="5"/>
          </p:nvPr>
        </p:nvSpPr>
        <p:spPr/>
        <p:txBody>
          <a:bodyPr/>
          <a:lstStyle/>
          <a:p>
            <a:pPr>
              <a:defRPr/>
            </a:pPr>
            <a:fld id="{28B9BF45-6AD9-4B8B-A875-92659F827D8D}" type="slidenum">
              <a:rPr lang="fr-FR" smtClean="0">
                <a:latin typeface="Arial" charset="0"/>
              </a:rPr>
              <a:pPr>
                <a:defRPr/>
              </a:pPr>
              <a:t>19</a:t>
            </a:fld>
            <a:endParaRPr lang="fr-FR" smtClean="0">
              <a:latin typeface="Arial"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Espace réservé de l'image des diapositives 1"/>
          <p:cNvSpPr>
            <a:spLocks noGrp="1" noRot="1" noChangeAspect="1" noTextEdit="1"/>
          </p:cNvSpPr>
          <p:nvPr>
            <p:ph type="sldImg"/>
          </p:nvPr>
        </p:nvSpPr>
        <p:spPr>
          <a:ln/>
        </p:spPr>
      </p:sp>
      <p:sp>
        <p:nvSpPr>
          <p:cNvPr id="189443"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
        <p:nvSpPr>
          <p:cNvPr id="112644" name="Espace réservé du numéro de diapositive 3"/>
          <p:cNvSpPr>
            <a:spLocks noGrp="1"/>
          </p:cNvSpPr>
          <p:nvPr>
            <p:ph type="sldNum" sz="quarter" idx="5"/>
          </p:nvPr>
        </p:nvSpPr>
        <p:spPr/>
        <p:txBody>
          <a:bodyPr/>
          <a:lstStyle/>
          <a:p>
            <a:pPr>
              <a:defRPr/>
            </a:pPr>
            <a:fld id="{BE490D51-585B-4BB3-B196-9A31DBCD48EF}" type="slidenum">
              <a:rPr lang="fr-FR" smtClean="0">
                <a:latin typeface="Arial" charset="0"/>
              </a:rPr>
              <a:pPr>
                <a:defRPr/>
              </a:pPr>
              <a:t>20</a:t>
            </a:fld>
            <a:endParaRPr lang="fr-FR" smtClean="0">
              <a:latin typeface="Arial"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Espace réservé de l'image des diapositives 1"/>
          <p:cNvSpPr>
            <a:spLocks noGrp="1" noRot="1" noChangeAspect="1" noTextEdit="1"/>
          </p:cNvSpPr>
          <p:nvPr>
            <p:ph type="sldImg"/>
          </p:nvPr>
        </p:nvSpPr>
        <p:spPr>
          <a:ln/>
        </p:spPr>
      </p:sp>
      <p:sp>
        <p:nvSpPr>
          <p:cNvPr id="190467"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smtClean="0">
              <a:latin typeface="Arial" charset="0"/>
            </a:endParaRPr>
          </a:p>
        </p:txBody>
      </p:sp>
      <p:sp>
        <p:nvSpPr>
          <p:cNvPr id="4" name="Espace réservé du numéro de diapositive 3"/>
          <p:cNvSpPr>
            <a:spLocks noGrp="1"/>
          </p:cNvSpPr>
          <p:nvPr>
            <p:ph type="sldNum" sz="quarter" idx="5"/>
          </p:nvPr>
        </p:nvSpPr>
        <p:spPr/>
        <p:txBody>
          <a:bodyPr/>
          <a:lstStyle/>
          <a:p>
            <a:pPr>
              <a:defRPr/>
            </a:pPr>
            <a:fld id="{644AFC27-D1B3-433E-89E5-A54CBB1497A5}" type="slidenum">
              <a:rPr lang="fr-FR" smtClean="0"/>
              <a:pPr>
                <a:defRPr/>
              </a:pPr>
              <a:t>21</a:t>
            </a:fld>
            <a:endParaRPr 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Espace réservé de l'image des diapositives 1"/>
          <p:cNvSpPr>
            <a:spLocks noGrp="1" noRot="1" noChangeAspect="1" noTextEdit="1"/>
          </p:cNvSpPr>
          <p:nvPr>
            <p:ph type="sldImg"/>
          </p:nvPr>
        </p:nvSpPr>
        <p:spPr bwMode="auto">
          <a:xfrm>
            <a:off x="711200" y="744538"/>
            <a:ext cx="5375275"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smtClean="0">
              <a:latin typeface="Arial" charset="0"/>
            </a:endParaRPr>
          </a:p>
        </p:txBody>
      </p:sp>
      <p:sp>
        <p:nvSpPr>
          <p:cNvPr id="45060" name="Espace réservé du numéro de diapositive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Book Antiqua" pitchFamily="18" charset="0"/>
              </a:defRPr>
            </a:lvl1pPr>
            <a:lvl2pPr marL="743990" indent="-286150">
              <a:defRPr>
                <a:solidFill>
                  <a:schemeClr val="tx1"/>
                </a:solidFill>
                <a:latin typeface="Book Antiqua" pitchFamily="18" charset="0"/>
              </a:defRPr>
            </a:lvl2pPr>
            <a:lvl3pPr marL="1144600" indent="-228920">
              <a:defRPr>
                <a:solidFill>
                  <a:schemeClr val="tx1"/>
                </a:solidFill>
                <a:latin typeface="Book Antiqua" pitchFamily="18" charset="0"/>
              </a:defRPr>
            </a:lvl3pPr>
            <a:lvl4pPr marL="1602440" indent="-228920">
              <a:defRPr>
                <a:solidFill>
                  <a:schemeClr val="tx1"/>
                </a:solidFill>
                <a:latin typeface="Book Antiqua" pitchFamily="18" charset="0"/>
              </a:defRPr>
            </a:lvl4pPr>
            <a:lvl5pPr marL="2060280" indent="-228920">
              <a:defRPr>
                <a:solidFill>
                  <a:schemeClr val="tx1"/>
                </a:solidFill>
                <a:latin typeface="Book Antiqua" pitchFamily="18" charset="0"/>
              </a:defRPr>
            </a:lvl5pPr>
            <a:lvl6pPr marL="2518120" indent="-228920" fontAlgn="base">
              <a:spcBef>
                <a:spcPct val="0"/>
              </a:spcBef>
              <a:spcAft>
                <a:spcPct val="0"/>
              </a:spcAft>
              <a:defRPr>
                <a:solidFill>
                  <a:schemeClr val="tx1"/>
                </a:solidFill>
                <a:latin typeface="Book Antiqua" pitchFamily="18" charset="0"/>
              </a:defRPr>
            </a:lvl6pPr>
            <a:lvl7pPr marL="2975961" indent="-228920" fontAlgn="base">
              <a:spcBef>
                <a:spcPct val="0"/>
              </a:spcBef>
              <a:spcAft>
                <a:spcPct val="0"/>
              </a:spcAft>
              <a:defRPr>
                <a:solidFill>
                  <a:schemeClr val="tx1"/>
                </a:solidFill>
                <a:latin typeface="Book Antiqua" pitchFamily="18" charset="0"/>
              </a:defRPr>
            </a:lvl7pPr>
            <a:lvl8pPr marL="3433801" indent="-228920" fontAlgn="base">
              <a:spcBef>
                <a:spcPct val="0"/>
              </a:spcBef>
              <a:spcAft>
                <a:spcPct val="0"/>
              </a:spcAft>
              <a:defRPr>
                <a:solidFill>
                  <a:schemeClr val="tx1"/>
                </a:solidFill>
                <a:latin typeface="Book Antiqua" pitchFamily="18" charset="0"/>
              </a:defRPr>
            </a:lvl8pPr>
            <a:lvl9pPr marL="3891641" indent="-228920" fontAlgn="base">
              <a:spcBef>
                <a:spcPct val="0"/>
              </a:spcBef>
              <a:spcAft>
                <a:spcPct val="0"/>
              </a:spcAft>
              <a:defRPr>
                <a:solidFill>
                  <a:schemeClr val="tx1"/>
                </a:solidFill>
                <a:latin typeface="Book Antiqua" pitchFamily="18" charset="0"/>
              </a:defRPr>
            </a:lvl9pPr>
          </a:lstStyle>
          <a:p>
            <a:pPr fontAlgn="base">
              <a:spcBef>
                <a:spcPct val="0"/>
              </a:spcBef>
              <a:spcAft>
                <a:spcPct val="0"/>
              </a:spcAft>
              <a:defRPr/>
            </a:pPr>
            <a:fld id="{3C55CE1B-1FB9-42C9-84D0-A2A9FBA7B4C6}" type="slidenum">
              <a:rPr lang="fr-FR" smtClean="0">
                <a:latin typeface="Arial" charset="0"/>
              </a:rPr>
              <a:pPr fontAlgn="base">
                <a:spcBef>
                  <a:spcPct val="0"/>
                </a:spcBef>
                <a:spcAft>
                  <a:spcPct val="0"/>
                </a:spcAft>
                <a:defRPr/>
              </a:pPr>
              <a:t>2</a:t>
            </a:fld>
            <a:endParaRPr lang="fr-FR" smtClean="0">
              <a:latin typeface="Arial"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Rectangle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smtClean="0">
              <a:latin typeface="Arial" charset="0"/>
            </a:endParaRPr>
          </a:p>
        </p:txBody>
      </p:sp>
      <p:sp>
        <p:nvSpPr>
          <p:cNvPr id="191491" name="Rectangle 3"/>
          <p:cNvSpPr>
            <a:spLocks noGrp="1" noRot="1" noChangeAspect="1" noChangeArrowheads="1" noTextEdit="1"/>
          </p:cNvSpPr>
          <p:nvPr>
            <p:ph type="sldImg"/>
          </p:nvPr>
        </p:nvSpPr>
        <p:spPr>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Rectangle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smtClean="0">
              <a:latin typeface="Arial" charset="0"/>
            </a:endParaRPr>
          </a:p>
        </p:txBody>
      </p:sp>
      <p:sp>
        <p:nvSpPr>
          <p:cNvPr id="192515" name="Rectangle 3"/>
          <p:cNvSpPr>
            <a:spLocks noGrp="1" noRot="1" noChangeAspect="1" noChangeArrowheads="1" noTextEdit="1"/>
          </p:cNvSpPr>
          <p:nvPr>
            <p:ph type="sldImg"/>
          </p:nvPr>
        </p:nvSpPr>
        <p:spPr>
          <a:ln/>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Espace réservé de l'image des diapositives 1"/>
          <p:cNvSpPr>
            <a:spLocks noGrp="1" noRot="1" noChangeAspect="1" noTextEdit="1"/>
          </p:cNvSpPr>
          <p:nvPr>
            <p:ph type="sldImg"/>
          </p:nvPr>
        </p:nvSpPr>
        <p:spPr>
          <a:ln/>
        </p:spPr>
      </p:sp>
      <p:sp>
        <p:nvSpPr>
          <p:cNvPr id="179203"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
        <p:nvSpPr>
          <p:cNvPr id="112644" name="Espace réservé du numéro de diapositive 3"/>
          <p:cNvSpPr>
            <a:spLocks noGrp="1"/>
          </p:cNvSpPr>
          <p:nvPr>
            <p:ph type="sldNum" sz="quarter" idx="5"/>
          </p:nvPr>
        </p:nvSpPr>
        <p:spPr/>
        <p:txBody>
          <a:bodyPr/>
          <a:lstStyle/>
          <a:p>
            <a:pPr>
              <a:defRPr/>
            </a:pPr>
            <a:fld id="{4A93B064-8EC8-43A3-A405-94A009C4D50D}" type="slidenum">
              <a:rPr lang="fr-FR" smtClean="0">
                <a:latin typeface="Arial" charset="0"/>
              </a:rPr>
              <a:pPr>
                <a:defRPr/>
              </a:pPr>
              <a:t>24</a:t>
            </a:fld>
            <a:endParaRPr lang="fr-FR" smtClean="0">
              <a:latin typeface="Arial"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8" name="Espace réservé de l'image des diapositives 1"/>
          <p:cNvSpPr>
            <a:spLocks noGrp="1" noRot="1" noChangeAspect="1" noTextEdit="1"/>
          </p:cNvSpPr>
          <p:nvPr>
            <p:ph type="sldImg"/>
          </p:nvPr>
        </p:nvSpPr>
        <p:spPr>
          <a:ln/>
        </p:spPr>
      </p:sp>
      <p:sp>
        <p:nvSpPr>
          <p:cNvPr id="203779"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
        <p:nvSpPr>
          <p:cNvPr id="112644" name="Espace réservé du numéro de diapositive 3"/>
          <p:cNvSpPr>
            <a:spLocks noGrp="1"/>
          </p:cNvSpPr>
          <p:nvPr>
            <p:ph type="sldNum" sz="quarter" idx="5"/>
          </p:nvPr>
        </p:nvSpPr>
        <p:spPr/>
        <p:txBody>
          <a:bodyPr/>
          <a:lstStyle/>
          <a:p>
            <a:pPr>
              <a:defRPr/>
            </a:pPr>
            <a:fld id="{0E6C24B4-83B7-4F8C-A098-E40820FF4C26}" type="slidenum">
              <a:rPr lang="fr-FR" smtClean="0">
                <a:latin typeface="Arial" charset="0"/>
              </a:rPr>
              <a:pPr>
                <a:defRPr/>
              </a:pPr>
              <a:t>25</a:t>
            </a:fld>
            <a:endParaRPr lang="fr-FR" smtClean="0">
              <a:latin typeface="Arial"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Rectangle 2"/>
          <p:cNvSpPr>
            <a:spLocks noGrp="1" noRot="1" noChangeAspect="1" noChangeArrowheads="1" noTextEdit="1"/>
          </p:cNvSpPr>
          <p:nvPr>
            <p:ph type="sldImg"/>
          </p:nvPr>
        </p:nvSpPr>
        <p:spPr>
          <a:xfrm>
            <a:off x="711200" y="744538"/>
            <a:ext cx="5375275" cy="3722687"/>
          </a:xfrm>
          <a:ln/>
        </p:spPr>
      </p:sp>
      <p:sp>
        <p:nvSpPr>
          <p:cNvPr id="199683" name="Rectangle 3"/>
          <p:cNvSpPr>
            <a:spLocks noGrp="1" noChangeArrowheads="1"/>
          </p:cNvSpPr>
          <p:nvPr>
            <p:ph type="body" idx="1"/>
          </p:nvPr>
        </p:nvSpPr>
        <p:spPr>
          <a:xfrm>
            <a:off x="679451" y="4714876"/>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smtClean="0">
              <a:latin typeface="Arial"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Rectangle 2"/>
          <p:cNvSpPr>
            <a:spLocks noGrp="1" noRot="1" noChangeAspect="1" noChangeArrowheads="1" noTextEdit="1"/>
          </p:cNvSpPr>
          <p:nvPr>
            <p:ph type="sldImg"/>
          </p:nvPr>
        </p:nvSpPr>
        <p:spPr>
          <a:xfrm>
            <a:off x="711200" y="744538"/>
            <a:ext cx="5375275" cy="3722687"/>
          </a:xfrm>
          <a:ln/>
        </p:spPr>
      </p:sp>
      <p:sp>
        <p:nvSpPr>
          <p:cNvPr id="200707" name="Rectangle 3"/>
          <p:cNvSpPr>
            <a:spLocks noGrp="1" noChangeArrowheads="1"/>
          </p:cNvSpPr>
          <p:nvPr>
            <p:ph type="body" idx="1"/>
          </p:nvPr>
        </p:nvSpPr>
        <p:spPr>
          <a:xfrm>
            <a:off x="679451" y="4714876"/>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smtClean="0">
              <a:latin typeface="Arial"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Rectangle 2"/>
          <p:cNvSpPr>
            <a:spLocks noGrp="1" noRot="1" noChangeAspect="1" noChangeArrowheads="1" noTextEdit="1"/>
          </p:cNvSpPr>
          <p:nvPr>
            <p:ph type="sldImg"/>
          </p:nvPr>
        </p:nvSpPr>
        <p:spPr>
          <a:xfrm>
            <a:off x="711200" y="744538"/>
            <a:ext cx="5375275" cy="3722687"/>
          </a:xfrm>
          <a:ln/>
        </p:spPr>
      </p:sp>
      <p:sp>
        <p:nvSpPr>
          <p:cNvPr id="201731" name="Rectangle 3"/>
          <p:cNvSpPr>
            <a:spLocks noGrp="1" noChangeArrowheads="1"/>
          </p:cNvSpPr>
          <p:nvPr>
            <p:ph type="body" idx="1"/>
          </p:nvPr>
        </p:nvSpPr>
        <p:spPr>
          <a:xfrm>
            <a:off x="679451" y="4714876"/>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smtClean="0">
              <a:latin typeface="Arial"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8" name="Espace réservé de l'image des diapositives 1"/>
          <p:cNvSpPr>
            <a:spLocks noGrp="1" noRot="1" noChangeAspect="1" noTextEdit="1"/>
          </p:cNvSpPr>
          <p:nvPr>
            <p:ph type="sldImg"/>
          </p:nvPr>
        </p:nvSpPr>
        <p:spPr>
          <a:ln/>
        </p:spPr>
      </p:sp>
      <p:sp>
        <p:nvSpPr>
          <p:cNvPr id="203779"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
        <p:nvSpPr>
          <p:cNvPr id="112644" name="Espace réservé du numéro de diapositive 3"/>
          <p:cNvSpPr>
            <a:spLocks noGrp="1"/>
          </p:cNvSpPr>
          <p:nvPr>
            <p:ph type="sldNum" sz="quarter" idx="5"/>
          </p:nvPr>
        </p:nvSpPr>
        <p:spPr/>
        <p:txBody>
          <a:bodyPr/>
          <a:lstStyle/>
          <a:p>
            <a:pPr>
              <a:defRPr/>
            </a:pPr>
            <a:fld id="{0E6C24B4-83B7-4F8C-A098-E40820FF4C26}" type="slidenum">
              <a:rPr lang="fr-FR" smtClean="0">
                <a:latin typeface="Arial" charset="0"/>
              </a:rPr>
              <a:pPr>
                <a:defRPr/>
              </a:pPr>
              <a:t>29</a:t>
            </a:fld>
            <a:endParaRPr lang="fr-FR" smtClean="0">
              <a:latin typeface="Arial"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2"/>
          <p:cNvSpPr>
            <a:spLocks noGrp="1" noRot="1" noChangeAspect="1" noChangeArrowheads="1" noTextEdit="1"/>
          </p:cNvSpPr>
          <p:nvPr>
            <p:ph type="sldImg"/>
          </p:nvPr>
        </p:nvSpPr>
        <p:spPr>
          <a:xfrm>
            <a:off x="711200" y="744538"/>
            <a:ext cx="5375275" cy="3722687"/>
          </a:xfrm>
          <a:ln/>
        </p:spPr>
      </p:sp>
      <p:sp>
        <p:nvSpPr>
          <p:cNvPr id="204803" name="Rectangle 3"/>
          <p:cNvSpPr>
            <a:spLocks noGrp="1" noChangeArrowheads="1"/>
          </p:cNvSpPr>
          <p:nvPr>
            <p:ph type="body" idx="1"/>
          </p:nvPr>
        </p:nvSpPr>
        <p:spPr>
          <a:xfrm>
            <a:off x="679451" y="4714876"/>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smtClean="0">
              <a:latin typeface="Arial"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50" name="Espace réservé de l'image des diapositives 1"/>
          <p:cNvSpPr>
            <a:spLocks noGrp="1" noRot="1" noChangeAspect="1" noTextEdit="1"/>
          </p:cNvSpPr>
          <p:nvPr>
            <p:ph type="sldImg"/>
          </p:nvPr>
        </p:nvSpPr>
        <p:spPr>
          <a:ln/>
        </p:spPr>
      </p:sp>
      <p:sp>
        <p:nvSpPr>
          <p:cNvPr id="206851"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
        <p:nvSpPr>
          <p:cNvPr id="112644" name="Espace réservé du numéro de diapositive 3"/>
          <p:cNvSpPr>
            <a:spLocks noGrp="1"/>
          </p:cNvSpPr>
          <p:nvPr>
            <p:ph type="sldNum" sz="quarter" idx="5"/>
          </p:nvPr>
        </p:nvSpPr>
        <p:spPr/>
        <p:txBody>
          <a:bodyPr/>
          <a:lstStyle/>
          <a:p>
            <a:pPr>
              <a:defRPr/>
            </a:pPr>
            <a:fld id="{95B9DB39-0C65-4C42-A7DC-0C719D132ED3}" type="slidenum">
              <a:rPr lang="fr-FR" smtClean="0">
                <a:latin typeface="Arial" charset="0"/>
              </a:rPr>
              <a:pPr>
                <a:defRPr/>
              </a:pPr>
              <a:t>31</a:t>
            </a:fld>
            <a:endParaRPr lang="fr-FR" smtClean="0">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Espace réservé de l'image des diapositives 1"/>
          <p:cNvSpPr>
            <a:spLocks noGrp="1" noRot="1" noChangeAspect="1" noTextEdit="1"/>
          </p:cNvSpPr>
          <p:nvPr>
            <p:ph type="sldImg"/>
          </p:nvPr>
        </p:nvSpPr>
        <p:spPr bwMode="auto">
          <a:xfrm>
            <a:off x="711200" y="744538"/>
            <a:ext cx="5375275"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smtClean="0">
              <a:latin typeface="Arial" charset="0"/>
            </a:endParaRPr>
          </a:p>
        </p:txBody>
      </p:sp>
      <p:sp>
        <p:nvSpPr>
          <p:cNvPr id="45060" name="Espace réservé du numéro de diapositive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Book Antiqua" pitchFamily="18" charset="0"/>
              </a:defRPr>
            </a:lvl1pPr>
            <a:lvl2pPr marL="743990" indent="-286150">
              <a:defRPr>
                <a:solidFill>
                  <a:schemeClr val="tx1"/>
                </a:solidFill>
                <a:latin typeface="Book Antiqua" pitchFamily="18" charset="0"/>
              </a:defRPr>
            </a:lvl2pPr>
            <a:lvl3pPr marL="1144600" indent="-228920">
              <a:defRPr>
                <a:solidFill>
                  <a:schemeClr val="tx1"/>
                </a:solidFill>
                <a:latin typeface="Book Antiqua" pitchFamily="18" charset="0"/>
              </a:defRPr>
            </a:lvl3pPr>
            <a:lvl4pPr marL="1602440" indent="-228920">
              <a:defRPr>
                <a:solidFill>
                  <a:schemeClr val="tx1"/>
                </a:solidFill>
                <a:latin typeface="Book Antiqua" pitchFamily="18" charset="0"/>
              </a:defRPr>
            </a:lvl4pPr>
            <a:lvl5pPr marL="2060280" indent="-228920">
              <a:defRPr>
                <a:solidFill>
                  <a:schemeClr val="tx1"/>
                </a:solidFill>
                <a:latin typeface="Book Antiqua" pitchFamily="18" charset="0"/>
              </a:defRPr>
            </a:lvl5pPr>
            <a:lvl6pPr marL="2518120" indent="-228920" fontAlgn="base">
              <a:spcBef>
                <a:spcPct val="0"/>
              </a:spcBef>
              <a:spcAft>
                <a:spcPct val="0"/>
              </a:spcAft>
              <a:defRPr>
                <a:solidFill>
                  <a:schemeClr val="tx1"/>
                </a:solidFill>
                <a:latin typeface="Book Antiqua" pitchFamily="18" charset="0"/>
              </a:defRPr>
            </a:lvl6pPr>
            <a:lvl7pPr marL="2975961" indent="-228920" fontAlgn="base">
              <a:spcBef>
                <a:spcPct val="0"/>
              </a:spcBef>
              <a:spcAft>
                <a:spcPct val="0"/>
              </a:spcAft>
              <a:defRPr>
                <a:solidFill>
                  <a:schemeClr val="tx1"/>
                </a:solidFill>
                <a:latin typeface="Book Antiqua" pitchFamily="18" charset="0"/>
              </a:defRPr>
            </a:lvl7pPr>
            <a:lvl8pPr marL="3433801" indent="-228920" fontAlgn="base">
              <a:spcBef>
                <a:spcPct val="0"/>
              </a:spcBef>
              <a:spcAft>
                <a:spcPct val="0"/>
              </a:spcAft>
              <a:defRPr>
                <a:solidFill>
                  <a:schemeClr val="tx1"/>
                </a:solidFill>
                <a:latin typeface="Book Antiqua" pitchFamily="18" charset="0"/>
              </a:defRPr>
            </a:lvl8pPr>
            <a:lvl9pPr marL="3891641" indent="-228920" fontAlgn="base">
              <a:spcBef>
                <a:spcPct val="0"/>
              </a:spcBef>
              <a:spcAft>
                <a:spcPct val="0"/>
              </a:spcAft>
              <a:defRPr>
                <a:solidFill>
                  <a:schemeClr val="tx1"/>
                </a:solidFill>
                <a:latin typeface="Book Antiqua" pitchFamily="18" charset="0"/>
              </a:defRPr>
            </a:lvl9pPr>
          </a:lstStyle>
          <a:p>
            <a:pPr fontAlgn="base">
              <a:spcBef>
                <a:spcPct val="0"/>
              </a:spcBef>
              <a:spcAft>
                <a:spcPct val="0"/>
              </a:spcAft>
              <a:defRPr/>
            </a:pPr>
            <a:fld id="{3C55CE1B-1FB9-42C9-84D0-A2A9FBA7B4C6}" type="slidenum">
              <a:rPr lang="fr-FR" smtClean="0">
                <a:latin typeface="Arial" charset="0"/>
              </a:rPr>
              <a:pPr fontAlgn="base">
                <a:spcBef>
                  <a:spcPct val="0"/>
                </a:spcBef>
                <a:spcAft>
                  <a:spcPct val="0"/>
                </a:spcAft>
                <a:defRPr/>
              </a:pPr>
              <a:t>3</a:t>
            </a:fld>
            <a:endParaRPr lang="fr-FR" smtClean="0">
              <a:latin typeface="Arial"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4" name="Rectangle 2"/>
          <p:cNvSpPr>
            <a:spLocks noGrp="1" noRot="1" noChangeAspect="1" noChangeArrowheads="1" noTextEdit="1"/>
          </p:cNvSpPr>
          <p:nvPr>
            <p:ph type="sldImg"/>
          </p:nvPr>
        </p:nvSpPr>
        <p:spPr>
          <a:xfrm>
            <a:off x="711200" y="744538"/>
            <a:ext cx="5375275" cy="3722687"/>
          </a:xfrm>
          <a:ln/>
        </p:spPr>
      </p:sp>
      <p:sp>
        <p:nvSpPr>
          <p:cNvPr id="207875" name="Rectangle 3"/>
          <p:cNvSpPr>
            <a:spLocks noGrp="1" noChangeArrowheads="1"/>
          </p:cNvSpPr>
          <p:nvPr>
            <p:ph type="body" idx="1"/>
          </p:nvPr>
        </p:nvSpPr>
        <p:spPr>
          <a:xfrm>
            <a:off x="679451" y="4714876"/>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smtClean="0">
              <a:latin typeface="Arial"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Rectangle 2"/>
          <p:cNvSpPr>
            <a:spLocks noGrp="1" noRot="1" noChangeAspect="1" noChangeArrowheads="1" noTextEdit="1"/>
          </p:cNvSpPr>
          <p:nvPr>
            <p:ph type="sldImg"/>
          </p:nvPr>
        </p:nvSpPr>
        <p:spPr>
          <a:ln/>
        </p:spPr>
      </p:sp>
      <p:sp>
        <p:nvSpPr>
          <p:cNvPr id="209923" name="Rectangle 3"/>
          <p:cNvSpPr>
            <a:spLocks noGrp="1" noChangeArrowheads="1"/>
          </p:cNvSpPr>
          <p:nvPr>
            <p:ph type="body" idx="1"/>
          </p:nvPr>
        </p:nvSpPr>
        <p:spPr>
          <a:xfrm>
            <a:off x="161925" y="8624890"/>
            <a:ext cx="6503988" cy="124777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smtClean="0">
              <a:latin typeface="Arial"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Espace réservé de l'image des diapositives 1"/>
          <p:cNvSpPr>
            <a:spLocks noGrp="1" noRot="1" noChangeAspect="1" noTextEdit="1"/>
          </p:cNvSpPr>
          <p:nvPr>
            <p:ph type="sldImg"/>
          </p:nvPr>
        </p:nvSpPr>
        <p:spPr>
          <a:ln/>
        </p:spPr>
      </p:sp>
      <p:sp>
        <p:nvSpPr>
          <p:cNvPr id="237571"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smtClean="0">
              <a:latin typeface="Arial" charset="0"/>
            </a:endParaRPr>
          </a:p>
        </p:txBody>
      </p:sp>
      <p:sp>
        <p:nvSpPr>
          <p:cNvPr id="112644" name="Espace réservé du numéro de diapositive 3"/>
          <p:cNvSpPr>
            <a:spLocks noGrp="1"/>
          </p:cNvSpPr>
          <p:nvPr>
            <p:ph type="sldNum" sz="quarter" idx="5"/>
          </p:nvPr>
        </p:nvSpPr>
        <p:spPr/>
        <p:txBody>
          <a:bodyPr/>
          <a:lstStyle/>
          <a:p>
            <a:pPr>
              <a:defRPr/>
            </a:pPr>
            <a:fld id="{3C647CDE-9160-46D4-B91D-3E90B196A548}" type="slidenum">
              <a:rPr lang="fr-FR" smtClean="0">
                <a:latin typeface="Arial" charset="0"/>
              </a:rPr>
              <a:pPr>
                <a:defRPr/>
              </a:pPr>
              <a:t>34</a:t>
            </a:fld>
            <a:endParaRPr lang="fr-FR" smtClean="0">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Espace réservé de l'image des diapositives 1"/>
          <p:cNvSpPr>
            <a:spLocks noGrp="1" noRot="1" noChangeAspect="1" noTextEdit="1"/>
          </p:cNvSpPr>
          <p:nvPr>
            <p:ph type="sldImg"/>
          </p:nvPr>
        </p:nvSpPr>
        <p:spPr>
          <a:ln/>
        </p:spPr>
      </p:sp>
      <p:sp>
        <p:nvSpPr>
          <p:cNvPr id="72707"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smtClean="0"/>
          </a:p>
        </p:txBody>
      </p:sp>
      <p:sp>
        <p:nvSpPr>
          <p:cNvPr id="72708"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a:solidFill>
                  <a:schemeClr val="tx1"/>
                </a:solidFill>
                <a:latin typeface="Arial" charset="0"/>
                <a:cs typeface="Arial" charset="0"/>
              </a:defRPr>
            </a:lvl1pPr>
            <a:lvl2pPr marL="742950" indent="-285750" defTabSz="923925" eaLnBrk="0" hangingPunct="0">
              <a:defRPr>
                <a:solidFill>
                  <a:schemeClr val="tx1"/>
                </a:solidFill>
                <a:latin typeface="Arial" charset="0"/>
                <a:cs typeface="Arial" charset="0"/>
              </a:defRPr>
            </a:lvl2pPr>
            <a:lvl3pPr marL="1143000" indent="-228600" defTabSz="923925" eaLnBrk="0" hangingPunct="0">
              <a:defRPr>
                <a:solidFill>
                  <a:schemeClr val="tx1"/>
                </a:solidFill>
                <a:latin typeface="Arial" charset="0"/>
                <a:cs typeface="Arial" charset="0"/>
              </a:defRPr>
            </a:lvl3pPr>
            <a:lvl4pPr marL="1600200" indent="-228600" defTabSz="923925" eaLnBrk="0" hangingPunct="0">
              <a:defRPr>
                <a:solidFill>
                  <a:schemeClr val="tx1"/>
                </a:solidFill>
                <a:latin typeface="Arial" charset="0"/>
                <a:cs typeface="Arial" charset="0"/>
              </a:defRPr>
            </a:lvl4pPr>
            <a:lvl5pPr marL="2057400" indent="-228600" defTabSz="923925" eaLnBrk="0" hangingPunct="0">
              <a:defRPr>
                <a:solidFill>
                  <a:schemeClr val="tx1"/>
                </a:solidFill>
                <a:latin typeface="Arial" charset="0"/>
                <a:cs typeface="Arial" charset="0"/>
              </a:defRPr>
            </a:lvl5pPr>
            <a:lvl6pPr marL="2514600" indent="-228600" defTabSz="923925" eaLnBrk="0" fontAlgn="base" hangingPunct="0">
              <a:spcBef>
                <a:spcPct val="0"/>
              </a:spcBef>
              <a:spcAft>
                <a:spcPct val="0"/>
              </a:spcAft>
              <a:defRPr>
                <a:solidFill>
                  <a:schemeClr val="tx1"/>
                </a:solidFill>
                <a:latin typeface="Arial" charset="0"/>
                <a:cs typeface="Arial" charset="0"/>
              </a:defRPr>
            </a:lvl6pPr>
            <a:lvl7pPr marL="2971800" indent="-228600" defTabSz="923925" eaLnBrk="0" fontAlgn="base" hangingPunct="0">
              <a:spcBef>
                <a:spcPct val="0"/>
              </a:spcBef>
              <a:spcAft>
                <a:spcPct val="0"/>
              </a:spcAft>
              <a:defRPr>
                <a:solidFill>
                  <a:schemeClr val="tx1"/>
                </a:solidFill>
                <a:latin typeface="Arial" charset="0"/>
                <a:cs typeface="Arial" charset="0"/>
              </a:defRPr>
            </a:lvl7pPr>
            <a:lvl8pPr marL="3429000" indent="-228600" defTabSz="923925" eaLnBrk="0" fontAlgn="base" hangingPunct="0">
              <a:spcBef>
                <a:spcPct val="0"/>
              </a:spcBef>
              <a:spcAft>
                <a:spcPct val="0"/>
              </a:spcAft>
              <a:defRPr>
                <a:solidFill>
                  <a:schemeClr val="tx1"/>
                </a:solidFill>
                <a:latin typeface="Arial" charset="0"/>
                <a:cs typeface="Arial" charset="0"/>
              </a:defRPr>
            </a:lvl8pPr>
            <a:lvl9pPr marL="3886200" indent="-228600" defTabSz="923925" eaLnBrk="0" fontAlgn="base" hangingPunct="0">
              <a:spcBef>
                <a:spcPct val="0"/>
              </a:spcBef>
              <a:spcAft>
                <a:spcPct val="0"/>
              </a:spcAft>
              <a:defRPr>
                <a:solidFill>
                  <a:schemeClr val="tx1"/>
                </a:solidFill>
                <a:latin typeface="Arial" charset="0"/>
                <a:cs typeface="Arial" charset="0"/>
              </a:defRPr>
            </a:lvl9pPr>
          </a:lstStyle>
          <a:p>
            <a:pPr eaLnBrk="1" hangingPunct="1"/>
            <a:fld id="{D3451A9C-D782-437B-B172-559B788ED247}" type="slidenum">
              <a:rPr lang="fr-FR" smtClean="0"/>
              <a:pPr eaLnBrk="1" hangingPunct="1"/>
              <a:t>4</a:t>
            </a:fld>
            <a:endParaRPr lang="fr-FR"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Espace réservé de l'image des diapositives 1"/>
          <p:cNvSpPr>
            <a:spLocks noGrp="1" noRot="1" noChangeAspect="1" noTextEdit="1"/>
          </p:cNvSpPr>
          <p:nvPr>
            <p:ph type="sldImg"/>
          </p:nvPr>
        </p:nvSpPr>
        <p:spPr bwMode="auto">
          <a:xfrm>
            <a:off x="711200" y="744538"/>
            <a:ext cx="5375275"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2F6FDC11-9F3F-42CE-8EA3-834F3AF2D997}" type="slidenum">
              <a:rPr lang="fr-FR" smtClean="0">
                <a:latin typeface="Arial" charset="0"/>
              </a:rPr>
              <a:pPr>
                <a:defRPr/>
              </a:pPr>
              <a:t>5</a:t>
            </a:fld>
            <a:endParaRPr lang="fr-FR" smtClean="0">
              <a:latin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Espace réservé de l'image des diapositives 1"/>
          <p:cNvSpPr>
            <a:spLocks noGrp="1" noRot="1" noChangeAspect="1" noTextEdit="1"/>
          </p:cNvSpPr>
          <p:nvPr>
            <p:ph type="sldImg"/>
          </p:nvPr>
        </p:nvSpPr>
        <p:spPr bwMode="auto">
          <a:xfrm>
            <a:off x="711200" y="744538"/>
            <a:ext cx="5375275"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06F3449D-87FC-4005-8CA3-0E335E53B6B6}" type="slidenum">
              <a:rPr lang="fr-FR" smtClean="0">
                <a:latin typeface="Arial" charset="0"/>
              </a:rPr>
              <a:pPr>
                <a:defRPr/>
              </a:pPr>
              <a:t>6</a:t>
            </a:fld>
            <a:endParaRPr lang="fr-FR" smtClean="0">
              <a:latin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Espace réservé de l'image des diapositives 1"/>
          <p:cNvSpPr>
            <a:spLocks noGrp="1" noRot="1" noChangeAspect="1" noTextEdit="1"/>
          </p:cNvSpPr>
          <p:nvPr>
            <p:ph type="sldImg"/>
          </p:nvPr>
        </p:nvSpPr>
        <p:spPr bwMode="auto">
          <a:xfrm>
            <a:off x="711200" y="744538"/>
            <a:ext cx="5375275"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52210EB2-8376-4064-AB64-DB07B6D5E33D}" type="slidenum">
              <a:rPr lang="fr-FR" smtClean="0">
                <a:latin typeface="Arial" charset="0"/>
              </a:rPr>
              <a:pPr>
                <a:defRPr/>
              </a:pPr>
              <a:t>7</a:t>
            </a:fld>
            <a:endParaRPr lang="fr-FR" smtClean="0">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Espace réservé de l'image des diapositives 1"/>
          <p:cNvSpPr>
            <a:spLocks noGrp="1" noRot="1" noChangeAspect="1" noTextEdit="1"/>
          </p:cNvSpPr>
          <p:nvPr>
            <p:ph type="sldImg"/>
          </p:nvPr>
        </p:nvSpPr>
        <p:spPr bwMode="auto">
          <a:xfrm>
            <a:off x="711200" y="744538"/>
            <a:ext cx="5375275"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A28165BC-1FEA-40DE-BE9F-9D33DB7C3034}" type="slidenum">
              <a:rPr lang="fr-FR" smtClean="0">
                <a:latin typeface="Arial" charset="0"/>
              </a:rPr>
              <a:pPr>
                <a:defRPr/>
              </a:pPr>
              <a:t>8</a:t>
            </a:fld>
            <a:endParaRPr lang="fr-FR" smtClean="0">
              <a:latin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Espace réservé de l'image des diapositives 1"/>
          <p:cNvSpPr>
            <a:spLocks noGrp="1" noRot="1" noChangeAspect="1" noTextEdit="1"/>
          </p:cNvSpPr>
          <p:nvPr>
            <p:ph type="sldImg"/>
          </p:nvPr>
        </p:nvSpPr>
        <p:spPr bwMode="auto">
          <a:xfrm>
            <a:off x="711200" y="744538"/>
            <a:ext cx="5375275"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fr-FR" altLang="fr-FR" smtClean="0">
              <a:latin typeface="Arial" charset="0"/>
            </a:endParaRPr>
          </a:p>
        </p:txBody>
      </p:sp>
      <p:sp>
        <p:nvSpPr>
          <p:cNvPr id="125956" name="Espace réservé du numéro de diapositive 3"/>
          <p:cNvSpPr>
            <a:spLocks noGrp="1"/>
          </p:cNvSpPr>
          <p:nvPr>
            <p:ph type="sldNum" sz="quarter" idx="5"/>
          </p:nvPr>
        </p:nvSpPr>
        <p:spPr/>
        <p:txBody>
          <a:bodyPr/>
          <a:lstStyle/>
          <a:p>
            <a:pPr>
              <a:defRPr/>
            </a:pPr>
            <a:fld id="{028B0CBB-F045-44D1-B0A7-E2E1FF9652AA}" type="slidenum">
              <a:rPr lang="fr-FR" smtClean="0">
                <a:latin typeface="Arial" charset="0"/>
              </a:rPr>
              <a:pPr>
                <a:defRPr/>
              </a:pPr>
              <a:t>9</a:t>
            </a:fld>
            <a:endParaRPr lang="fr-FR" smtClean="0">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2.xml"/><Relationship Id="rId7"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xml"/><Relationship Id="rId7" Type="http://schemas.openxmlformats.org/officeDocument/2006/relationships/oleObject" Target="../embeddings/oleObject3.bin"/><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3.png"/><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tags" Target="../tags/tag27.xml"/><Relationship Id="rId11" Type="http://schemas.openxmlformats.org/officeDocument/2006/relationships/image" Target="../media/image1.emf"/><Relationship Id="rId5" Type="http://schemas.openxmlformats.org/officeDocument/2006/relationships/tags" Target="../tags/tag26.xml"/><Relationship Id="rId10" Type="http://schemas.openxmlformats.org/officeDocument/2006/relationships/oleObject" Target="../embeddings/oleObject5.bin"/><Relationship Id="rId4" Type="http://schemas.openxmlformats.org/officeDocument/2006/relationships/tags" Target="../tags/tag25.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image" Target="../media/image4.png"/><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tags" Target="../tags/tag34.xml"/><Relationship Id="rId11" Type="http://schemas.openxmlformats.org/officeDocument/2006/relationships/oleObject" Target="../embeddings/oleObject6.bin"/><Relationship Id="rId5" Type="http://schemas.openxmlformats.org/officeDocument/2006/relationships/tags" Target="../tags/tag33.xml"/><Relationship Id="rId10" Type="http://schemas.openxmlformats.org/officeDocument/2006/relationships/slideMaster" Target="../slideMasters/slideMaster1.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6.png"/><Relationship Id="rId2" Type="http://schemas.openxmlformats.org/officeDocument/2006/relationships/tags" Target="../tags/tag38.xml"/><Relationship Id="rId16" Type="http://schemas.openxmlformats.org/officeDocument/2006/relationships/image" Target="../media/image1.emf"/><Relationship Id="rId1" Type="http://schemas.openxmlformats.org/officeDocument/2006/relationships/vmlDrawing" Target="../drawings/vmlDrawing7.v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oleObject" Target="../embeddings/oleObject7.bin"/><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1.xml"/><Relationship Id="rId7" Type="http://schemas.openxmlformats.org/officeDocument/2006/relationships/oleObject" Target="../embeddings/oleObject8.bin"/><Relationship Id="rId2" Type="http://schemas.openxmlformats.org/officeDocument/2006/relationships/tags" Target="../tags/tag50.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55.xml"/><Relationship Id="rId7"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9.vml"/><Relationship Id="rId6" Type="http://schemas.openxmlformats.org/officeDocument/2006/relationships/tags" Target="../tags/tag58.xml"/><Relationship Id="rId11" Type="http://schemas.openxmlformats.org/officeDocument/2006/relationships/image" Target="../media/image2.jpeg"/><Relationship Id="rId5" Type="http://schemas.openxmlformats.org/officeDocument/2006/relationships/tags" Target="../tags/tag57.xml"/><Relationship Id="rId10" Type="http://schemas.openxmlformats.org/officeDocument/2006/relationships/image" Target="../media/image4.png"/><Relationship Id="rId4" Type="http://schemas.openxmlformats.org/officeDocument/2006/relationships/tags" Target="../tags/tag56.xml"/><Relationship Id="rId9"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image" Target="../media/image5.png"/><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8.png"/><Relationship Id="rId2" Type="http://schemas.openxmlformats.org/officeDocument/2006/relationships/tags" Target="../tags/tag59.xml"/><Relationship Id="rId1" Type="http://schemas.openxmlformats.org/officeDocument/2006/relationships/vmlDrawing" Target="../drawings/vmlDrawing10.vml"/><Relationship Id="rId6" Type="http://schemas.openxmlformats.org/officeDocument/2006/relationships/tags" Target="../tags/tag63.xml"/><Relationship Id="rId11" Type="http://schemas.openxmlformats.org/officeDocument/2006/relationships/image" Target="../media/image1.emf"/><Relationship Id="rId5" Type="http://schemas.openxmlformats.org/officeDocument/2006/relationships/tags" Target="../tags/tag62.xml"/><Relationship Id="rId10" Type="http://schemas.openxmlformats.org/officeDocument/2006/relationships/oleObject" Target="../embeddings/oleObject10.bin"/><Relationship Id="rId4" Type="http://schemas.openxmlformats.org/officeDocument/2006/relationships/tags" Target="../tags/tag61.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0685" name="think-cell Slide" r:id="rId8" imgW="360" imgH="360" progId="TCLayout.ActiveDocument.1">
                  <p:embed/>
                </p:oleObj>
              </mc:Choice>
              <mc:Fallback>
                <p:oleObj name="think-cell Slide" r:id="rId8" imgW="360" imgH="360" progId="TCLayout.ActiveDocument.1">
                  <p:embed/>
                  <p:pic>
                    <p:nvPicPr>
                      <p:cNvPr id="0" name="Picture 2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Slide Number Placeholder"/>
          <p:cNvSpPr>
            <a:spLocks noGrp="1"/>
          </p:cNvSpPr>
          <p:nvPr>
            <p:ph type="sldNum" sz="quarter" idx="11"/>
            <p:custDataLst>
              <p:tags r:id="rId3"/>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N°›</a:t>
            </a:fld>
            <a:endParaRPr lang="en-US" dirty="0"/>
          </a:p>
        </p:txBody>
      </p:sp>
      <p:sp>
        <p:nvSpPr>
          <p:cNvPr id="85" name="Slide Number Line"/>
          <p:cNvSpPr>
            <a:spLocks noChangeShapeType="1"/>
          </p:cNvSpPr>
          <p:nvPr>
            <p:custDataLst>
              <p:tags r:id="rId4"/>
            </p:custDataLst>
          </p:nvPr>
        </p:nvSpPr>
        <p:spPr bwMode="auto">
          <a:xfrm>
            <a:off x="9269413" y="6734175"/>
            <a:ext cx="0" cy="123825"/>
          </a:xfrm>
          <a:prstGeom prst="line">
            <a:avLst/>
          </a:prstGeom>
          <a:noFill/>
          <a:ln w="9525">
            <a:solidFill>
              <a:schemeClr val="accent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87" name="Text Placeholder"/>
          <p:cNvSpPr>
            <a:spLocks noGrp="1"/>
          </p:cNvSpPr>
          <p:nvPr>
            <p:ph type="body" sz="quarter" idx="12" hasCustomPrompt="1"/>
            <p:custDataLst>
              <p:tags r:id="rId5"/>
            </p:custDataLst>
          </p:nvPr>
        </p:nvSpPr>
        <p:spPr>
          <a:xfrm>
            <a:off x="733425" y="1933200"/>
            <a:ext cx="8535988" cy="1203919"/>
          </a:xfrm>
        </p:spPr>
        <p:txBody>
          <a:bodyPr>
            <a:spAutoFit/>
          </a:bodyPr>
          <a:lstStyle>
            <a:lvl1pPr>
              <a:defRPr/>
            </a:lvl1pPr>
            <a:lvl2pPr>
              <a:defRPr baseline="0"/>
            </a:lvl2pPr>
            <a:lvl3pPr>
              <a:spcBef>
                <a:spcPts val="400"/>
              </a:spcBef>
              <a:defRPr baseline="0"/>
            </a:lvl3pPr>
            <a:lvl4pPr>
              <a:defRPr baseline="0"/>
            </a:lvl4p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p>
        </p:txBody>
      </p:sp>
      <p:sp>
        <p:nvSpPr>
          <p:cNvPr id="88" name="Title"/>
          <p:cNvSpPr>
            <a:spLocks noGrp="1"/>
          </p:cNvSpPr>
          <p:nvPr>
            <p:ph type="title"/>
            <p:custDataLst>
              <p:tags r:id="rId6"/>
            </p:custDataLst>
          </p:nvPr>
        </p:nvSpPr>
        <p:spPr>
          <a:xfrm>
            <a:off x="733425" y="943200"/>
            <a:ext cx="8535988" cy="601062"/>
          </a:xfrm>
        </p:spPr>
        <p:txBody>
          <a:bodyPr>
            <a:noAutofit/>
          </a:bodyPr>
          <a:lstStyle>
            <a:lvl1pPr>
              <a:defRPr/>
            </a:lvl1pPr>
          </a:lstStyle>
          <a:p>
            <a:r>
              <a:rPr lang="en-US" smtClean="0"/>
              <a:t>Click to edit Master 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373618"/>
      </p:ext>
    </p:extLst>
  </p:cSld>
  <p:clrMapOvr>
    <a:masterClrMapping/>
  </p:clrMapOv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Only">
  <p:cSld name="Contenu">
    <p:spTree>
      <p:nvGrpSpPr>
        <p:cNvPr id="1" name=""/>
        <p:cNvGrpSpPr/>
        <p:nvPr/>
      </p:nvGrpSpPr>
      <p:grpSpPr>
        <a:xfrm>
          <a:off x="0" y="0"/>
          <a:ext cx="0" cy="0"/>
          <a:chOff x="0" y="0"/>
          <a:chExt cx="0" cy="0"/>
        </a:xfrm>
      </p:grpSpPr>
      <p:sp>
        <p:nvSpPr>
          <p:cNvPr id="2" name="Espace réservé du contenu 1"/>
          <p:cNvSpPr>
            <a:spLocks noGrp="1"/>
          </p:cNvSpPr>
          <p:nvPr>
            <p:ph/>
          </p:nvPr>
        </p:nvSpPr>
        <p:spPr>
          <a:xfrm>
            <a:off x="0" y="228600"/>
            <a:ext cx="9906000" cy="1447191"/>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80174029"/>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Tree>
    <p:extLst>
      <p:ext uri="{BB962C8B-B14F-4D97-AF65-F5344CB8AC3E}">
        <p14:creationId xmlns:p14="http://schemas.microsoft.com/office/powerpoint/2010/main" val="1987744088"/>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a:xfrm>
            <a:off x="733425" y="1933200"/>
            <a:ext cx="8535988" cy="1447191"/>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4119113760"/>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5" name="Text Placeholder 4"/>
          <p:cNvSpPr>
            <a:spLocks noGrp="1"/>
          </p:cNvSpPr>
          <p:nvPr>
            <p:ph type="body" sz="quarter" idx="10"/>
          </p:nvPr>
        </p:nvSpPr>
        <p:spPr>
          <a:xfrm>
            <a:off x="416305" y="1412875"/>
            <a:ext cx="8904966" cy="935000"/>
          </a:xfrm>
        </p:spPr>
        <p:txBody>
          <a:bodyPr/>
          <a:lstStyle>
            <a:lvl1pPr>
              <a:buClr>
                <a:schemeClr val="accent5"/>
              </a:buClr>
              <a:defRPr/>
            </a:lvl1pPr>
            <a:lvl2pPr>
              <a:buClr>
                <a:schemeClr val="accent5"/>
              </a:buClr>
              <a:defRPr/>
            </a:lvl2pPr>
            <a:lvl3pPr marL="1144588" indent="-247650">
              <a:buClr>
                <a:schemeClr val="accent5"/>
              </a:buClr>
              <a:buSzPct val="100000"/>
              <a:buFont typeface="Arial" pitchFamily="34" charset="0"/>
              <a:buChar char="–"/>
              <a:defRPr/>
            </a:lvl3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78787097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541" name="think-cell Slide" r:id="rId7" imgW="360" imgH="360" progId="TCLayout.ActiveDocument.1">
                  <p:embed/>
                </p:oleObj>
              </mc:Choice>
              <mc:Fallback>
                <p:oleObj name="think-cell Slide" r:id="rId7" imgW="360" imgH="360" progId="TCLayout.ActiveDocument.1">
                  <p:embed/>
                  <p:pic>
                    <p:nvPicPr>
                      <p:cNvPr id="0" name="Picture 2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 name="Slide Number Placeholder"/>
          <p:cNvSpPr>
            <a:spLocks noGrp="1"/>
          </p:cNvSpPr>
          <p:nvPr>
            <p:ph type="sldNum" sz="quarter" idx="11"/>
            <p:custDataLst>
              <p:tags r:id="rId3"/>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N°›</a:t>
            </a:fld>
            <a:endParaRPr lang="en-US" dirty="0"/>
          </a:p>
        </p:txBody>
      </p:sp>
      <p:sp>
        <p:nvSpPr>
          <p:cNvPr id="46" name="Slide Number Line"/>
          <p:cNvSpPr>
            <a:spLocks noChangeShapeType="1"/>
          </p:cNvSpPr>
          <p:nvPr>
            <p:custDataLst>
              <p:tags r:id="rId4"/>
            </p:custDataLst>
          </p:nvPr>
        </p:nvSpPr>
        <p:spPr bwMode="auto">
          <a:xfrm>
            <a:off x="9269413" y="6734175"/>
            <a:ext cx="0" cy="123825"/>
          </a:xfrm>
          <a:prstGeom prst="line">
            <a:avLst/>
          </a:prstGeom>
          <a:noFill/>
          <a:ln w="9525">
            <a:solidFill>
              <a:schemeClr val="accent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84" name="Title"/>
          <p:cNvSpPr>
            <a:spLocks noGrp="1"/>
          </p:cNvSpPr>
          <p:nvPr>
            <p:ph type="title"/>
            <p:custDataLst>
              <p:tags r:id="rId5"/>
            </p:custDataLst>
          </p:nvPr>
        </p:nvSpPr>
        <p:spPr>
          <a:xfrm>
            <a:off x="733425" y="943200"/>
            <a:ext cx="8535988" cy="601062"/>
          </a:xfrm>
        </p:spPr>
        <p:txBody>
          <a:bodyPr>
            <a:noAutofit/>
          </a:bodyPr>
          <a:lstStyle>
            <a:lvl1pPr>
              <a:defRPr/>
            </a:lvl1pPr>
          </a:lstStyle>
          <a:p>
            <a:r>
              <a:rPr lang="en-US" smtClean="0"/>
              <a:t>Click to edit Master title styl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613" name="think-cell Slide" r:id="rId6" imgW="360" imgH="360" progId="TCLayout.ActiveDocument.1">
                  <p:embed/>
                </p:oleObj>
              </mc:Choice>
              <mc:Fallback>
                <p:oleObj name="think-cell Slide" r:id="rId6" imgW="360" imgH="360" progId="TCLayout.ActiveDocument.1">
                  <p:embed/>
                  <p:pic>
                    <p:nvPicPr>
                      <p:cNvPr id="0" name="Picture 2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 name="Slide Number Line"/>
          <p:cNvSpPr>
            <a:spLocks noChangeShapeType="1"/>
          </p:cNvSpPr>
          <p:nvPr>
            <p:custDataLst>
              <p:tags r:id="rId3"/>
            </p:custDataLst>
          </p:nvPr>
        </p:nvSpPr>
        <p:spPr bwMode="auto">
          <a:xfrm>
            <a:off x="9269413" y="6734175"/>
            <a:ext cx="0" cy="123825"/>
          </a:xfrm>
          <a:prstGeom prst="line">
            <a:avLst/>
          </a:prstGeom>
          <a:noFill/>
          <a:ln w="9525">
            <a:solidFill>
              <a:schemeClr val="accent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44" name="Slide Number Placeholder"/>
          <p:cNvSpPr>
            <a:spLocks noGrp="1"/>
          </p:cNvSpPr>
          <p:nvPr>
            <p:ph type="sldNum" sz="quarter" idx="11"/>
            <p:custDataLst>
              <p:tags r:id="rId4"/>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N°›</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Page">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61" name="think-cell Slide" r:id="rId10" imgW="360" imgH="360" progId="TCLayout.ActiveDocument.1">
                  <p:embed/>
                </p:oleObj>
              </mc:Choice>
              <mc:Fallback>
                <p:oleObj name="think-cell Slide" r:id="rId10" imgW="360" imgH="360" progId="TCLayout.ActiveDocument.1">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9" name="Slide Number Placeholder"/>
          <p:cNvSpPr>
            <a:spLocks noGrp="1"/>
          </p:cNvSpPr>
          <p:nvPr>
            <p:ph type="sldNum" sz="quarter" idx="11"/>
            <p:custDataLst>
              <p:tags r:id="rId3"/>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N°›</a:t>
            </a:fld>
            <a:endParaRPr lang="en-US" dirty="0"/>
          </a:p>
        </p:txBody>
      </p:sp>
      <p:sp>
        <p:nvSpPr>
          <p:cNvPr id="98" name="Location, date"/>
          <p:cNvSpPr>
            <a:spLocks noGrp="1"/>
          </p:cNvSpPr>
          <p:nvPr>
            <p:ph type="body" sz="quarter" idx="14" hasCustomPrompt="1"/>
            <p:custDataLst>
              <p:tags r:id="rId4"/>
            </p:custDataLst>
          </p:nvPr>
        </p:nvSpPr>
        <p:spPr>
          <a:xfrm>
            <a:off x="1224000" y="6206400"/>
            <a:ext cx="6458400" cy="214674"/>
          </a:xfrm>
        </p:spPr>
        <p:txBody>
          <a:bodyPr/>
          <a:lstStyle>
            <a:lvl1pPr marL="0" indent="0">
              <a:lnSpc>
                <a:spcPct val="93000"/>
              </a:lnSpc>
              <a:spcBef>
                <a:spcPts val="0"/>
              </a:spcBef>
              <a:defRPr sz="1500" b="0" baseline="0">
                <a:solidFill>
                  <a:schemeClr val="tx1"/>
                </a:solidFill>
                <a:latin typeface="+mn-lt"/>
                <a:cs typeface="Arial" pitchFamily="34" charset="0"/>
              </a:defRPr>
            </a:lvl1pPr>
            <a:lvl2pPr>
              <a:defRPr b="0"/>
            </a:lvl2pPr>
            <a:lvl3pPr>
              <a:defRPr b="0"/>
            </a:lvl3pPr>
            <a:lvl4pPr>
              <a:defRPr b="0"/>
            </a:lvl4pPr>
            <a:lvl5pPr>
              <a:defRPr b="0"/>
            </a:lvl5pPr>
          </a:lstStyle>
          <a:p>
            <a:pPr lvl="0"/>
            <a:r>
              <a:rPr lang="en-US" dirty="0" smtClean="0"/>
              <a:t>Location, date of presentation (month, day, year)</a:t>
            </a:r>
            <a:endParaRPr lang="en-US" dirty="0"/>
          </a:p>
        </p:txBody>
      </p:sp>
      <p:sp>
        <p:nvSpPr>
          <p:cNvPr id="4" name="Client name"/>
          <p:cNvSpPr>
            <a:spLocks noGrp="1"/>
          </p:cNvSpPr>
          <p:nvPr>
            <p:ph type="body" sz="quarter" idx="13" hasCustomPrompt="1"/>
            <p:custDataLst>
              <p:tags r:id="rId5"/>
            </p:custDataLst>
          </p:nvPr>
        </p:nvSpPr>
        <p:spPr>
          <a:xfrm>
            <a:off x="1224000" y="5414400"/>
            <a:ext cx="6458400" cy="486543"/>
          </a:xfrm>
        </p:spPr>
        <p:txBody>
          <a:bodyPr/>
          <a:lstStyle>
            <a:lvl1pPr marL="0" indent="0">
              <a:lnSpc>
                <a:spcPct val="93000"/>
              </a:lnSpc>
              <a:spcBef>
                <a:spcPts val="0"/>
              </a:spcBef>
              <a:defRPr sz="1700" b="1" baseline="0">
                <a:solidFill>
                  <a:schemeClr val="bg1"/>
                </a:solidFill>
                <a:latin typeface="+mj-lt"/>
                <a:cs typeface="Arial" pitchFamily="34" charset="0"/>
              </a:defRPr>
            </a:lvl1pPr>
            <a:lvl2pPr>
              <a:defRPr sz="2100" b="1"/>
            </a:lvl2pPr>
            <a:lvl3pPr>
              <a:defRPr sz="2100" b="1"/>
            </a:lvl3pPr>
            <a:lvl4pPr>
              <a:defRPr sz="2100" b="1"/>
            </a:lvl4pPr>
            <a:lvl5pPr>
              <a:defRPr sz="2100" b="1"/>
            </a:lvl5pPr>
          </a:lstStyle>
          <a:p>
            <a:pPr lvl="0"/>
            <a:r>
              <a:rPr lang="en-US" dirty="0" smtClean="0"/>
              <a:t>Client name</a:t>
            </a:r>
            <a:br>
              <a:rPr lang="en-US" dirty="0" smtClean="0"/>
            </a:br>
            <a:r>
              <a:rPr lang="en-US" dirty="0" smtClean="0"/>
              <a:t>(max. Two lines, 17 pt.)</a:t>
            </a:r>
            <a:endParaRPr lang="en-US" dirty="0"/>
          </a:p>
        </p:txBody>
      </p:sp>
      <p:sp>
        <p:nvSpPr>
          <p:cNvPr id="5" name="Type of document"/>
          <p:cNvSpPr>
            <a:spLocks noGrp="1"/>
          </p:cNvSpPr>
          <p:nvPr>
            <p:ph type="body" sz="quarter" idx="15" hasCustomPrompt="1"/>
            <p:custDataLst>
              <p:tags r:id="rId6"/>
            </p:custDataLst>
          </p:nvPr>
        </p:nvSpPr>
        <p:spPr>
          <a:xfrm>
            <a:off x="1224000" y="4734000"/>
            <a:ext cx="6458400" cy="243272"/>
          </a:xfrm>
        </p:spPr>
        <p:txBody>
          <a:bodyPr/>
          <a:lstStyle>
            <a:lvl1pPr marL="0" indent="0">
              <a:lnSpc>
                <a:spcPct val="93000"/>
              </a:lnSpc>
              <a:spcBef>
                <a:spcPts val="0"/>
              </a:spcBef>
              <a:defRPr sz="1700" b="0">
                <a:solidFill>
                  <a:schemeClr val="bg1"/>
                </a:solidFill>
                <a:latin typeface="+mn-lt"/>
                <a:cs typeface="Arial" pitchFamily="34" charset="0"/>
              </a:defRPr>
            </a:lvl1pPr>
          </a:lstStyle>
          <a:p>
            <a:pPr lvl="0"/>
            <a:r>
              <a:rPr lang="en-US" dirty="0" smtClean="0"/>
              <a:t>Type of document</a:t>
            </a:r>
            <a:endParaRPr lang="en-US" dirty="0"/>
          </a:p>
        </p:txBody>
      </p:sp>
      <p:sp>
        <p:nvSpPr>
          <p:cNvPr id="6" name="Project name"/>
          <p:cNvSpPr>
            <a:spLocks noGrp="1"/>
          </p:cNvSpPr>
          <p:nvPr>
            <p:ph type="title" hasCustomPrompt="1"/>
            <p:custDataLst>
              <p:tags r:id="rId7"/>
            </p:custDataLst>
          </p:nvPr>
        </p:nvSpPr>
        <p:spPr>
          <a:xfrm>
            <a:off x="1224000" y="3880800"/>
            <a:ext cx="6458400" cy="601062"/>
          </a:xfrm>
        </p:spPr>
        <p:txBody>
          <a:bodyPr anchor="b" anchorCtr="0">
            <a:spAutoFit/>
          </a:bodyPr>
          <a:lstStyle>
            <a:lvl1pPr algn="l">
              <a:lnSpc>
                <a:spcPct val="93000"/>
              </a:lnSpc>
              <a:spcBef>
                <a:spcPts val="0"/>
              </a:spcBef>
              <a:defRPr baseline="0">
                <a:solidFill>
                  <a:schemeClr val="bg1"/>
                </a:solidFill>
                <a:latin typeface="+mj-lt"/>
                <a:cs typeface="Arial" pitchFamily="34" charset="0"/>
              </a:defRPr>
            </a:lvl1pPr>
          </a:lstStyle>
          <a:p>
            <a:r>
              <a:rPr lang="en-US" dirty="0" smtClean="0"/>
              <a:t>Project name or document title</a:t>
            </a:r>
            <a:br>
              <a:rPr lang="en-US" dirty="0" smtClean="0"/>
            </a:br>
            <a:r>
              <a:rPr lang="en-US" dirty="0" smtClean="0"/>
              <a:t>(max. two lines, 21 pt.)</a:t>
            </a:r>
            <a:endParaRPr lang="en-US" dirty="0"/>
          </a:p>
        </p:txBody>
      </p:sp>
      <p:pic>
        <p:nvPicPr>
          <p:cNvPr id="16" name="Picture 3" descr="D:\Users\christine_schnaus\Pictures\templates\Picture43.png"/>
          <p:cNvPicPr>
            <a:picLocks noChangeAspect="1" noChangeArrowheads="1"/>
          </p:cNvPicPr>
          <p:nvPr>
            <p:custDataLst>
              <p:tags r:id="rId8"/>
            </p:custDataLst>
          </p:nvPr>
        </p:nvPicPr>
        <p:blipFill>
          <a:blip r:embed="rId12" cstate="print"/>
          <a:srcRect/>
          <a:stretch>
            <a:fillRect/>
          </a:stretch>
        </p:blipFill>
        <p:spPr bwMode="auto">
          <a:xfrm>
            <a:off x="9935028" y="-79375"/>
            <a:ext cx="2541588" cy="6937375"/>
          </a:xfrm>
          <a:prstGeom prst="rect">
            <a:avLst/>
          </a:prstGeom>
          <a:noFill/>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636" name="think-cell Slide" r:id="rId11" imgW="360" imgH="360" progId="TCLayout.ActiveDocument.1">
                  <p:embed/>
                </p:oleObj>
              </mc:Choice>
              <mc:Fallback>
                <p:oleObj name="think-cell Slide" r:id="rId11" imgW="360" imgH="360" progId="TCLayout.ActiveDocument.1">
                  <p:embed/>
                  <p:pic>
                    <p:nvPicPr>
                      <p:cNvPr id="0" name="Picture 2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2" name="Slide Number"/>
          <p:cNvSpPr txBox="1">
            <a:spLocks noChangeArrowheads="1"/>
          </p:cNvSpPr>
          <p:nvPr>
            <p:custDataLst>
              <p:tags r:id="rId3"/>
            </p:custDataLst>
          </p:nvPr>
        </p:nvSpPr>
        <p:spPr bwMode="auto">
          <a:xfrm>
            <a:off x="9385300" y="6718300"/>
            <a:ext cx="141064"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0" smtClean="0">
                <a:ln>
                  <a:noFill/>
                </a:ln>
                <a:solidFill>
                  <a:schemeClr val="bg1"/>
                </a:solidFill>
                <a:effectLst/>
                <a:uLnTx/>
                <a:uFillTx/>
                <a:latin typeface="+mn-lt"/>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en-US" sz="900" b="0"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56" name="Slide Number Line"/>
          <p:cNvSpPr>
            <a:spLocks noChangeShapeType="1"/>
          </p:cNvSpPr>
          <p:nvPr>
            <p:custDataLst>
              <p:tags r:id="rId4"/>
            </p:custDataLst>
          </p:nvPr>
        </p:nvSpPr>
        <p:spPr bwMode="auto">
          <a:xfrm>
            <a:off x="9269413" y="6734175"/>
            <a:ext cx="0" cy="123825"/>
          </a:xfrm>
          <a:prstGeom prst="line">
            <a:avLst/>
          </a:prstGeom>
          <a:noFill/>
          <a:ln w="9525">
            <a:solidFill>
              <a:schemeClr val="accent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17" name="Camouflage"/>
          <p:cNvSpPr/>
          <p:nvPr>
            <p:custDataLst>
              <p:tags r:id="rId5"/>
            </p:custDataLst>
          </p:nvPr>
        </p:nvSpPr>
        <p:spPr>
          <a:xfrm>
            <a:off x="1" y="6898303"/>
            <a:ext cx="4680000" cy="144000"/>
          </a:xfrm>
          <a:prstGeom prst="rect">
            <a:avLst/>
          </a:prstGeom>
          <a:solidFill>
            <a:schemeClr val="bg1">
              <a:lumMod val="6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200"/>
              </a:spcBef>
            </a:pPr>
            <a:endParaRPr lang="de-DE" sz="1300" b="0" dirty="0" smtClean="0">
              <a:solidFill>
                <a:schemeClr val="tx1"/>
              </a:solidFill>
              <a:cs typeface="Arial" pitchFamily="34" charset="0"/>
            </a:endParaRPr>
          </a:p>
        </p:txBody>
      </p:sp>
      <p:sp>
        <p:nvSpPr>
          <p:cNvPr id="5" name="Contents Text"/>
          <p:cNvSpPr>
            <a:spLocks noGrp="1"/>
          </p:cNvSpPr>
          <p:nvPr>
            <p:ph type="body" sz="quarter" idx="10" hasCustomPrompt="1"/>
            <p:custDataLst>
              <p:tags r:id="rId6"/>
            </p:custDataLst>
          </p:nvPr>
        </p:nvSpPr>
        <p:spPr>
          <a:xfrm>
            <a:off x="733530" y="1928813"/>
            <a:ext cx="8540645" cy="3010183"/>
          </a:xfrm>
        </p:spPr>
        <p:txBody>
          <a:bodyPr>
            <a:spAutoFit/>
          </a:bodyPr>
          <a:lstStyle>
            <a:lvl1pPr marL="360000" indent="-360000">
              <a:spcBef>
                <a:spcPts val="2000"/>
              </a:spcBef>
              <a:tabLst>
                <a:tab pos="8521700" algn="r"/>
              </a:tabLst>
              <a:defRPr>
                <a:solidFill>
                  <a:schemeClr val="tx1"/>
                </a:solidFill>
                <a:latin typeface="+mn-lt"/>
                <a:cs typeface="Arial" pitchFamily="34" charset="0"/>
              </a:defRPr>
            </a:lvl1pPr>
            <a:lvl2pPr marL="720000" indent="-360000">
              <a:spcBef>
                <a:spcPts val="600"/>
              </a:spcBef>
              <a:buNone/>
              <a:tabLst>
                <a:tab pos="8521700" algn="r"/>
              </a:tabLst>
              <a:defRPr b="0">
                <a:solidFill>
                  <a:schemeClr val="tx1"/>
                </a:solidFill>
              </a:defRPr>
            </a:lvl2pPr>
            <a:lvl3pPr marL="1260000" indent="-540000">
              <a:spcBef>
                <a:spcPts val="0"/>
              </a:spcBef>
              <a:buNone/>
              <a:tabLst>
                <a:tab pos="8521700" algn="r"/>
              </a:tabLst>
              <a:defRPr>
                <a:solidFill>
                  <a:schemeClr val="tx1"/>
                </a:solidFill>
              </a:defRPr>
            </a:lvl3pPr>
            <a:lvl4pPr marL="1255713" indent="-534988">
              <a:buNone/>
              <a:tabLst>
                <a:tab pos="8521700" algn="r"/>
              </a:tabLst>
              <a:defRPr/>
            </a:lvl4pPr>
            <a:lvl5pPr>
              <a:buNone/>
              <a:defRPr/>
            </a:lvl5pPr>
          </a:lstStyle>
          <a:p>
            <a:pPr lvl="0"/>
            <a:r>
              <a:rPr lang="en-US" dirty="0" smtClean="0"/>
              <a:t>A.	xxx	xx</a:t>
            </a:r>
          </a:p>
          <a:p>
            <a:pPr lvl="0"/>
            <a:r>
              <a:rPr lang="en-US" dirty="0" smtClean="0"/>
              <a:t>B.	xxx	xx</a:t>
            </a:r>
          </a:p>
          <a:p>
            <a:pPr lvl="1"/>
            <a:r>
              <a:rPr lang="en-US" dirty="0" smtClean="0"/>
              <a:t>1.	xxx	xx</a:t>
            </a:r>
          </a:p>
          <a:p>
            <a:pPr lvl="1"/>
            <a:r>
              <a:rPr lang="en-US" dirty="0" smtClean="0"/>
              <a:t>2.	xxx	xx</a:t>
            </a:r>
          </a:p>
          <a:p>
            <a:pPr lvl="2"/>
            <a:r>
              <a:rPr lang="en-US" dirty="0" smtClean="0"/>
              <a:t>2.1	xxx	xx</a:t>
            </a:r>
          </a:p>
          <a:p>
            <a:pPr lvl="2"/>
            <a:r>
              <a:rPr lang="en-US" dirty="0" smtClean="0"/>
              <a:t>2.2	xxx	xx</a:t>
            </a:r>
          </a:p>
          <a:p>
            <a:pPr lvl="0"/>
            <a:r>
              <a:rPr lang="en-US" dirty="0" smtClean="0"/>
              <a:t>C.	xxx	xx</a:t>
            </a:r>
          </a:p>
          <a:p>
            <a:pPr lvl="1"/>
            <a:r>
              <a:rPr lang="en-US" dirty="0" smtClean="0"/>
              <a:t>1.	xxx	xx</a:t>
            </a:r>
          </a:p>
          <a:p>
            <a:pPr lvl="2"/>
            <a:r>
              <a:rPr lang="en-US" dirty="0" smtClean="0"/>
              <a:t>1.1	xxx	xx</a:t>
            </a:r>
          </a:p>
        </p:txBody>
      </p:sp>
      <p:sp>
        <p:nvSpPr>
          <p:cNvPr id="10" name="Contents Title"/>
          <p:cNvSpPr txBox="1">
            <a:spLocks/>
          </p:cNvSpPr>
          <p:nvPr>
            <p:custDataLst>
              <p:tags r:id="rId7"/>
            </p:custDataLst>
          </p:nvPr>
        </p:nvSpPr>
        <p:spPr>
          <a:xfrm>
            <a:off x="733530" y="939600"/>
            <a:ext cx="8543819" cy="30053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a:lnSpc>
                <a:spcPct val="93000"/>
              </a:lnSpc>
              <a:defRPr/>
            </a:lvl1pPr>
          </a:lstStyle>
          <a:p>
            <a:pPr marL="0" marR="0" lvl="0" indent="0" algn="l" defTabSz="914400" rtl="0" eaLnBrk="1" fontAlgn="auto" latinLnBrk="0" hangingPunct="1">
              <a:lnSpc>
                <a:spcPct val="93000"/>
              </a:lnSpc>
              <a:spcBef>
                <a:spcPct val="0"/>
              </a:spcBef>
              <a:spcAft>
                <a:spcPts val="0"/>
              </a:spcAft>
              <a:buClrTx/>
              <a:buSzTx/>
              <a:buFontTx/>
              <a:buNone/>
              <a:tabLst>
                <a:tab pos="8524875" algn="r"/>
              </a:tabLst>
              <a:defRPr/>
            </a:pPr>
            <a:r>
              <a:rPr kumimoji="0" lang="en-US" altLang="de-DE" sz="2100" b="1" i="0" u="none" strike="noStrike" kern="1200" cap="none" spc="0" normalizeH="0" baseline="0" noProof="0" dirty="0" smtClean="0">
                <a:ln>
                  <a:noFill/>
                </a:ln>
                <a:solidFill>
                  <a:schemeClr val="bg1"/>
                </a:solidFill>
                <a:effectLst/>
                <a:uLnTx/>
                <a:uFillTx/>
                <a:latin typeface="+mj-lt"/>
                <a:ea typeface="+mj-ea"/>
                <a:cs typeface="Arial" pitchFamily="34" charset="0"/>
              </a:rPr>
              <a:t>Agenda</a:t>
            </a:r>
            <a:endParaRPr kumimoji="0" lang="en-US" altLang="de-DE" sz="2100" b="1" i="0" u="none" strike="noStrike" kern="1200" cap="none" spc="0" normalizeH="0" baseline="0" noProof="0" dirty="0">
              <a:ln>
                <a:noFill/>
              </a:ln>
              <a:solidFill>
                <a:schemeClr val="bg1"/>
              </a:solidFill>
              <a:effectLst/>
              <a:uLnTx/>
              <a:uFillTx/>
              <a:latin typeface="+mj-lt"/>
              <a:ea typeface="+mj-ea"/>
              <a:cs typeface="Arial" pitchFamily="34" charset="0"/>
            </a:endParaRPr>
          </a:p>
        </p:txBody>
      </p:sp>
      <p:pic>
        <p:nvPicPr>
          <p:cNvPr id="20" name="Picture 6" descr="D:\Users\christine_schnaus\Pictures\templates\Picture46.png"/>
          <p:cNvPicPr>
            <a:picLocks noChangeAspect="1" noChangeArrowheads="1"/>
          </p:cNvPicPr>
          <p:nvPr>
            <p:custDataLst>
              <p:tags r:id="rId8"/>
            </p:custDataLst>
          </p:nvPr>
        </p:nvPicPr>
        <p:blipFill>
          <a:blip r:embed="rId13" cstate="print"/>
          <a:srcRect/>
          <a:stretch>
            <a:fillRect/>
          </a:stretch>
        </p:blipFill>
        <p:spPr bwMode="auto">
          <a:xfrm>
            <a:off x="9935028" y="-84138"/>
            <a:ext cx="2541588" cy="6942138"/>
          </a:xfrm>
          <a:prstGeom prst="rect">
            <a:avLst/>
          </a:prstGeom>
          <a:noFill/>
        </p:spPr>
      </p:pic>
      <p:pic>
        <p:nvPicPr>
          <p:cNvPr id="12" name="Picture 27"/>
          <p:cNvPicPr>
            <a:picLocks noChangeAspect="1" noChangeArrowheads="1"/>
          </p:cNvPicPr>
          <p:nvPr userDrawn="1">
            <p:custDataLst>
              <p:tags r:id="rId9"/>
            </p:custDataLst>
          </p:nvPr>
        </p:nvPicPr>
        <p:blipFill>
          <a:blip r:embed="rId14" cstate="print">
            <a:clrChange>
              <a:clrFrom>
                <a:srgbClr val="FFFFFF"/>
              </a:clrFrom>
              <a:clrTo>
                <a:srgbClr val="FFFFFF">
                  <a:alpha val="0"/>
                </a:srgbClr>
              </a:clrTo>
            </a:clrChange>
          </a:blip>
          <a:srcRect/>
          <a:stretch>
            <a:fillRect/>
          </a:stretch>
        </p:blipFill>
        <p:spPr bwMode="auto">
          <a:xfrm>
            <a:off x="8256437" y="129503"/>
            <a:ext cx="1019175" cy="592137"/>
          </a:xfrm>
          <a:prstGeom prst="rect">
            <a:avLst/>
          </a:prstGeom>
          <a:noFill/>
          <a:ln w="9525">
            <a:noFill/>
            <a:miter lim="800000"/>
            <a:headEnd/>
            <a:tailEnd/>
          </a:ln>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516" name="think-cell Slide" r:id="rId15" imgW="360" imgH="360" progId="TCLayout.ActiveDocument.1">
                  <p:embed/>
                </p:oleObj>
              </mc:Choice>
              <mc:Fallback>
                <p:oleObj name="think-cell Slide" r:id="rId15" imgW="360" imgH="360" progId="TCLayout.ActiveDocument.1">
                  <p:embed/>
                  <p:pic>
                    <p:nvPicPr>
                      <p:cNvPr id="0" name="Picture 2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p:cNvSpPr>
            <a:spLocks noGrp="1"/>
          </p:cNvSpPr>
          <p:nvPr>
            <p:ph type="sldNum" sz="quarter" idx="11"/>
            <p:custDataLst>
              <p:tags r:id="rId3"/>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N°›</a:t>
            </a:fld>
            <a:endParaRPr lang="en-US" dirty="0"/>
          </a:p>
        </p:txBody>
      </p:sp>
      <p:sp>
        <p:nvSpPr>
          <p:cNvPr id="14" name="Footer Placeholder"/>
          <p:cNvSpPr>
            <a:spLocks noGrp="1"/>
          </p:cNvSpPr>
          <p:nvPr>
            <p:ph type="ftr" sz="quarter" idx="10"/>
            <p:custDataLst>
              <p:tags r:id="rId4"/>
            </p:custDataLst>
          </p:nvPr>
        </p:nvSpPr>
        <p:spPr>
          <a:xfrm>
            <a:off x="8499475" y="-78403"/>
            <a:ext cx="1262063" cy="30778"/>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smtClean="0">
                <a:solidFill>
                  <a:srgbClr val="FFFFFF"/>
                </a:solidFill>
                <a:latin typeface="+mn-lt"/>
                <a:ea typeface="+mn-ea"/>
                <a:cs typeface="Arial" pitchFamily="34" charset="0"/>
              </a:defRPr>
            </a:lvl1pPr>
          </a:lstStyle>
          <a:p>
            <a:endParaRPr lang="en-US" dirty="0"/>
          </a:p>
        </p:txBody>
      </p:sp>
      <p:pic>
        <p:nvPicPr>
          <p:cNvPr id="22" name="Picture 4" descr="D:\Users\christine_schnaus\Pictures\templates\Picture44.png"/>
          <p:cNvPicPr>
            <a:picLocks noChangeAspect="1" noChangeArrowheads="1"/>
          </p:cNvPicPr>
          <p:nvPr>
            <p:custDataLst>
              <p:tags r:id="rId5"/>
            </p:custDataLst>
          </p:nvPr>
        </p:nvPicPr>
        <p:blipFill>
          <a:blip r:embed="rId17" cstate="print"/>
          <a:srcRect/>
          <a:stretch>
            <a:fillRect/>
          </a:stretch>
        </p:blipFill>
        <p:spPr bwMode="auto">
          <a:xfrm>
            <a:off x="9935028" y="-79376"/>
            <a:ext cx="2541588" cy="6937376"/>
          </a:xfrm>
          <a:prstGeom prst="rect">
            <a:avLst/>
          </a:prstGeom>
          <a:noFill/>
        </p:spPr>
      </p:pic>
      <p:grpSp>
        <p:nvGrpSpPr>
          <p:cNvPr id="2" name="Position Lines"/>
          <p:cNvGrpSpPr/>
          <p:nvPr>
            <p:custDataLst>
              <p:tags r:id="rId6"/>
            </p:custDataLst>
          </p:nvPr>
        </p:nvGrpSpPr>
        <p:grpSpPr>
          <a:xfrm>
            <a:off x="740750" y="6886575"/>
            <a:ext cx="483250" cy="72000"/>
            <a:chOff x="740750" y="6858000"/>
            <a:chExt cx="483250" cy="72000"/>
          </a:xfrm>
        </p:grpSpPr>
        <p:sp>
          <p:nvSpPr>
            <p:cNvPr id="44" name="Line"/>
            <p:cNvSpPr>
              <a:spLocks noChangeShapeType="1"/>
            </p:cNvSpPr>
            <p:nvPr>
              <p:custDataLst>
                <p:tags r:id="rId12"/>
              </p:custDataLst>
            </p:nvPr>
          </p:nvSpPr>
          <p:spPr bwMode="auto">
            <a:xfrm>
              <a:off x="740750" y="6858000"/>
              <a:ext cx="0" cy="72000"/>
            </a:xfrm>
            <a:prstGeom prst="line">
              <a:avLst/>
            </a:prstGeom>
            <a:noFill/>
            <a:ln w="15875" cmpd="sng">
              <a:solidFill>
                <a:schemeClr val="accent6"/>
              </a:solidFill>
              <a:round/>
              <a:headEnd/>
              <a:tailEnd/>
            </a:ln>
            <a:effectLst/>
          </p:spPr>
          <p:txBody>
            <a:bodyPr/>
            <a:lstStyle/>
            <a:p>
              <a:endParaRPr lang="en-US" noProof="0"/>
            </a:p>
          </p:txBody>
        </p:sp>
        <p:sp>
          <p:nvSpPr>
            <p:cNvPr id="46" name="Line"/>
            <p:cNvSpPr>
              <a:spLocks noChangeShapeType="1"/>
            </p:cNvSpPr>
            <p:nvPr>
              <p:custDataLst>
                <p:tags r:id="rId13"/>
              </p:custDataLst>
            </p:nvPr>
          </p:nvSpPr>
          <p:spPr bwMode="auto">
            <a:xfrm>
              <a:off x="1224000" y="6858000"/>
              <a:ext cx="0" cy="72000"/>
            </a:xfrm>
            <a:prstGeom prst="line">
              <a:avLst/>
            </a:prstGeom>
            <a:noFill/>
            <a:ln w="3175" cmpd="sng">
              <a:solidFill>
                <a:schemeClr val="accent6"/>
              </a:solidFill>
              <a:round/>
              <a:headEnd/>
              <a:tailEnd/>
            </a:ln>
            <a:effectLst/>
          </p:spPr>
          <p:txBody>
            <a:bodyPr/>
            <a:lstStyle/>
            <a:p>
              <a:endParaRPr lang="en-US" noProof="0"/>
            </a:p>
          </p:txBody>
        </p:sp>
      </p:grpSp>
      <p:sp>
        <p:nvSpPr>
          <p:cNvPr id="50" name="Line 6"/>
          <p:cNvSpPr>
            <a:spLocks noChangeShapeType="1"/>
          </p:cNvSpPr>
          <p:nvPr>
            <p:custDataLst>
              <p:tags r:id="rId7"/>
            </p:custDataLst>
          </p:nvPr>
        </p:nvSpPr>
        <p:spPr bwMode="auto">
          <a:xfrm>
            <a:off x="0" y="4448175"/>
            <a:ext cx="9906000" cy="0"/>
          </a:xfrm>
          <a:prstGeom prst="line">
            <a:avLst/>
          </a:prstGeom>
          <a:noFill/>
          <a:ln w="15875">
            <a:solidFill>
              <a:schemeClr val="bg1"/>
            </a:solidFill>
            <a:round/>
            <a:headEnd/>
            <a:tailEnd/>
          </a:ln>
          <a:effectLst/>
        </p:spPr>
        <p:txBody>
          <a:bodyPr lIns="0" tIns="0" rIns="0" bIns="0" anchor="ctr">
            <a:spAutoFit/>
          </a:bodyPr>
          <a:lstStyle/>
          <a:p>
            <a:endParaRPr lang="en-US" noProof="0"/>
          </a:p>
        </p:txBody>
      </p:sp>
      <p:sp>
        <p:nvSpPr>
          <p:cNvPr id="52" name="Line"/>
          <p:cNvSpPr>
            <a:spLocks noChangeShapeType="1"/>
          </p:cNvSpPr>
          <p:nvPr>
            <p:custDataLst>
              <p:tags r:id="rId8"/>
            </p:custDataLst>
          </p:nvPr>
        </p:nvSpPr>
        <p:spPr bwMode="auto">
          <a:xfrm>
            <a:off x="740750" y="0"/>
            <a:ext cx="0" cy="6867525"/>
          </a:xfrm>
          <a:prstGeom prst="line">
            <a:avLst/>
          </a:prstGeom>
          <a:noFill/>
          <a:ln w="15875">
            <a:solidFill>
              <a:schemeClr val="bg1"/>
            </a:solidFill>
            <a:round/>
            <a:headEnd/>
            <a:tailEnd/>
          </a:ln>
        </p:spPr>
        <p:txBody>
          <a:bodyPr/>
          <a:lstStyle/>
          <a:p>
            <a:endParaRPr lang="en-US" noProof="0"/>
          </a:p>
        </p:txBody>
      </p:sp>
      <p:sp>
        <p:nvSpPr>
          <p:cNvPr id="17" name="Slide Number"/>
          <p:cNvSpPr txBox="1">
            <a:spLocks noChangeArrowheads="1"/>
          </p:cNvSpPr>
          <p:nvPr>
            <p:custDataLst>
              <p:tags r:id="rId9"/>
            </p:custDataLst>
          </p:nvPr>
        </p:nvSpPr>
        <p:spPr bwMode="auto">
          <a:xfrm>
            <a:off x="9385300" y="6718300"/>
            <a:ext cx="141064" cy="13849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0" smtClean="0">
                <a:ln>
                  <a:noFill/>
                </a:ln>
                <a:solidFill>
                  <a:schemeClr val="bg1"/>
                </a:solidFill>
                <a:effectLst/>
                <a:uLnTx/>
                <a:uFillTx/>
                <a:latin typeface="+mn-lt"/>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en-US" sz="900" b="0" i="0" u="none" strike="noStrike" kern="1200" cap="none" spc="0" normalizeH="0" baseline="0" noProof="0" dirty="0">
              <a:ln>
                <a:noFill/>
              </a:ln>
              <a:solidFill>
                <a:schemeClr val="bg1"/>
              </a:solidFill>
              <a:effectLst/>
              <a:uLnTx/>
              <a:uFillTx/>
              <a:latin typeface="+mn-lt"/>
              <a:ea typeface="+mn-ea"/>
              <a:cs typeface="Arial" pitchFamily="34" charset="0"/>
            </a:endParaRPr>
          </a:p>
        </p:txBody>
      </p:sp>
      <p:sp>
        <p:nvSpPr>
          <p:cNvPr id="20" name="Slide Number Line"/>
          <p:cNvSpPr>
            <a:spLocks noChangeShapeType="1"/>
          </p:cNvSpPr>
          <p:nvPr>
            <p:custDataLst>
              <p:tags r:id="rId10"/>
            </p:custDataLst>
          </p:nvPr>
        </p:nvSpPr>
        <p:spPr bwMode="auto">
          <a:xfrm>
            <a:off x="9269413" y="6734175"/>
            <a:ext cx="0" cy="123825"/>
          </a:xfrm>
          <a:prstGeom prst="line">
            <a:avLst/>
          </a:prstGeom>
          <a:noFill/>
          <a:ln w="9525">
            <a:solidFill>
              <a:schemeClr val="accent1"/>
            </a:solidFill>
            <a:round/>
            <a:headEnd/>
            <a:tailEnd/>
          </a:ln>
          <a:effectLst/>
        </p:spPr>
        <p:txBody>
          <a:bodyPr wrap="none" lIns="0" tIns="0" rIns="0" bIns="0" anchor="ctr">
            <a:spAutoFit/>
          </a:bodyPr>
          <a:lstStyle/>
          <a:p>
            <a:pPr>
              <a:defRPr/>
            </a:pPr>
            <a:endParaRPr lang="en-US" dirty="0">
              <a:solidFill>
                <a:schemeClr val="tx1"/>
              </a:solidFill>
              <a:latin typeface="Arial" pitchFamily="34" charset="0"/>
              <a:cs typeface="Arial" pitchFamily="34" charset="0"/>
            </a:endParaRPr>
          </a:p>
        </p:txBody>
      </p:sp>
      <p:sp>
        <p:nvSpPr>
          <p:cNvPr id="45" name="Title 44"/>
          <p:cNvSpPr>
            <a:spLocks noGrp="1"/>
          </p:cNvSpPr>
          <p:nvPr>
            <p:ph type="title" hasCustomPrompt="1"/>
            <p:custDataLst>
              <p:tags r:id="rId11"/>
            </p:custDataLst>
          </p:nvPr>
        </p:nvSpPr>
        <p:spPr>
          <a:xfrm>
            <a:off x="1224000" y="3927097"/>
            <a:ext cx="7009200" cy="518641"/>
          </a:xfrm>
        </p:spPr>
        <p:txBody>
          <a:bodyPr bIns="216000" anchor="b" anchorCtr="0">
            <a:spAutoFit/>
          </a:bodyPr>
          <a:lstStyle>
            <a:lvl1pPr marL="561600" indent="-561600">
              <a:defRPr/>
            </a:lvl1pPr>
          </a:lstStyle>
          <a:p>
            <a:r>
              <a:rPr lang="en-US" dirty="0" smtClean="0"/>
              <a:t>A.    Click to edit text</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ast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781" name="think-cell Slide" r:id="rId7" imgW="360" imgH="360" progId="TCLayout.ActiveDocument.1">
                  <p:embed/>
                </p:oleObj>
              </mc:Choice>
              <mc:Fallback>
                <p:oleObj name="think-cell Slide" r:id="rId7" imgW="360" imgH="360" progId="TCLayout.ActiveDocument.1">
                  <p:embed/>
                  <p:pic>
                    <p:nvPicPr>
                      <p:cNvPr id="0" name="Picture 2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Slide Number Placeholder"/>
          <p:cNvSpPr>
            <a:spLocks noGrp="1"/>
          </p:cNvSpPr>
          <p:nvPr>
            <p:ph type="sldNum" sz="quarter" idx="11"/>
            <p:custDataLst>
              <p:tags r:id="rId3"/>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N°›</a:t>
            </a:fld>
            <a:endParaRPr lang="en-US" dirty="0"/>
          </a:p>
        </p:txBody>
      </p:sp>
      <p:sp>
        <p:nvSpPr>
          <p:cNvPr id="15" name="Footer Placeholder"/>
          <p:cNvSpPr>
            <a:spLocks noGrp="1"/>
          </p:cNvSpPr>
          <p:nvPr>
            <p:ph type="ftr" sz="quarter" idx="10"/>
            <p:custDataLst>
              <p:tags r:id="rId4"/>
            </p:custDataLst>
          </p:nvPr>
        </p:nvSpPr>
        <p:spPr>
          <a:xfrm>
            <a:off x="8499475" y="-78403"/>
            <a:ext cx="1262063" cy="30778"/>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smtClean="0">
                <a:solidFill>
                  <a:srgbClr val="FFFFFF"/>
                </a:solidFill>
                <a:latin typeface="+mn-lt"/>
                <a:ea typeface="+mn-ea"/>
                <a:cs typeface="Arial" pitchFamily="34" charset="0"/>
              </a:defRPr>
            </a:lvl1pPr>
          </a:lstStyle>
          <a:p>
            <a:endParaRPr lang="en-US" dirty="0"/>
          </a:p>
        </p:txBody>
      </p:sp>
      <p:pic>
        <p:nvPicPr>
          <p:cNvPr id="11" name="Picture 5" descr="D:\Users\christine_schnaus\Pictures\templates\Picture45.png"/>
          <p:cNvPicPr>
            <a:picLocks noChangeAspect="1" noChangeArrowheads="1"/>
          </p:cNvPicPr>
          <p:nvPr>
            <p:custDataLst>
              <p:tags r:id="rId5"/>
            </p:custDataLst>
          </p:nvPr>
        </p:nvPicPr>
        <p:blipFill>
          <a:blip r:embed="rId9" cstate="print"/>
          <a:srcRect/>
          <a:stretch>
            <a:fillRect/>
          </a:stretch>
        </p:blipFill>
        <p:spPr bwMode="auto">
          <a:xfrm>
            <a:off x="9935028" y="-79376"/>
            <a:ext cx="2541588" cy="6937376"/>
          </a:xfrm>
          <a:prstGeom prst="rect">
            <a:avLst/>
          </a:prstGeom>
          <a:noFill/>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sclaimerPag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590" name="think-cell Slide" r:id="rId8" imgW="360" imgH="360" progId="TCLayout.ActiveDocument.1">
                  <p:embed/>
                </p:oleObj>
              </mc:Choice>
              <mc:Fallback>
                <p:oleObj name="think-cell Slide" r:id="rId8" imgW="360" imgH="360" progId="TCLayout.ActiveDocument.1">
                  <p:embed/>
                  <p:pic>
                    <p:nvPicPr>
                      <p:cNvPr id="0" name="Picture 2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p:cNvSpPr>
            <a:spLocks noGrp="1"/>
          </p:cNvSpPr>
          <p:nvPr>
            <p:ph type="sldNum" sz="quarter" idx="11"/>
            <p:custDataLst>
              <p:tags r:id="rId3"/>
            </p:custDataLst>
          </p:nvPr>
        </p:nvSpPr>
        <p:spPr>
          <a:xfrm>
            <a:off x="9780588" y="-78403"/>
            <a:ext cx="119062" cy="30778"/>
          </a:xfrm>
          <a:prstGeom prst="rect">
            <a:avLst/>
          </a:prstGeom>
        </p:spPr>
        <p:txBody>
          <a:bodyPr vert="horz" wrap="square" lIns="0" tIns="0" rIns="0" bIns="0" rtlCol="0" anchor="ctr">
            <a:spAutoFit/>
          </a:bodyPr>
          <a:lstStyle>
            <a:lvl1pPr algn="r">
              <a:defRPr sz="200" b="0">
                <a:solidFill>
                  <a:srgbClr val="FFFFFF"/>
                </a:solidFill>
                <a:latin typeface="+mn-lt"/>
                <a:cs typeface="Arial" pitchFamily="34" charset="0"/>
              </a:defRPr>
            </a:lvl1pPr>
          </a:lstStyle>
          <a:p>
            <a:fld id="{01940DDA-0656-452C-A408-68789653BD9B}" type="slidenum">
              <a:rPr lang="en-US" smtClean="0"/>
              <a:pPr/>
              <a:t>‹N°›</a:t>
            </a:fld>
            <a:endParaRPr lang="en-US" dirty="0"/>
          </a:p>
        </p:txBody>
      </p:sp>
      <p:sp>
        <p:nvSpPr>
          <p:cNvPr id="8" name="Footer Placeholder"/>
          <p:cNvSpPr>
            <a:spLocks noGrp="1"/>
          </p:cNvSpPr>
          <p:nvPr>
            <p:ph type="ftr" sz="quarter" idx="10"/>
            <p:custDataLst>
              <p:tags r:id="rId4"/>
            </p:custDataLst>
          </p:nvPr>
        </p:nvSpPr>
        <p:spPr>
          <a:xfrm>
            <a:off x="8499475" y="-78403"/>
            <a:ext cx="1262063" cy="30778"/>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smtClean="0">
                <a:solidFill>
                  <a:srgbClr val="FFFFFF"/>
                </a:solidFill>
                <a:latin typeface="+mn-lt"/>
                <a:ea typeface="+mn-ea"/>
                <a:cs typeface="Arial" pitchFamily="34" charset="0"/>
              </a:defRPr>
            </a:lvl1pPr>
          </a:lstStyle>
          <a:p>
            <a:endParaRPr lang="en-US" dirty="0"/>
          </a:p>
        </p:txBody>
      </p:sp>
      <p:sp>
        <p:nvSpPr>
          <p:cNvPr id="11" name="Slide Number Line"/>
          <p:cNvSpPr>
            <a:spLocks noChangeShapeType="1"/>
          </p:cNvSpPr>
          <p:nvPr>
            <p:custDataLst>
              <p:tags r:id="rId5"/>
            </p:custDataLst>
          </p:nvPr>
        </p:nvSpPr>
        <p:spPr bwMode="auto">
          <a:xfrm>
            <a:off x="9269413" y="6734175"/>
            <a:ext cx="0" cy="123825"/>
          </a:xfrm>
          <a:prstGeom prst="line">
            <a:avLst/>
          </a:prstGeom>
          <a:noFill/>
          <a:ln w="9525">
            <a:solidFill>
              <a:schemeClr val="accent1"/>
            </a:solidFill>
            <a:round/>
            <a:headEnd/>
            <a:tailEnd/>
          </a:ln>
          <a:effectLst/>
        </p:spPr>
        <p:txBody>
          <a:bodyPr wrap="none" lIns="0" tIns="0" rIns="0" bIns="0" anchor="ctr">
            <a:spAutoFit/>
          </a:bodyPr>
          <a:lstStyle/>
          <a:p>
            <a:pPr>
              <a:defRPr/>
            </a:pPr>
            <a:endParaRPr lang="en-US" dirty="0">
              <a:latin typeface="Arial" pitchFamily="34" charset="0"/>
              <a:cs typeface="Arial" pitchFamily="34" charset="0"/>
            </a:endParaRPr>
          </a:p>
        </p:txBody>
      </p:sp>
      <p:sp>
        <p:nvSpPr>
          <p:cNvPr id="19" name="Rectangle 18"/>
          <p:cNvSpPr>
            <a:spLocks/>
          </p:cNvSpPr>
          <p:nvPr/>
        </p:nvSpPr>
        <p:spPr>
          <a:xfrm>
            <a:off x="0" y="3"/>
            <a:ext cx="9906000" cy="6182433"/>
          </a:xfrm>
          <a:prstGeom prst="rect">
            <a:avLst/>
          </a:prstGeom>
          <a:solidFill>
            <a:srgbClr val="FFFFFF"/>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pPr>
            <a:endParaRPr lang="en-US" sz="1300" b="0" dirty="0" smtClean="0">
              <a:solidFill>
                <a:schemeClr val="tx1"/>
              </a:solidFill>
              <a:cs typeface="Arial" pitchFamily="34" charset="0"/>
            </a:endParaRPr>
          </a:p>
        </p:txBody>
      </p:sp>
      <p:pic>
        <p:nvPicPr>
          <p:cNvPr id="16" name="Picture 6" descr="D:\Users\christine_schnaus\Pictures\templates\Picture46.png"/>
          <p:cNvPicPr>
            <a:picLocks noChangeAspect="1" noChangeArrowheads="1"/>
          </p:cNvPicPr>
          <p:nvPr>
            <p:custDataLst>
              <p:tags r:id="rId6"/>
            </p:custDataLst>
          </p:nvPr>
        </p:nvPicPr>
        <p:blipFill>
          <a:blip r:embed="rId10" cstate="print"/>
          <a:srcRect/>
          <a:stretch>
            <a:fillRect/>
          </a:stretch>
        </p:blipFill>
        <p:spPr bwMode="auto">
          <a:xfrm>
            <a:off x="9935028" y="-84138"/>
            <a:ext cx="2541588" cy="6942138"/>
          </a:xfrm>
          <a:prstGeom prst="rect">
            <a:avLst/>
          </a:prstGeom>
          <a:noFill/>
        </p:spPr>
      </p:pic>
      <p:pic>
        <p:nvPicPr>
          <p:cNvPr id="12" name="Image 9" descr="Macintosh HD:Users:fadwa:Desktop:Logo ANRT chef du gouvernement.jp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1113" y="7938"/>
            <a:ext cx="1968500" cy="111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s">
    <p:bg>
      <p:bgPr>
        <a:solidFill>
          <a:schemeClr val="bg1"/>
        </a:solidFill>
        <a:effectLst/>
      </p:bgPr>
    </p:bg>
    <p:spTree>
      <p:nvGrpSpPr>
        <p:cNvPr id="1" name=""/>
        <p:cNvGrpSpPr/>
        <p:nvPr/>
      </p:nvGrpSpPr>
      <p:grpSpPr>
        <a:xfrm>
          <a:off x="0" y="0"/>
          <a:ext cx="0" cy="0"/>
          <a:chOff x="0" y="0"/>
          <a:chExt cx="0" cy="0"/>
        </a:xfrm>
      </p:grpSpPr>
      <p:graphicFrame>
        <p:nvGraphicFramePr>
          <p:cNvPr id="46" name="Object 4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093" name="think-cell Slide" r:id="rId10" imgW="360" imgH="360" progId="TCLayout.ActiveDocument.1">
                  <p:embed/>
                </p:oleObj>
              </mc:Choice>
              <mc:Fallback>
                <p:oleObj name="think-cell Slide" r:id="rId10" imgW="360" imgH="360" progId="TCLayout.ActiveDocument.1">
                  <p:embed/>
                  <p:pic>
                    <p:nvPicPr>
                      <p:cNvPr id="0" name="Picture 2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6" descr="D:\Users\christine_schnaus\Pictures\templates\Picture61.png"/>
          <p:cNvPicPr>
            <a:picLocks noChangeAspect="1" noChangeArrowheads="1"/>
          </p:cNvPicPr>
          <p:nvPr>
            <p:custDataLst>
              <p:tags r:id="rId3"/>
            </p:custDataLst>
          </p:nvPr>
        </p:nvPicPr>
        <p:blipFill>
          <a:blip r:embed="rId12" cstate="print"/>
          <a:srcRect/>
          <a:stretch>
            <a:fillRect/>
          </a:stretch>
        </p:blipFill>
        <p:spPr bwMode="auto">
          <a:xfrm>
            <a:off x="9934575" y="-84138"/>
            <a:ext cx="2511425" cy="6942138"/>
          </a:xfrm>
          <a:prstGeom prst="rect">
            <a:avLst/>
          </a:prstGeom>
          <a:noFill/>
          <a:ln w="9525">
            <a:noFill/>
            <a:miter lim="800000"/>
            <a:headEnd/>
            <a:tailEnd/>
          </a:ln>
        </p:spPr>
      </p:pic>
      <p:sp>
        <p:nvSpPr>
          <p:cNvPr id="10" name="Contents Title"/>
          <p:cNvSpPr txBox="1">
            <a:spLocks/>
          </p:cNvSpPr>
          <p:nvPr>
            <p:custDataLst>
              <p:tags r:id="rId4"/>
            </p:custDataLst>
          </p:nvPr>
        </p:nvSpPr>
        <p:spPr>
          <a:xfrm>
            <a:off x="733425" y="857250"/>
            <a:ext cx="8543925" cy="387350"/>
          </a:xfrm>
          <a:prstGeom prst="rect">
            <a:avLst/>
          </a:prstGeom>
          <a:noFill/>
          <a:ln w="9525">
            <a:noFill/>
            <a:miter lim="800000"/>
            <a:headEnd/>
            <a:tailEnd/>
          </a:ln>
        </p:spPr>
        <p:txBody>
          <a:bodyPr lIns="0" tIns="0" rIns="0" bIns="0">
            <a:spAutoFit/>
          </a:bodyPr>
          <a:lstStyle>
            <a:lvl1pPr algn="l">
              <a:lnSpc>
                <a:spcPct val="93000"/>
              </a:lnSpc>
              <a:defRPr/>
            </a:lvl1pPr>
          </a:lstStyle>
          <a:p>
            <a:pPr fontAlgn="auto">
              <a:spcAft>
                <a:spcPts val="0"/>
              </a:spcAft>
              <a:tabLst>
                <a:tab pos="8524875" algn="r"/>
              </a:tabLst>
              <a:defRPr/>
            </a:pPr>
            <a:r>
              <a:rPr lang="fr-FR" altLang="de-DE" sz="2700" b="0" dirty="0" smtClean="0">
                <a:solidFill>
                  <a:srgbClr val="FFFFFF"/>
                </a:solidFill>
                <a:latin typeface="Arial"/>
                <a:cs typeface="Arial" pitchFamily="34" charset="0"/>
                <a:sym typeface="Arial"/>
              </a:rPr>
              <a:t>Sommaire</a:t>
            </a:r>
            <a:r>
              <a:rPr lang="en-US" altLang="de-DE" sz="2700" b="0" dirty="0" smtClean="0">
                <a:solidFill>
                  <a:srgbClr val="FFFFFF"/>
                </a:solidFill>
                <a:latin typeface="Arial"/>
                <a:cs typeface="Arial" pitchFamily="34" charset="0"/>
                <a:sym typeface="Arial"/>
              </a:rPr>
              <a:t>	Page</a:t>
            </a:r>
            <a:endParaRPr lang="en-US" altLang="de-DE" sz="2700" b="0" dirty="0">
              <a:solidFill>
                <a:srgbClr val="FFFFFF"/>
              </a:solidFill>
              <a:latin typeface="Arial"/>
              <a:cs typeface="Arial" pitchFamily="34" charset="0"/>
              <a:sym typeface="Arial"/>
            </a:endParaRPr>
          </a:p>
        </p:txBody>
      </p:sp>
      <p:sp>
        <p:nvSpPr>
          <p:cNvPr id="5" name="Contents Text"/>
          <p:cNvSpPr>
            <a:spLocks noGrp="1"/>
          </p:cNvSpPr>
          <p:nvPr>
            <p:ph type="body" sz="quarter" idx="10"/>
            <p:custDataLst>
              <p:tags r:id="rId5"/>
            </p:custDataLst>
          </p:nvPr>
        </p:nvSpPr>
        <p:spPr>
          <a:xfrm>
            <a:off x="733530" y="1996521"/>
            <a:ext cx="8540645" cy="300531"/>
          </a:xfrm>
        </p:spPr>
        <p:txBody>
          <a:bodyPr/>
          <a:lstStyle>
            <a:lvl1pPr marL="360000" marR="0" indent="-360000" algn="l" defTabSz="914400" rtl="0" eaLnBrk="1" fontAlgn="auto" latinLnBrk="0" hangingPunct="1">
              <a:lnSpc>
                <a:spcPct val="93000"/>
              </a:lnSpc>
              <a:spcBef>
                <a:spcPts val="2000"/>
              </a:spcBef>
              <a:spcAft>
                <a:spcPts val="0"/>
              </a:spcAft>
              <a:buClrTx/>
              <a:buSzTx/>
              <a:buFont typeface="Arial" pitchFamily="34" charset="0"/>
              <a:buNone/>
              <a:tabLst>
                <a:tab pos="8521700" algn="r"/>
              </a:tabLst>
              <a:defRPr b="0" baseline="0">
                <a:solidFill>
                  <a:schemeClr val="tx1"/>
                </a:solidFill>
                <a:latin typeface="+mn-lt"/>
                <a:cs typeface="Arial" pitchFamily="34" charset="0"/>
              </a:defRPr>
            </a:lvl1pPr>
            <a:lvl2pPr marL="720000" indent="-360000">
              <a:spcBef>
                <a:spcPts val="600"/>
              </a:spcBef>
              <a:buNone/>
              <a:tabLst>
                <a:tab pos="8521700" algn="r"/>
              </a:tabLst>
              <a:defRPr b="0">
                <a:solidFill>
                  <a:schemeClr val="tx1"/>
                </a:solidFill>
              </a:defRPr>
            </a:lvl2pPr>
            <a:lvl3pPr marL="1260000" indent="-540000">
              <a:spcBef>
                <a:spcPts val="0"/>
              </a:spcBef>
              <a:buNone/>
              <a:tabLst>
                <a:tab pos="8521700" algn="r"/>
              </a:tabLst>
              <a:defRPr>
                <a:solidFill>
                  <a:schemeClr val="tx1"/>
                </a:solidFill>
              </a:defRPr>
            </a:lvl3pPr>
            <a:lvl4pPr marL="1255713" indent="-534988">
              <a:buNone/>
              <a:tabLst>
                <a:tab pos="8521700" algn="r"/>
              </a:tabLst>
              <a:defRPr/>
            </a:lvl4pPr>
            <a:lvl5pPr>
              <a:buNone/>
              <a:defRPr/>
            </a:lvl5pPr>
          </a:lstStyle>
          <a:p>
            <a:pPr lvl="0"/>
            <a:endParaRPr lang="fr-FR" noProof="0" dirty="0" smtClean="0"/>
          </a:p>
        </p:txBody>
      </p:sp>
      <p:sp>
        <p:nvSpPr>
          <p:cNvPr id="44" name="Slide Number Placeholder"/>
          <p:cNvSpPr>
            <a:spLocks noGrp="1"/>
          </p:cNvSpPr>
          <p:nvPr>
            <p:ph type="sldNum" sz="quarter" idx="11"/>
            <p:custDataLst>
              <p:tags r:id="rId6"/>
            </p:custDataLst>
          </p:nvPr>
        </p:nvSpPr>
        <p:spPr>
          <a:xfrm>
            <a:off x="9780588" y="-77788"/>
            <a:ext cx="119062" cy="30163"/>
          </a:xfrm>
          <a:prstGeom prst="rect">
            <a:avLst/>
          </a:prstGeom>
        </p:spPr>
        <p:txBody>
          <a:bodyPr vert="horz" wrap="square" lIns="0" tIns="0" rIns="0" bIns="0" rtlCol="0" anchor="ctr">
            <a:spAutoFit/>
          </a:bodyPr>
          <a:lstStyle>
            <a:lvl1pPr algn="r">
              <a:defRPr sz="200" b="0" smtClean="0">
                <a:solidFill>
                  <a:srgbClr val="FFFFFF"/>
                </a:solidFill>
                <a:latin typeface="+mn-lt"/>
                <a:cs typeface="Arial" pitchFamily="34" charset="0"/>
              </a:defRPr>
            </a:lvl1pPr>
          </a:lstStyle>
          <a:p>
            <a:pPr>
              <a:defRPr/>
            </a:pPr>
            <a:fld id="{DBAAFCA1-64E8-44DC-B765-38EE23688520}" type="slidenum">
              <a:rPr lang="en-US"/>
              <a:pPr>
                <a:defRPr/>
              </a:pPr>
              <a:t>‹N°›</a:t>
            </a:fld>
            <a:endParaRPr lang="en-US" dirty="0"/>
          </a:p>
        </p:txBody>
      </p:sp>
      <p:sp>
        <p:nvSpPr>
          <p:cNvPr id="45" name="Footer Placeholder"/>
          <p:cNvSpPr>
            <a:spLocks noGrp="1"/>
          </p:cNvSpPr>
          <p:nvPr>
            <p:ph type="ftr" sz="quarter" idx="12"/>
            <p:custDataLst>
              <p:tags r:id="rId7"/>
            </p:custDataLst>
          </p:nvPr>
        </p:nvSpPr>
        <p:spPr>
          <a:xfrm>
            <a:off x="8499475" y="-77788"/>
            <a:ext cx="1262063" cy="30163"/>
          </a:xfrm>
          <a:prstGeom prst="rect">
            <a:avLst/>
          </a:prstGeom>
        </p:spPr>
        <p:txBody>
          <a:bodyPr vert="horz" wrap="square" lIns="0" tIns="0" rIns="0" bIns="0" rtlCol="0" anchor="t" anchorCtr="0">
            <a:spAutoFit/>
          </a:bodyPr>
          <a:lstStyle>
            <a:lvl1pPr algn="r" rtl="0" fontAlgn="base">
              <a:lnSpc>
                <a:spcPct val="100000"/>
              </a:lnSpc>
              <a:spcBef>
                <a:spcPts val="0"/>
              </a:spcBef>
              <a:spcAft>
                <a:spcPct val="0"/>
              </a:spcAft>
              <a:defRPr lang="en-US" sz="200" b="0" kern="1200" dirty="0">
                <a:solidFill>
                  <a:srgbClr val="FFFFFF"/>
                </a:solidFill>
                <a:latin typeface="+mn-lt"/>
                <a:ea typeface="+mn-ea"/>
                <a:cs typeface="Arial" pitchFamily="34" charset="0"/>
              </a:defRPr>
            </a:lvl1pPr>
          </a:lstStyle>
          <a:p>
            <a:pPr>
              <a:defRPr/>
            </a:pPr>
            <a:endParaRPr/>
          </a:p>
        </p:txBody>
      </p:sp>
      <p:pic>
        <p:nvPicPr>
          <p:cNvPr id="13" name="Picture 27"/>
          <p:cNvPicPr>
            <a:picLocks noChangeAspect="1" noChangeArrowheads="1"/>
          </p:cNvPicPr>
          <p:nvPr userDrawn="1">
            <p:custDataLst>
              <p:tags r:id="rId8"/>
            </p:custDataLst>
          </p:nvPr>
        </p:nvPicPr>
        <p:blipFill>
          <a:blip r:embed="rId13" cstate="print">
            <a:clrChange>
              <a:clrFrom>
                <a:srgbClr val="FFFFFF"/>
              </a:clrFrom>
              <a:clrTo>
                <a:srgbClr val="FFFFFF">
                  <a:alpha val="0"/>
                </a:srgbClr>
              </a:clrTo>
            </a:clrChange>
          </a:blip>
          <a:srcRect/>
          <a:stretch>
            <a:fillRect/>
          </a:stretch>
        </p:blipFill>
        <p:spPr bwMode="auto">
          <a:xfrm>
            <a:off x="8256437" y="129503"/>
            <a:ext cx="1019175" cy="592137"/>
          </a:xfrm>
          <a:prstGeom prst="rect">
            <a:avLst/>
          </a:prstGeom>
          <a:noFill/>
          <a:ln w="9525">
            <a:noFill/>
            <a:miter lim="800000"/>
            <a:headEnd/>
            <a:tailEnd/>
          </a:ln>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4" name="Object 33" hidden="1"/>
          <p:cNvGraphicFramePr>
            <a:graphicFrameLocks/>
          </p:cNvGraphicFramePr>
          <p:nvPr>
            <p:custDataLst>
              <p:tags r:id="rId1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567" name="think-cell Slide" r:id="rId26" imgW="360" imgH="360" progId="TCLayout.ActiveDocument.1">
                  <p:embed/>
                </p:oleObj>
              </mc:Choice>
              <mc:Fallback>
                <p:oleObj name="think-cell Slide" r:id="rId26" imgW="360" imgH="360" progId="TCLayout.ActiveDocument.1">
                  <p:embed/>
                  <p:pic>
                    <p:nvPicPr>
                      <p:cNvPr id="0" name="Picture 23"/>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p:cNvSpPr>
            <a:spLocks noGrp="1"/>
          </p:cNvSpPr>
          <p:nvPr>
            <p:ph type="body" idx="1"/>
            <p:custDataLst>
              <p:tags r:id="rId18"/>
            </p:custDataLst>
          </p:nvPr>
        </p:nvSpPr>
        <p:spPr>
          <a:xfrm>
            <a:off x="733425" y="1933200"/>
            <a:ext cx="8535988" cy="1203919"/>
          </a:xfrm>
          <a:prstGeom prst="rect">
            <a:avLst/>
          </a:prstGeom>
        </p:spPr>
        <p:txBody>
          <a:bodyPr vert="horz" lIns="0" tIns="0" rIns="0" bIns="0" rtlCol="0">
            <a:spAutoFit/>
          </a:body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endParaRPr lang="en-US" dirty="0"/>
          </a:p>
        </p:txBody>
      </p:sp>
      <p:sp>
        <p:nvSpPr>
          <p:cNvPr id="2" name="Title Placeholder"/>
          <p:cNvSpPr>
            <a:spLocks noGrp="1"/>
          </p:cNvSpPr>
          <p:nvPr>
            <p:ph type="title"/>
            <p:custDataLst>
              <p:tags r:id="rId19"/>
            </p:custDataLst>
          </p:nvPr>
        </p:nvSpPr>
        <p:spPr>
          <a:xfrm>
            <a:off x="733425" y="943200"/>
            <a:ext cx="8535988" cy="60106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5" name="Formatted_text" hidden="1"/>
          <p:cNvSpPr txBox="1">
            <a:spLocks/>
          </p:cNvSpPr>
          <p:nvPr>
            <p:custDataLst>
              <p:tags r:id="rId20"/>
            </p:custDataLst>
          </p:nvPr>
        </p:nvSpPr>
        <p:spPr>
          <a:xfrm>
            <a:off x="738189" y="2411870"/>
            <a:ext cx="1800000" cy="923843"/>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300" b="1" dirty="0" smtClean="0">
                <a:latin typeface="+mn-lt"/>
                <a:cs typeface="Arial" pitchFamily="34" charset="0"/>
              </a:rPr>
              <a:t>13 Point Text: Level 0</a:t>
            </a:r>
          </a:p>
          <a:p>
            <a:pPr marL="176188" lvl="1" indent="-176188">
              <a:lnSpc>
                <a:spcPct val="93000"/>
              </a:lnSpc>
              <a:spcBef>
                <a:spcPts val="800"/>
              </a:spcBef>
              <a:buClr>
                <a:schemeClr val="tx1"/>
              </a:buClr>
              <a:buSzPct val="100000"/>
              <a:buFont typeface="Arial"/>
              <a:buChar char="•"/>
            </a:pPr>
            <a:r>
              <a:rPr lang="de-DE" sz="1300" b="0" dirty="0" smtClean="0">
                <a:latin typeface="+mn-lt"/>
                <a:cs typeface="Arial" pitchFamily="34" charset="0"/>
              </a:rPr>
              <a:t>Level 1</a:t>
            </a:r>
          </a:p>
          <a:p>
            <a:pPr marL="368894" lvl="2" indent="-178941">
              <a:lnSpc>
                <a:spcPct val="93000"/>
              </a:lnSpc>
              <a:spcBef>
                <a:spcPts val="400"/>
              </a:spcBef>
              <a:buClr>
                <a:schemeClr val="tx1"/>
              </a:buClr>
              <a:buSzPct val="100000"/>
              <a:buFont typeface="Arial"/>
              <a:buChar char="–"/>
            </a:pPr>
            <a:r>
              <a:rPr lang="de-DE" sz="1300" b="0" dirty="0" smtClean="0">
                <a:latin typeface="+mn-lt"/>
                <a:cs typeface="Arial" pitchFamily="34" charset="0"/>
              </a:rPr>
              <a:t>Level 2</a:t>
            </a:r>
          </a:p>
          <a:p>
            <a:pPr marL="534071" lvl="3" indent="-154165">
              <a:lnSpc>
                <a:spcPct val="93000"/>
              </a:lnSpc>
              <a:spcBef>
                <a:spcPts val="200"/>
              </a:spcBef>
              <a:buClr>
                <a:schemeClr val="tx1"/>
              </a:buClr>
              <a:buSzPct val="100000"/>
              <a:buFont typeface="Arial"/>
              <a:buChar char="-"/>
            </a:pPr>
            <a:r>
              <a:rPr lang="de-DE" sz="1300" b="0" dirty="0" smtClean="0">
                <a:latin typeface="+mn-lt"/>
                <a:cs typeface="Arial" pitchFamily="34" charset="0"/>
              </a:rPr>
              <a:t>Level 3</a:t>
            </a:r>
          </a:p>
        </p:txBody>
      </p:sp>
      <p:sp>
        <p:nvSpPr>
          <p:cNvPr id="6" name="Source" hidden="1"/>
          <p:cNvSpPr txBox="1"/>
          <p:nvPr>
            <p:custDataLst>
              <p:tags r:id="rId21"/>
            </p:custDataLst>
          </p:nvPr>
        </p:nvSpPr>
        <p:spPr>
          <a:xfrm>
            <a:off x="738189" y="6710121"/>
            <a:ext cx="663643" cy="128818"/>
          </a:xfrm>
          <a:prstGeom prst="rect">
            <a:avLst/>
          </a:prstGeom>
          <a:noFill/>
          <a:ln w="9525">
            <a:noFill/>
          </a:ln>
        </p:spPr>
        <p:txBody>
          <a:bodyPr vert="horz" wrap="none" lIns="0" tIns="0" rIns="0" bIns="0" rtlCol="0" anchor="b" anchorCtr="0">
            <a:spAutoFit/>
          </a:bodyPr>
          <a:lstStyle/>
          <a:p>
            <a:pPr marL="466725" indent="-466725">
              <a:lnSpc>
                <a:spcPct val="93000"/>
              </a:lnSpc>
              <a:buClr>
                <a:schemeClr val="tx1"/>
              </a:buClr>
              <a:buSzPct val="100000"/>
            </a:pPr>
            <a:r>
              <a:rPr lang="de-DE" sz="900" b="0" dirty="0" smtClean="0">
                <a:solidFill>
                  <a:schemeClr val="bg1"/>
                </a:solidFill>
                <a:latin typeface="+mn-lt"/>
                <a:cs typeface="Arial" pitchFamily="34" charset="0"/>
              </a:rPr>
              <a:t>Source:	</a:t>
            </a:r>
            <a:r>
              <a:rPr lang="de-DE" sz="900" b="0" dirty="0" err="1" smtClean="0">
                <a:solidFill>
                  <a:schemeClr val="bg1"/>
                </a:solidFill>
                <a:latin typeface="+mn-lt"/>
                <a:cs typeface="Arial" pitchFamily="34" charset="0"/>
              </a:rPr>
              <a:t>xxx</a:t>
            </a:r>
            <a:endParaRPr lang="de-DE" sz="900" b="0" dirty="0" smtClean="0">
              <a:solidFill>
                <a:schemeClr val="bg1"/>
              </a:solidFill>
              <a:latin typeface="+mn-lt"/>
              <a:cs typeface="Arial" pitchFamily="34" charset="0"/>
            </a:endParaRPr>
          </a:p>
        </p:txBody>
      </p:sp>
      <p:sp>
        <p:nvSpPr>
          <p:cNvPr id="7" name="Notes" hidden="1"/>
          <p:cNvSpPr txBox="1"/>
          <p:nvPr>
            <p:custDataLst>
              <p:tags r:id="rId22"/>
            </p:custDataLst>
          </p:nvPr>
        </p:nvSpPr>
        <p:spPr>
          <a:xfrm>
            <a:off x="738189" y="6417474"/>
            <a:ext cx="355867" cy="143116"/>
          </a:xfrm>
          <a:prstGeom prst="rect">
            <a:avLst/>
          </a:prstGeom>
          <a:noFill/>
          <a:ln w="9525">
            <a:noFill/>
          </a:ln>
        </p:spPr>
        <p:txBody>
          <a:bodyPr vert="horz" wrap="none" lIns="0" tIns="0" rIns="0" bIns="0" rtlCol="0" anchor="b" anchorCtr="0">
            <a:spAutoFit/>
          </a:bodyPr>
          <a:lstStyle/>
          <a:p>
            <a:pPr marL="161925" indent="-161925">
              <a:lnSpc>
                <a:spcPct val="93000"/>
              </a:lnSpc>
              <a:buClr>
                <a:schemeClr val="tx1"/>
              </a:buClr>
              <a:buSzPct val="100000"/>
            </a:pPr>
            <a:r>
              <a:rPr lang="de-DE" sz="1000" b="0" dirty="0" smtClean="0">
                <a:latin typeface="+mn-lt"/>
                <a:cs typeface="Arial" pitchFamily="34" charset="0"/>
              </a:rPr>
              <a:t>1)	</a:t>
            </a:r>
            <a:r>
              <a:rPr lang="de-DE" sz="1000" b="0" dirty="0" err="1" smtClean="0">
                <a:latin typeface="+mn-lt"/>
                <a:cs typeface="Arial" pitchFamily="34" charset="0"/>
              </a:rPr>
              <a:t>xxx</a:t>
            </a:r>
            <a:endParaRPr lang="de-DE" sz="1000" b="0" dirty="0" smtClean="0">
              <a:latin typeface="+mn-lt"/>
              <a:cs typeface="Arial" pitchFamily="34" charset="0"/>
            </a:endParaRPr>
          </a:p>
        </p:txBody>
      </p:sp>
      <p:grpSp>
        <p:nvGrpSpPr>
          <p:cNvPr id="4" name="Legend" hidden="1"/>
          <p:cNvGrpSpPr/>
          <p:nvPr>
            <p:custDataLst>
              <p:tags r:id="rId23"/>
            </p:custDataLst>
          </p:nvPr>
        </p:nvGrpSpPr>
        <p:grpSpPr>
          <a:xfrm>
            <a:off x="738189" y="6197440"/>
            <a:ext cx="721643" cy="144622"/>
            <a:chOff x="736600" y="6159340"/>
            <a:chExt cx="721643" cy="144622"/>
          </a:xfrm>
        </p:grpSpPr>
        <p:sp>
          <p:nvSpPr>
            <p:cNvPr id="9" name="LegendIcon"/>
            <p:cNvSpPr/>
            <p:nvPr/>
          </p:nvSpPr>
          <p:spPr>
            <a:xfrm>
              <a:off x="736600" y="6159500"/>
              <a:ext cx="215900" cy="144462"/>
            </a:xfrm>
            <a:prstGeom prst="rect">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pPr>
              <a:endParaRPr lang="de-DE" sz="1300" b="0" dirty="0" smtClean="0">
                <a:solidFill>
                  <a:schemeClr val="tx1"/>
                </a:solidFill>
                <a:cs typeface="Arial" pitchFamily="34" charset="0"/>
              </a:endParaRPr>
            </a:p>
          </p:txBody>
        </p:sp>
        <p:sp>
          <p:nvSpPr>
            <p:cNvPr id="10" name="LegendText"/>
            <p:cNvSpPr txBox="1"/>
            <p:nvPr/>
          </p:nvSpPr>
          <p:spPr>
            <a:xfrm>
              <a:off x="1035050" y="6159340"/>
              <a:ext cx="423193" cy="143116"/>
            </a:xfrm>
            <a:prstGeom prst="rect">
              <a:avLst/>
            </a:prstGeom>
            <a:noFill/>
            <a:ln w="9525">
              <a:noFill/>
            </a:ln>
          </p:spPr>
          <p:txBody>
            <a:bodyPr vert="horz" wrap="none" lIns="0" tIns="0" rIns="0" bIns="0" rtlCol="0" anchor="t" anchorCtr="0">
              <a:spAutoFit/>
            </a:bodyPr>
            <a:lstStyle/>
            <a:p>
              <a:pPr>
                <a:lnSpc>
                  <a:spcPct val="93000"/>
                </a:lnSpc>
                <a:buClr>
                  <a:schemeClr val="tx1"/>
                </a:buClr>
                <a:buSzPct val="100000"/>
              </a:pPr>
              <a:r>
                <a:rPr lang="de-DE" sz="1000" b="0" dirty="0" smtClean="0">
                  <a:latin typeface="+mn-lt"/>
                  <a:cs typeface="Arial" pitchFamily="34" charset="0"/>
                </a:rPr>
                <a:t>Legend</a:t>
              </a:r>
            </a:p>
          </p:txBody>
        </p:sp>
      </p:grpSp>
      <p:sp>
        <p:nvSpPr>
          <p:cNvPr id="11" name="Subtitle" hidden="1"/>
          <p:cNvSpPr txBox="1">
            <a:spLocks/>
          </p:cNvSpPr>
          <p:nvPr>
            <p:custDataLst>
              <p:tags r:id="rId24"/>
            </p:custDataLst>
          </p:nvPr>
        </p:nvSpPr>
        <p:spPr>
          <a:xfrm>
            <a:off x="738189" y="1940725"/>
            <a:ext cx="8530835" cy="243272"/>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700" b="0" dirty="0" err="1" smtClean="0">
                <a:latin typeface="+mn-lt"/>
                <a:cs typeface="Arial" pitchFamily="34" charset="0"/>
              </a:rPr>
              <a:t>Subtitle</a:t>
            </a:r>
            <a:endParaRPr lang="de-DE" sz="1700" b="0" dirty="0" smtClean="0">
              <a:latin typeface="+mn-lt"/>
              <a:cs typeface="Arial" pitchFamily="34" charset="0"/>
            </a:endParaRPr>
          </a:p>
        </p:txBody>
      </p:sp>
      <p:grpSp>
        <p:nvGrpSpPr>
          <p:cNvPr id="8" name="Drawing grid" hidden="1"/>
          <p:cNvGrpSpPr/>
          <p:nvPr>
            <p:custDataLst>
              <p:tags r:id="rId25"/>
            </p:custDataLst>
          </p:nvPr>
        </p:nvGrpSpPr>
        <p:grpSpPr>
          <a:xfrm>
            <a:off x="0" y="0"/>
            <a:ext cx="9906000" cy="6858000"/>
            <a:chOff x="0" y="0"/>
            <a:chExt cx="9906000" cy="6858000"/>
          </a:xfrm>
        </p:grpSpPr>
        <p:cxnSp>
          <p:nvCxnSpPr>
            <p:cNvPr id="14" name="!!!Do not delete!!!" hidden="1"/>
            <p:cNvCxnSpPr/>
            <p:nvPr/>
          </p:nvCxnSpPr>
          <p:spPr>
            <a:xfrm>
              <a:off x="0" y="1931986"/>
              <a:ext cx="9271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5" name="!!!Do not delete!!!" hidden="1"/>
            <p:cNvCxnSpPr/>
            <p:nvPr/>
          </p:nvCxnSpPr>
          <p:spPr>
            <a:xfrm>
              <a:off x="0" y="6416675"/>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6" name="!!!Do not delete!!!" hidden="1"/>
            <p:cNvCxnSpPr/>
            <p:nvPr/>
          </p:nvCxnSpPr>
          <p:spPr>
            <a:xfrm>
              <a:off x="0" y="5056187"/>
              <a:ext cx="7366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7" name="!!!Do not delete!!!" hidden="1"/>
            <p:cNvCxnSpPr/>
            <p:nvPr/>
          </p:nvCxnSpPr>
          <p:spPr>
            <a:xfrm>
              <a:off x="0" y="944743"/>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8" name="!!!Do not delete!!!" hidden="1"/>
            <p:cNvCxnSpPr/>
            <p:nvPr/>
          </p:nvCxnSpPr>
          <p:spPr>
            <a:xfrm>
              <a:off x="0" y="554037"/>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19" name="!!!Do not delete!!!" hidden="1"/>
            <p:cNvCxnSpPr/>
            <p:nvPr/>
          </p:nvCxnSpPr>
          <p:spPr>
            <a:xfrm>
              <a:off x="0" y="280986"/>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0" name="!!!Do not delete!!!" hidden="1"/>
            <p:cNvCxnSpPr/>
            <p:nvPr/>
          </p:nvCxnSpPr>
          <p:spPr>
            <a:xfrm>
              <a:off x="9271000" y="0"/>
              <a:ext cx="0" cy="68580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1" name="!!!Do not delete!!!" hidden="1"/>
            <p:cNvCxnSpPr/>
            <p:nvPr/>
          </p:nvCxnSpPr>
          <p:spPr>
            <a:xfrm>
              <a:off x="8128000"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2" name="!!!Do not delete!!!" hidden="1"/>
            <p:cNvCxnSpPr/>
            <p:nvPr/>
          </p:nvCxnSpPr>
          <p:spPr>
            <a:xfrm>
              <a:off x="7740650"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3" name="!!!Do not delete!!!" hidden="1"/>
            <p:cNvCxnSpPr/>
            <p:nvPr/>
          </p:nvCxnSpPr>
          <p:spPr>
            <a:xfrm>
              <a:off x="1347787" y="0"/>
              <a:ext cx="0" cy="7493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4" name="!!!Do not delete!!!" hidden="1"/>
            <p:cNvCxnSpPr/>
            <p:nvPr/>
          </p:nvCxnSpPr>
          <p:spPr>
            <a:xfrm>
              <a:off x="738000" y="0"/>
              <a:ext cx="0" cy="685800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5" name="!!!Do not delete!!!" hidden="1"/>
            <p:cNvCxnSpPr/>
            <p:nvPr/>
          </p:nvCxnSpPr>
          <p:spPr>
            <a:xfrm>
              <a:off x="0" y="6708775"/>
              <a:ext cx="9906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6" name="!!!Do not delete!!!" hidden="1"/>
            <p:cNvCxnSpPr/>
            <p:nvPr/>
          </p:nvCxnSpPr>
          <p:spPr>
            <a:xfrm>
              <a:off x="0" y="757767"/>
              <a:ext cx="108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cxnSp>
          <p:nvCxnSpPr>
            <p:cNvPr id="27" name="!!!Do not delete!!!" hidden="1"/>
            <p:cNvCxnSpPr/>
            <p:nvPr/>
          </p:nvCxnSpPr>
          <p:spPr>
            <a:xfrm>
              <a:off x="0" y="1718032"/>
              <a:ext cx="108000" cy="0"/>
            </a:xfrm>
            <a:prstGeom prst="line">
              <a:avLst/>
            </a:prstGeom>
            <a:ln w="3175" cap="sq">
              <a:solidFill>
                <a:srgbClr val="C00000"/>
              </a:solidFill>
              <a:prstDash val="dot"/>
            </a:ln>
            <a:effectLst/>
          </p:spPr>
          <p:style>
            <a:lnRef idx="1">
              <a:schemeClr val="accent1"/>
            </a:lnRef>
            <a:fillRef idx="0">
              <a:schemeClr val="accent1"/>
            </a:fillRef>
            <a:effectRef idx="0">
              <a:schemeClr val="accent1"/>
            </a:effectRef>
            <a:fontRef idx="minor">
              <a:schemeClr val="tx1"/>
            </a:fontRef>
          </p:style>
        </p:cxnSp>
      </p:grpSp>
      <p:pic>
        <p:nvPicPr>
          <p:cNvPr id="29" name="Image 9" descr="Macintosh HD:Users:fadwa:Desktop:Logo ANRT chef du gouvernement.jpg"/>
          <p:cNvPicPr>
            <a:picLocks noChangeAspect="1" noChangeArrowheads="1"/>
          </p:cNvPicPr>
          <p:nvPr userDrawn="1"/>
        </p:nvPicPr>
        <p:blipFill>
          <a:blip r:embed="rId28" cstate="print">
            <a:extLst>
              <a:ext uri="{28A0092B-C50C-407E-A947-70E740481C1C}">
                <a14:useLocalDpi xmlns:a14="http://schemas.microsoft.com/office/drawing/2010/main" val="0"/>
              </a:ext>
            </a:extLst>
          </a:blip>
          <a:srcRect/>
          <a:stretch>
            <a:fillRect/>
          </a:stretch>
        </p:blipFill>
        <p:spPr bwMode="auto">
          <a:xfrm>
            <a:off x="11113" y="7938"/>
            <a:ext cx="1968500" cy="111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Freeform 2"/>
          <p:cNvSpPr>
            <a:spLocks/>
          </p:cNvSpPr>
          <p:nvPr userDrawn="1"/>
        </p:nvSpPr>
        <p:spPr bwMode="auto">
          <a:xfrm>
            <a:off x="457200" y="6453188"/>
            <a:ext cx="8686800" cy="228600"/>
          </a:xfrm>
          <a:custGeom>
            <a:avLst/>
            <a:gdLst>
              <a:gd name="T0" fmla="*/ 2147483647 w 5472"/>
              <a:gd name="T1" fmla="*/ 0 h 144"/>
              <a:gd name="T2" fmla="*/ 0 w 5472"/>
              <a:gd name="T3" fmla="*/ 0 h 144"/>
              <a:gd name="T4" fmla="*/ 0 w 5472"/>
              <a:gd name="T5" fmla="*/ 2147483647 h 144"/>
              <a:gd name="T6" fmla="*/ 2147483647 w 5472"/>
              <a:gd name="T7" fmla="*/ 2147483647 h 144"/>
              <a:gd name="T8" fmla="*/ 2147483647 w 5472"/>
              <a:gd name="T9" fmla="*/ 2147483647 h 144"/>
              <a:gd name="T10" fmla="*/ 2147483647 w 5472"/>
              <a:gd name="T11" fmla="*/ 2147483647 h 144"/>
              <a:gd name="T12" fmla="*/ 2147483647 w 5472"/>
              <a:gd name="T13" fmla="*/ 0 h 14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472" h="144">
                <a:moveTo>
                  <a:pt x="5472" y="0"/>
                </a:moveTo>
                <a:lnTo>
                  <a:pt x="0" y="0"/>
                </a:lnTo>
                <a:lnTo>
                  <a:pt x="0" y="144"/>
                </a:lnTo>
                <a:lnTo>
                  <a:pt x="1319" y="144"/>
                </a:lnTo>
                <a:lnTo>
                  <a:pt x="1457" y="49"/>
                </a:lnTo>
                <a:lnTo>
                  <a:pt x="5401" y="49"/>
                </a:lnTo>
                <a:lnTo>
                  <a:pt x="5472" y="0"/>
                </a:lnTo>
                <a:close/>
              </a:path>
            </a:pathLst>
          </a:custGeom>
          <a:solidFill>
            <a:srgbClr val="C0C0C0"/>
          </a:solidFill>
          <a:ln w="9525">
            <a:solidFill>
              <a:srgbClr val="808080"/>
            </a:solidFill>
            <a:round/>
            <a:headEnd/>
            <a:tailEnd/>
          </a:ln>
        </p:spPr>
        <p:txBody>
          <a:bodyPr/>
          <a:lstStyle/>
          <a:p>
            <a:endParaRPr lang="fr-FR"/>
          </a:p>
        </p:txBody>
      </p:sp>
      <p:sp>
        <p:nvSpPr>
          <p:cNvPr id="31" name="Rectangle 9"/>
          <p:cNvSpPr>
            <a:spLocks noChangeArrowheads="1"/>
          </p:cNvSpPr>
          <p:nvPr userDrawn="1"/>
        </p:nvSpPr>
        <p:spPr bwMode="auto">
          <a:xfrm>
            <a:off x="2647665" y="6511925"/>
            <a:ext cx="5936777"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lstStyle>
            <a:lvl1pPr defTabSz="912813" eaLnBrk="0" hangingPunct="0">
              <a:defRPr>
                <a:solidFill>
                  <a:schemeClr val="tx1"/>
                </a:solidFill>
                <a:latin typeface="Book Antiqua" pitchFamily="18" charset="0"/>
                <a:cs typeface="Arial" charset="0"/>
              </a:defRPr>
            </a:lvl1pPr>
            <a:lvl2pPr marL="742950" indent="-285750" defTabSz="912813" eaLnBrk="0" hangingPunct="0">
              <a:defRPr>
                <a:solidFill>
                  <a:schemeClr val="tx1"/>
                </a:solidFill>
                <a:latin typeface="Book Antiqua" pitchFamily="18" charset="0"/>
                <a:cs typeface="Arial" charset="0"/>
              </a:defRPr>
            </a:lvl2pPr>
            <a:lvl3pPr marL="1143000" indent="-228600" defTabSz="912813" eaLnBrk="0" hangingPunct="0">
              <a:defRPr>
                <a:solidFill>
                  <a:schemeClr val="tx1"/>
                </a:solidFill>
                <a:latin typeface="Book Antiqua" pitchFamily="18" charset="0"/>
                <a:cs typeface="Arial" charset="0"/>
              </a:defRPr>
            </a:lvl3pPr>
            <a:lvl4pPr marL="1600200" indent="-228600" defTabSz="912813" eaLnBrk="0" hangingPunct="0">
              <a:defRPr>
                <a:solidFill>
                  <a:schemeClr val="tx1"/>
                </a:solidFill>
                <a:latin typeface="Book Antiqua" pitchFamily="18" charset="0"/>
                <a:cs typeface="Arial" charset="0"/>
              </a:defRPr>
            </a:lvl4pPr>
            <a:lvl5pPr marL="2057400" indent="-228600" defTabSz="912813" eaLnBrk="0" hangingPunct="0">
              <a:defRPr>
                <a:solidFill>
                  <a:schemeClr val="tx1"/>
                </a:solidFill>
                <a:latin typeface="Book Antiqua" pitchFamily="18" charset="0"/>
                <a:cs typeface="Arial" charset="0"/>
              </a:defRPr>
            </a:lvl5pPr>
            <a:lvl6pPr marL="2514600" indent="-228600" defTabSz="912813" eaLnBrk="0" fontAlgn="base" hangingPunct="0">
              <a:spcBef>
                <a:spcPct val="0"/>
              </a:spcBef>
              <a:spcAft>
                <a:spcPct val="0"/>
              </a:spcAft>
              <a:defRPr>
                <a:solidFill>
                  <a:schemeClr val="tx1"/>
                </a:solidFill>
                <a:latin typeface="Book Antiqua" pitchFamily="18" charset="0"/>
                <a:cs typeface="Arial" charset="0"/>
              </a:defRPr>
            </a:lvl6pPr>
            <a:lvl7pPr marL="2971800" indent="-228600" defTabSz="912813" eaLnBrk="0" fontAlgn="base" hangingPunct="0">
              <a:spcBef>
                <a:spcPct val="0"/>
              </a:spcBef>
              <a:spcAft>
                <a:spcPct val="0"/>
              </a:spcAft>
              <a:defRPr>
                <a:solidFill>
                  <a:schemeClr val="tx1"/>
                </a:solidFill>
                <a:latin typeface="Book Antiqua" pitchFamily="18" charset="0"/>
                <a:cs typeface="Arial" charset="0"/>
              </a:defRPr>
            </a:lvl7pPr>
            <a:lvl8pPr marL="3429000" indent="-228600" defTabSz="912813" eaLnBrk="0" fontAlgn="base" hangingPunct="0">
              <a:spcBef>
                <a:spcPct val="0"/>
              </a:spcBef>
              <a:spcAft>
                <a:spcPct val="0"/>
              </a:spcAft>
              <a:defRPr>
                <a:solidFill>
                  <a:schemeClr val="tx1"/>
                </a:solidFill>
                <a:latin typeface="Book Antiqua" pitchFamily="18" charset="0"/>
                <a:cs typeface="Arial" charset="0"/>
              </a:defRPr>
            </a:lvl8pPr>
            <a:lvl9pPr marL="3886200" indent="-228600" defTabSz="912813" eaLnBrk="0" fontAlgn="base" hangingPunct="0">
              <a:spcBef>
                <a:spcPct val="0"/>
              </a:spcBef>
              <a:spcAft>
                <a:spcPct val="0"/>
              </a:spcAft>
              <a:defRPr>
                <a:solidFill>
                  <a:schemeClr val="tx1"/>
                </a:solidFill>
                <a:latin typeface="Book Antiqua" pitchFamily="18" charset="0"/>
                <a:cs typeface="Arial" charset="0"/>
              </a:defRPr>
            </a:lvl9pPr>
          </a:lstStyle>
          <a:p>
            <a:pPr>
              <a:defRPr/>
            </a:pPr>
            <a:r>
              <a:rPr lang="fr-FR" altLang="fr-FR" sz="1000" b="1" dirty="0" smtClean="0">
                <a:solidFill>
                  <a:srgbClr val="C00000"/>
                </a:solidFill>
                <a:latin typeface="Arial" charset="0"/>
              </a:rPr>
              <a:t>Atelier AREGNET,</a:t>
            </a:r>
            <a:r>
              <a:rPr lang="fr-FR" altLang="fr-FR" sz="1000" b="1" baseline="0" dirty="0" smtClean="0">
                <a:solidFill>
                  <a:srgbClr val="C00000"/>
                </a:solidFill>
                <a:latin typeface="Arial" charset="0"/>
              </a:rPr>
              <a:t> Rabat, 04-05 mars 2014</a:t>
            </a:r>
            <a:r>
              <a:rPr lang="fr-FR" altLang="fr-FR" sz="1000" b="1" dirty="0" smtClean="0">
                <a:solidFill>
                  <a:srgbClr val="C00000"/>
                </a:solidFill>
                <a:latin typeface="Arial" charset="0"/>
              </a:rPr>
              <a:t>         </a:t>
            </a:r>
          </a:p>
        </p:txBody>
      </p:sp>
      <p:sp>
        <p:nvSpPr>
          <p:cNvPr id="32" name="Text Box 10"/>
          <p:cNvSpPr txBox="1">
            <a:spLocks noChangeArrowheads="1"/>
          </p:cNvSpPr>
          <p:nvPr userDrawn="1"/>
        </p:nvSpPr>
        <p:spPr bwMode="auto">
          <a:xfrm>
            <a:off x="611188" y="6381750"/>
            <a:ext cx="183832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spAutoFit/>
          </a:bodyPr>
          <a:lstStyle>
            <a:lvl1pPr defTabSz="912813">
              <a:defRPr>
                <a:solidFill>
                  <a:schemeClr val="tx1"/>
                </a:solidFill>
                <a:latin typeface="Book Antiqua" pitchFamily="18" charset="0"/>
              </a:defRPr>
            </a:lvl1pPr>
            <a:lvl2pPr marL="742950" indent="-285750" defTabSz="912813">
              <a:defRPr>
                <a:solidFill>
                  <a:schemeClr val="tx1"/>
                </a:solidFill>
                <a:latin typeface="Book Antiqua" pitchFamily="18" charset="0"/>
              </a:defRPr>
            </a:lvl2pPr>
            <a:lvl3pPr marL="1143000" indent="-228600" defTabSz="912813">
              <a:defRPr>
                <a:solidFill>
                  <a:schemeClr val="tx1"/>
                </a:solidFill>
                <a:latin typeface="Book Antiqua" pitchFamily="18" charset="0"/>
              </a:defRPr>
            </a:lvl3pPr>
            <a:lvl4pPr marL="1600200" indent="-228600" defTabSz="912813">
              <a:defRPr>
                <a:solidFill>
                  <a:schemeClr val="tx1"/>
                </a:solidFill>
                <a:latin typeface="Book Antiqua" pitchFamily="18" charset="0"/>
              </a:defRPr>
            </a:lvl4pPr>
            <a:lvl5pPr marL="2057400" indent="-228600" defTabSz="912813">
              <a:defRPr>
                <a:solidFill>
                  <a:schemeClr val="tx1"/>
                </a:solidFill>
                <a:latin typeface="Book Antiqua" pitchFamily="18" charset="0"/>
              </a:defRPr>
            </a:lvl5pPr>
            <a:lvl6pPr marL="2514600" indent="-228600" defTabSz="912813" fontAlgn="base">
              <a:spcBef>
                <a:spcPct val="0"/>
              </a:spcBef>
              <a:spcAft>
                <a:spcPct val="0"/>
              </a:spcAft>
              <a:defRPr>
                <a:solidFill>
                  <a:schemeClr val="tx1"/>
                </a:solidFill>
                <a:latin typeface="Book Antiqua" pitchFamily="18" charset="0"/>
              </a:defRPr>
            </a:lvl6pPr>
            <a:lvl7pPr marL="2971800" indent="-228600" defTabSz="912813" fontAlgn="base">
              <a:spcBef>
                <a:spcPct val="0"/>
              </a:spcBef>
              <a:spcAft>
                <a:spcPct val="0"/>
              </a:spcAft>
              <a:defRPr>
                <a:solidFill>
                  <a:schemeClr val="tx1"/>
                </a:solidFill>
                <a:latin typeface="Book Antiqua" pitchFamily="18" charset="0"/>
              </a:defRPr>
            </a:lvl7pPr>
            <a:lvl8pPr marL="3429000" indent="-228600" defTabSz="912813" fontAlgn="base">
              <a:spcBef>
                <a:spcPct val="0"/>
              </a:spcBef>
              <a:spcAft>
                <a:spcPct val="0"/>
              </a:spcAft>
              <a:defRPr>
                <a:solidFill>
                  <a:schemeClr val="tx1"/>
                </a:solidFill>
                <a:latin typeface="Book Antiqua" pitchFamily="18" charset="0"/>
              </a:defRPr>
            </a:lvl8pPr>
            <a:lvl9pPr marL="3886200" indent="-228600" defTabSz="912813" fontAlgn="base">
              <a:spcBef>
                <a:spcPct val="0"/>
              </a:spcBef>
              <a:spcAft>
                <a:spcPct val="0"/>
              </a:spcAft>
              <a:defRPr>
                <a:solidFill>
                  <a:schemeClr val="tx1"/>
                </a:solidFill>
                <a:latin typeface="Book Antiqua" pitchFamily="18" charset="0"/>
              </a:defRPr>
            </a:lvl9pPr>
          </a:lstStyle>
          <a:p>
            <a:pPr eaLnBrk="0" hangingPunct="0">
              <a:spcBef>
                <a:spcPct val="50000"/>
              </a:spcBef>
              <a:defRPr/>
            </a:pPr>
            <a:r>
              <a:rPr lang="fr-FR" sz="1500" b="1" dirty="0" smtClean="0">
                <a:solidFill>
                  <a:srgbClr val="0560E5"/>
                </a:solidFill>
                <a:latin typeface="Arial" charset="0"/>
              </a:rPr>
              <a:t>www.anrt.ma</a:t>
            </a:r>
          </a:p>
        </p:txBody>
      </p:sp>
      <p:sp>
        <p:nvSpPr>
          <p:cNvPr id="33" name="Rectangle 7"/>
          <p:cNvSpPr>
            <a:spLocks noChangeArrowheads="1"/>
          </p:cNvSpPr>
          <p:nvPr userDrawn="1"/>
        </p:nvSpPr>
        <p:spPr bwMode="auto">
          <a:xfrm>
            <a:off x="9144000" y="6523038"/>
            <a:ext cx="454025" cy="33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lstStyle>
            <a:lvl1pPr defTabSz="912813" eaLnBrk="0" hangingPunct="0">
              <a:defRPr>
                <a:solidFill>
                  <a:schemeClr val="tx1"/>
                </a:solidFill>
                <a:latin typeface="Book Antiqua" pitchFamily="18" charset="0"/>
                <a:cs typeface="Arial" charset="0"/>
              </a:defRPr>
            </a:lvl1pPr>
            <a:lvl2pPr marL="742950" indent="-285750" defTabSz="912813" eaLnBrk="0" hangingPunct="0">
              <a:defRPr>
                <a:solidFill>
                  <a:schemeClr val="tx1"/>
                </a:solidFill>
                <a:latin typeface="Book Antiqua" pitchFamily="18" charset="0"/>
                <a:cs typeface="Arial" charset="0"/>
              </a:defRPr>
            </a:lvl2pPr>
            <a:lvl3pPr marL="1143000" indent="-228600" defTabSz="912813" eaLnBrk="0" hangingPunct="0">
              <a:defRPr>
                <a:solidFill>
                  <a:schemeClr val="tx1"/>
                </a:solidFill>
                <a:latin typeface="Book Antiqua" pitchFamily="18" charset="0"/>
                <a:cs typeface="Arial" charset="0"/>
              </a:defRPr>
            </a:lvl3pPr>
            <a:lvl4pPr marL="1600200" indent="-228600" defTabSz="912813" eaLnBrk="0" hangingPunct="0">
              <a:defRPr>
                <a:solidFill>
                  <a:schemeClr val="tx1"/>
                </a:solidFill>
                <a:latin typeface="Book Antiqua" pitchFamily="18" charset="0"/>
                <a:cs typeface="Arial" charset="0"/>
              </a:defRPr>
            </a:lvl4pPr>
            <a:lvl5pPr marL="2057400" indent="-228600" defTabSz="912813" eaLnBrk="0" hangingPunct="0">
              <a:defRPr>
                <a:solidFill>
                  <a:schemeClr val="tx1"/>
                </a:solidFill>
                <a:latin typeface="Book Antiqua" pitchFamily="18" charset="0"/>
                <a:cs typeface="Arial" charset="0"/>
              </a:defRPr>
            </a:lvl5pPr>
            <a:lvl6pPr marL="2514600" indent="-228600" defTabSz="912813" eaLnBrk="0" fontAlgn="base" hangingPunct="0">
              <a:spcBef>
                <a:spcPct val="0"/>
              </a:spcBef>
              <a:spcAft>
                <a:spcPct val="0"/>
              </a:spcAft>
              <a:defRPr>
                <a:solidFill>
                  <a:schemeClr val="tx1"/>
                </a:solidFill>
                <a:latin typeface="Book Antiqua" pitchFamily="18" charset="0"/>
                <a:cs typeface="Arial" charset="0"/>
              </a:defRPr>
            </a:lvl6pPr>
            <a:lvl7pPr marL="2971800" indent="-228600" defTabSz="912813" eaLnBrk="0" fontAlgn="base" hangingPunct="0">
              <a:spcBef>
                <a:spcPct val="0"/>
              </a:spcBef>
              <a:spcAft>
                <a:spcPct val="0"/>
              </a:spcAft>
              <a:defRPr>
                <a:solidFill>
                  <a:schemeClr val="tx1"/>
                </a:solidFill>
                <a:latin typeface="Book Antiqua" pitchFamily="18" charset="0"/>
                <a:cs typeface="Arial" charset="0"/>
              </a:defRPr>
            </a:lvl7pPr>
            <a:lvl8pPr marL="3429000" indent="-228600" defTabSz="912813" eaLnBrk="0" fontAlgn="base" hangingPunct="0">
              <a:spcBef>
                <a:spcPct val="0"/>
              </a:spcBef>
              <a:spcAft>
                <a:spcPct val="0"/>
              </a:spcAft>
              <a:defRPr>
                <a:solidFill>
                  <a:schemeClr val="tx1"/>
                </a:solidFill>
                <a:latin typeface="Book Antiqua" pitchFamily="18" charset="0"/>
                <a:cs typeface="Arial" charset="0"/>
              </a:defRPr>
            </a:lvl8pPr>
            <a:lvl9pPr marL="3886200" indent="-228600" defTabSz="912813" eaLnBrk="0" fontAlgn="base" hangingPunct="0">
              <a:spcBef>
                <a:spcPct val="0"/>
              </a:spcBef>
              <a:spcAft>
                <a:spcPct val="0"/>
              </a:spcAft>
              <a:defRPr>
                <a:solidFill>
                  <a:schemeClr val="tx1"/>
                </a:solidFill>
                <a:latin typeface="Book Antiqua" pitchFamily="18" charset="0"/>
                <a:cs typeface="Arial" charset="0"/>
              </a:defRPr>
            </a:lvl9pPr>
          </a:lstStyle>
          <a:p>
            <a:pPr algn="r">
              <a:defRPr/>
            </a:pPr>
            <a:fld id="{0446E1DF-094B-4141-B92E-5B52C0EFC3FA}" type="slidenum">
              <a:rPr lang="fr-FR" altLang="fr-FR" sz="900" b="1" smtClean="0">
                <a:solidFill>
                  <a:srgbClr val="C00000"/>
                </a:solidFill>
                <a:latin typeface="Arial" charset="0"/>
              </a:rPr>
              <a:pPr algn="r">
                <a:defRPr/>
              </a:pPr>
              <a:t>‹N°›</a:t>
            </a:fld>
            <a:endParaRPr lang="fr-FR" altLang="fr-FR" sz="900" b="1" dirty="0" smtClean="0">
              <a:solidFill>
                <a:srgbClr val="C00000"/>
              </a:solidFill>
              <a:latin typeface="Arial" charset="0"/>
            </a:endParaRPr>
          </a:p>
        </p:txBody>
      </p:sp>
      <p:sp>
        <p:nvSpPr>
          <p:cNvPr id="13" name="Espace réservé du pied de page 12"/>
          <p:cNvSpPr>
            <a:spLocks noGrp="1"/>
          </p:cNvSpPr>
          <p:nvPr>
            <p:ph type="ftr" sz="quarter" idx="3"/>
          </p:nvPr>
        </p:nvSpPr>
        <p:spPr>
          <a:xfrm>
            <a:off x="3384550" y="6356350"/>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dirty="0"/>
          </a:p>
        </p:txBody>
      </p:sp>
      <p:sp>
        <p:nvSpPr>
          <p:cNvPr id="35" name="Espace réservé du numéro de diapositive 34"/>
          <p:cNvSpPr>
            <a:spLocks noGrp="1"/>
          </p:cNvSpPr>
          <p:nvPr>
            <p:ph type="sldNum" sz="quarter" idx="4"/>
          </p:nvPr>
        </p:nvSpPr>
        <p:spPr>
          <a:xfrm>
            <a:off x="7651750" y="6356350"/>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208129B-C12C-4C76-A6F4-325401A83EEC}" type="slidenum">
              <a:rPr lang="fr-FR" smtClean="0"/>
              <a:t>‹N°›</a:t>
            </a:fld>
            <a:endParaRPr lang="fr-FR" dirty="0"/>
          </a:p>
        </p:txBody>
      </p:sp>
    </p:spTree>
  </p:cSld>
  <p:clrMap bg1="lt1" tx1="dk1" bg2="lt2" tx2="dk2" accent1="accent1" accent2="accent2" accent3="accent3" accent4="accent4" accent5="accent5" accent6="accent6" hlink="hlink" folHlink="folHlink"/>
  <p:sldLayoutIdLst>
    <p:sldLayoutId id="2147484453" r:id="rId1"/>
    <p:sldLayoutId id="2147484454" r:id="rId2"/>
    <p:sldLayoutId id="2147484455" r:id="rId3"/>
    <p:sldLayoutId id="2147484456" r:id="rId4"/>
    <p:sldLayoutId id="2147484457" r:id="rId5"/>
    <p:sldLayoutId id="2147484458" r:id="rId6"/>
    <p:sldLayoutId id="2147484459" r:id="rId7"/>
    <p:sldLayoutId id="2147484460" r:id="rId8"/>
    <p:sldLayoutId id="2147484479" r:id="rId9"/>
    <p:sldLayoutId id="2147484480" r:id="rId10"/>
    <p:sldLayoutId id="2147484488" r:id="rId11"/>
    <p:sldLayoutId id="2147484489" r:id="rId12"/>
    <p:sldLayoutId id="2147484490" r:id="rId13"/>
    <p:sldLayoutId id="2147484491" r:id="rId14"/>
  </p:sldLayoutIdLst>
  <p:timing>
    <p:tnLst>
      <p:par>
        <p:cTn id="1" dur="indefinite" restart="never" nodeType="tmRoot"/>
      </p:par>
    </p:tnLst>
  </p:timing>
  <p:hf sldNum="0" hdr="0" ftr="0" dt="0"/>
  <p:txStyles>
    <p:titleStyle>
      <a:lvl1pPr algn="l" defTabSz="914400" rtl="0" eaLnBrk="1" latinLnBrk="0" hangingPunct="1">
        <a:lnSpc>
          <a:spcPct val="93000"/>
        </a:lnSpc>
        <a:spcBef>
          <a:spcPct val="0"/>
        </a:spcBef>
        <a:buNone/>
        <a:defRPr sz="2100" b="1" kern="1200">
          <a:solidFill>
            <a:schemeClr val="bg1"/>
          </a:solidFill>
          <a:latin typeface="+mj-lt"/>
          <a:ea typeface="+mj-ea"/>
          <a:cs typeface="+mj-cs"/>
        </a:defRPr>
      </a:lvl1pPr>
    </p:titleStyle>
    <p:body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9.png"/><Relationship Id="rId2" Type="http://schemas.openxmlformats.org/officeDocument/2006/relationships/slideLayout" Target="../slideLayouts/slideLayout10.xml"/><Relationship Id="rId1" Type="http://schemas.openxmlformats.org/officeDocument/2006/relationships/vmlDrawing" Target="../drawings/vmlDrawing14.vml"/><Relationship Id="rId6" Type="http://schemas.openxmlformats.org/officeDocument/2006/relationships/chart" Target="../charts/chart7.xml"/><Relationship Id="rId5" Type="http://schemas.openxmlformats.org/officeDocument/2006/relationships/image" Target="../media/image16.emf"/><Relationship Id="rId4" Type="http://schemas.openxmlformats.org/officeDocument/2006/relationships/oleObject" Target="../embeddings/Feuille_Microsoft_Excel_97-20036.xls"/></Relationships>
</file>

<file path=ppt/slides/_rels/slide12.xml.rels><?xml version="1.0" encoding="UTF-8" standalone="yes"?>
<Relationships xmlns="http://schemas.openxmlformats.org/package/2006/relationships"><Relationship Id="rId3" Type="http://schemas.openxmlformats.org/officeDocument/2006/relationships/oleObject" Target="../embeddings/Feuille_Microsoft_Excel_97-20037.xls"/><Relationship Id="rId2" Type="http://schemas.openxmlformats.org/officeDocument/2006/relationships/slideLayout" Target="../slideLayouts/slideLayout10.xml"/><Relationship Id="rId1" Type="http://schemas.openxmlformats.org/officeDocument/2006/relationships/vmlDrawing" Target="../drawings/vmlDrawing15.vml"/><Relationship Id="rId5" Type="http://schemas.openxmlformats.org/officeDocument/2006/relationships/image" Target="../media/image9.png"/><Relationship Id="rId4" Type="http://schemas.openxmlformats.org/officeDocument/2006/relationships/image" Target="../media/image17.emf"/></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1.xml"/><Relationship Id="rId1" Type="http://schemas.openxmlformats.org/officeDocument/2006/relationships/tags" Target="../tags/tag66.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1.xml"/><Relationship Id="rId1" Type="http://schemas.openxmlformats.org/officeDocument/2006/relationships/tags" Target="../tags/tag67.xml"/><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9.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notesSlide" Target="../notesSlides/notesSlide15.xml"/><Relationship Id="rId5" Type="http://schemas.openxmlformats.org/officeDocument/2006/relationships/tags" Target="../tags/tag72.xml"/><Relationship Id="rId10" Type="http://schemas.openxmlformats.org/officeDocument/2006/relationships/slideLayout" Target="../slideLayouts/slideLayout14.xml"/><Relationship Id="rId4" Type="http://schemas.openxmlformats.org/officeDocument/2006/relationships/tags" Target="../tags/tag71.xml"/><Relationship Id="rId9" Type="http://schemas.openxmlformats.org/officeDocument/2006/relationships/tags" Target="../tags/tag76.xml"/></Relationships>
</file>

<file path=ppt/slides/_rels/slide17.xml.rels><?xml version="1.0" encoding="UTF-8" standalone="yes"?>
<Relationships xmlns="http://schemas.openxmlformats.org/package/2006/relationships"><Relationship Id="rId117" Type="http://schemas.openxmlformats.org/officeDocument/2006/relationships/tags" Target="../tags/tag193.xml"/><Relationship Id="rId21" Type="http://schemas.openxmlformats.org/officeDocument/2006/relationships/tags" Target="../tags/tag97.xml"/><Relationship Id="rId63" Type="http://schemas.openxmlformats.org/officeDocument/2006/relationships/tags" Target="../tags/tag139.xml"/><Relationship Id="rId159" Type="http://schemas.openxmlformats.org/officeDocument/2006/relationships/tags" Target="../tags/tag235.xml"/><Relationship Id="rId170" Type="http://schemas.openxmlformats.org/officeDocument/2006/relationships/tags" Target="../tags/tag246.xml"/><Relationship Id="rId226" Type="http://schemas.openxmlformats.org/officeDocument/2006/relationships/tags" Target="../tags/tag302.xml"/><Relationship Id="rId268" Type="http://schemas.openxmlformats.org/officeDocument/2006/relationships/tags" Target="../tags/tag344.xml"/><Relationship Id="rId32" Type="http://schemas.openxmlformats.org/officeDocument/2006/relationships/tags" Target="../tags/tag108.xml"/><Relationship Id="rId74" Type="http://schemas.openxmlformats.org/officeDocument/2006/relationships/tags" Target="../tags/tag150.xml"/><Relationship Id="rId128" Type="http://schemas.openxmlformats.org/officeDocument/2006/relationships/tags" Target="../tags/tag204.xml"/><Relationship Id="rId5" Type="http://schemas.openxmlformats.org/officeDocument/2006/relationships/tags" Target="../tags/tag81.xml"/><Relationship Id="rId181" Type="http://schemas.openxmlformats.org/officeDocument/2006/relationships/tags" Target="../tags/tag257.xml"/><Relationship Id="rId237" Type="http://schemas.openxmlformats.org/officeDocument/2006/relationships/tags" Target="../tags/tag313.xml"/><Relationship Id="rId258" Type="http://schemas.openxmlformats.org/officeDocument/2006/relationships/tags" Target="../tags/tag334.xml"/><Relationship Id="rId279" Type="http://schemas.openxmlformats.org/officeDocument/2006/relationships/image" Target="../media/image21.emf"/><Relationship Id="rId22" Type="http://schemas.openxmlformats.org/officeDocument/2006/relationships/tags" Target="../tags/tag98.xml"/><Relationship Id="rId43" Type="http://schemas.openxmlformats.org/officeDocument/2006/relationships/tags" Target="../tags/tag119.xml"/><Relationship Id="rId64" Type="http://schemas.openxmlformats.org/officeDocument/2006/relationships/tags" Target="../tags/tag140.xml"/><Relationship Id="rId118" Type="http://schemas.openxmlformats.org/officeDocument/2006/relationships/tags" Target="../tags/tag194.xml"/><Relationship Id="rId139" Type="http://schemas.openxmlformats.org/officeDocument/2006/relationships/tags" Target="../tags/tag215.xml"/><Relationship Id="rId85" Type="http://schemas.openxmlformats.org/officeDocument/2006/relationships/tags" Target="../tags/tag161.xml"/><Relationship Id="rId150" Type="http://schemas.openxmlformats.org/officeDocument/2006/relationships/tags" Target="../tags/tag226.xml"/><Relationship Id="rId171" Type="http://schemas.openxmlformats.org/officeDocument/2006/relationships/tags" Target="../tags/tag247.xml"/><Relationship Id="rId192" Type="http://schemas.openxmlformats.org/officeDocument/2006/relationships/tags" Target="../tags/tag268.xml"/><Relationship Id="rId206" Type="http://schemas.openxmlformats.org/officeDocument/2006/relationships/tags" Target="../tags/tag282.xml"/><Relationship Id="rId227" Type="http://schemas.openxmlformats.org/officeDocument/2006/relationships/tags" Target="../tags/tag303.xml"/><Relationship Id="rId248" Type="http://schemas.openxmlformats.org/officeDocument/2006/relationships/tags" Target="../tags/tag324.xml"/><Relationship Id="rId269" Type="http://schemas.openxmlformats.org/officeDocument/2006/relationships/tags" Target="../tags/tag345.xml"/><Relationship Id="rId12" Type="http://schemas.openxmlformats.org/officeDocument/2006/relationships/tags" Target="../tags/tag88.xml"/><Relationship Id="rId33" Type="http://schemas.openxmlformats.org/officeDocument/2006/relationships/tags" Target="../tags/tag109.xml"/><Relationship Id="rId108" Type="http://schemas.openxmlformats.org/officeDocument/2006/relationships/tags" Target="../tags/tag184.xml"/><Relationship Id="rId129" Type="http://schemas.openxmlformats.org/officeDocument/2006/relationships/tags" Target="../tags/tag205.xml"/><Relationship Id="rId280" Type="http://schemas.openxmlformats.org/officeDocument/2006/relationships/image" Target="../media/image9.png"/><Relationship Id="rId54" Type="http://schemas.openxmlformats.org/officeDocument/2006/relationships/tags" Target="../tags/tag130.xml"/><Relationship Id="rId75" Type="http://schemas.openxmlformats.org/officeDocument/2006/relationships/tags" Target="../tags/tag151.xml"/><Relationship Id="rId96" Type="http://schemas.openxmlformats.org/officeDocument/2006/relationships/tags" Target="../tags/tag172.xml"/><Relationship Id="rId140" Type="http://schemas.openxmlformats.org/officeDocument/2006/relationships/tags" Target="../tags/tag216.xml"/><Relationship Id="rId161" Type="http://schemas.openxmlformats.org/officeDocument/2006/relationships/tags" Target="../tags/tag237.xml"/><Relationship Id="rId182" Type="http://schemas.openxmlformats.org/officeDocument/2006/relationships/tags" Target="../tags/tag258.xml"/><Relationship Id="rId217" Type="http://schemas.openxmlformats.org/officeDocument/2006/relationships/tags" Target="../tags/tag293.xml"/><Relationship Id="rId6" Type="http://schemas.openxmlformats.org/officeDocument/2006/relationships/tags" Target="../tags/tag82.xml"/><Relationship Id="rId238" Type="http://schemas.openxmlformats.org/officeDocument/2006/relationships/tags" Target="../tags/tag314.xml"/><Relationship Id="rId259" Type="http://schemas.openxmlformats.org/officeDocument/2006/relationships/tags" Target="../tags/tag335.xml"/><Relationship Id="rId23" Type="http://schemas.openxmlformats.org/officeDocument/2006/relationships/tags" Target="../tags/tag99.xml"/><Relationship Id="rId119" Type="http://schemas.openxmlformats.org/officeDocument/2006/relationships/tags" Target="../tags/tag195.xml"/><Relationship Id="rId270" Type="http://schemas.openxmlformats.org/officeDocument/2006/relationships/tags" Target="../tags/tag346.xml"/><Relationship Id="rId44" Type="http://schemas.openxmlformats.org/officeDocument/2006/relationships/tags" Target="../tags/tag120.xml"/><Relationship Id="rId65" Type="http://schemas.openxmlformats.org/officeDocument/2006/relationships/tags" Target="../tags/tag141.xml"/><Relationship Id="rId86" Type="http://schemas.openxmlformats.org/officeDocument/2006/relationships/tags" Target="../tags/tag162.xml"/><Relationship Id="rId130" Type="http://schemas.openxmlformats.org/officeDocument/2006/relationships/tags" Target="../tags/tag206.xml"/><Relationship Id="rId151" Type="http://schemas.openxmlformats.org/officeDocument/2006/relationships/tags" Target="../tags/tag227.xml"/><Relationship Id="rId172" Type="http://schemas.openxmlformats.org/officeDocument/2006/relationships/tags" Target="../tags/tag248.xml"/><Relationship Id="rId193" Type="http://schemas.openxmlformats.org/officeDocument/2006/relationships/tags" Target="../tags/tag269.xml"/><Relationship Id="rId207" Type="http://schemas.openxmlformats.org/officeDocument/2006/relationships/tags" Target="../tags/tag283.xml"/><Relationship Id="rId228" Type="http://schemas.openxmlformats.org/officeDocument/2006/relationships/tags" Target="../tags/tag304.xml"/><Relationship Id="rId249" Type="http://schemas.openxmlformats.org/officeDocument/2006/relationships/tags" Target="../tags/tag325.xml"/><Relationship Id="rId13" Type="http://schemas.openxmlformats.org/officeDocument/2006/relationships/tags" Target="../tags/tag89.xml"/><Relationship Id="rId109" Type="http://schemas.openxmlformats.org/officeDocument/2006/relationships/tags" Target="../tags/tag185.xml"/><Relationship Id="rId260" Type="http://schemas.openxmlformats.org/officeDocument/2006/relationships/tags" Target="../tags/tag336.xml"/><Relationship Id="rId34" Type="http://schemas.openxmlformats.org/officeDocument/2006/relationships/tags" Target="../tags/tag110.xml"/><Relationship Id="rId55" Type="http://schemas.openxmlformats.org/officeDocument/2006/relationships/tags" Target="../tags/tag131.xml"/><Relationship Id="rId76" Type="http://schemas.openxmlformats.org/officeDocument/2006/relationships/tags" Target="../tags/tag152.xml"/><Relationship Id="rId97" Type="http://schemas.openxmlformats.org/officeDocument/2006/relationships/tags" Target="../tags/tag173.xml"/><Relationship Id="rId120" Type="http://schemas.openxmlformats.org/officeDocument/2006/relationships/tags" Target="../tags/tag196.xml"/><Relationship Id="rId141" Type="http://schemas.openxmlformats.org/officeDocument/2006/relationships/tags" Target="../tags/tag217.xml"/><Relationship Id="rId7" Type="http://schemas.openxmlformats.org/officeDocument/2006/relationships/tags" Target="../tags/tag83.xml"/><Relationship Id="rId162" Type="http://schemas.openxmlformats.org/officeDocument/2006/relationships/tags" Target="../tags/tag238.xml"/><Relationship Id="rId183" Type="http://schemas.openxmlformats.org/officeDocument/2006/relationships/tags" Target="../tags/tag259.xml"/><Relationship Id="rId218" Type="http://schemas.openxmlformats.org/officeDocument/2006/relationships/tags" Target="../tags/tag294.xml"/><Relationship Id="rId239" Type="http://schemas.openxmlformats.org/officeDocument/2006/relationships/tags" Target="../tags/tag315.xml"/><Relationship Id="rId250" Type="http://schemas.openxmlformats.org/officeDocument/2006/relationships/tags" Target="../tags/tag326.xml"/><Relationship Id="rId271" Type="http://schemas.openxmlformats.org/officeDocument/2006/relationships/tags" Target="../tags/tag347.xml"/><Relationship Id="rId24" Type="http://schemas.openxmlformats.org/officeDocument/2006/relationships/tags" Target="../tags/tag100.xml"/><Relationship Id="rId45" Type="http://schemas.openxmlformats.org/officeDocument/2006/relationships/tags" Target="../tags/tag121.xml"/><Relationship Id="rId66" Type="http://schemas.openxmlformats.org/officeDocument/2006/relationships/tags" Target="../tags/tag142.xml"/><Relationship Id="rId87" Type="http://schemas.openxmlformats.org/officeDocument/2006/relationships/tags" Target="../tags/tag163.xml"/><Relationship Id="rId110" Type="http://schemas.openxmlformats.org/officeDocument/2006/relationships/tags" Target="../tags/tag186.xml"/><Relationship Id="rId131" Type="http://schemas.openxmlformats.org/officeDocument/2006/relationships/tags" Target="../tags/tag207.xml"/><Relationship Id="rId152" Type="http://schemas.openxmlformats.org/officeDocument/2006/relationships/tags" Target="../tags/tag228.xml"/><Relationship Id="rId173" Type="http://schemas.openxmlformats.org/officeDocument/2006/relationships/tags" Target="../tags/tag249.xml"/><Relationship Id="rId194" Type="http://schemas.openxmlformats.org/officeDocument/2006/relationships/tags" Target="../tags/tag270.xml"/><Relationship Id="rId208" Type="http://schemas.openxmlformats.org/officeDocument/2006/relationships/tags" Target="../tags/tag284.xml"/><Relationship Id="rId229" Type="http://schemas.openxmlformats.org/officeDocument/2006/relationships/tags" Target="../tags/tag305.xml"/><Relationship Id="rId240" Type="http://schemas.openxmlformats.org/officeDocument/2006/relationships/tags" Target="../tags/tag316.xml"/><Relationship Id="rId261" Type="http://schemas.openxmlformats.org/officeDocument/2006/relationships/tags" Target="../tags/tag337.xml"/><Relationship Id="rId14" Type="http://schemas.openxmlformats.org/officeDocument/2006/relationships/tags" Target="../tags/tag90.xml"/><Relationship Id="rId35" Type="http://schemas.openxmlformats.org/officeDocument/2006/relationships/tags" Target="../tags/tag111.xml"/><Relationship Id="rId56" Type="http://schemas.openxmlformats.org/officeDocument/2006/relationships/tags" Target="../tags/tag132.xml"/><Relationship Id="rId77" Type="http://schemas.openxmlformats.org/officeDocument/2006/relationships/tags" Target="../tags/tag153.xml"/><Relationship Id="rId100" Type="http://schemas.openxmlformats.org/officeDocument/2006/relationships/tags" Target="../tags/tag176.xml"/><Relationship Id="rId8" Type="http://schemas.openxmlformats.org/officeDocument/2006/relationships/tags" Target="../tags/tag84.xml"/><Relationship Id="rId98" Type="http://schemas.openxmlformats.org/officeDocument/2006/relationships/tags" Target="../tags/tag174.xml"/><Relationship Id="rId121" Type="http://schemas.openxmlformats.org/officeDocument/2006/relationships/tags" Target="../tags/tag197.xml"/><Relationship Id="rId142" Type="http://schemas.openxmlformats.org/officeDocument/2006/relationships/tags" Target="../tags/tag218.xml"/><Relationship Id="rId163" Type="http://schemas.openxmlformats.org/officeDocument/2006/relationships/tags" Target="../tags/tag239.xml"/><Relationship Id="rId184" Type="http://schemas.openxmlformats.org/officeDocument/2006/relationships/tags" Target="../tags/tag260.xml"/><Relationship Id="rId219" Type="http://schemas.openxmlformats.org/officeDocument/2006/relationships/tags" Target="../tags/tag295.xml"/><Relationship Id="rId230" Type="http://schemas.openxmlformats.org/officeDocument/2006/relationships/tags" Target="../tags/tag306.xml"/><Relationship Id="rId251" Type="http://schemas.openxmlformats.org/officeDocument/2006/relationships/tags" Target="../tags/tag327.xml"/><Relationship Id="rId25" Type="http://schemas.openxmlformats.org/officeDocument/2006/relationships/tags" Target="../tags/tag101.xml"/><Relationship Id="rId46" Type="http://schemas.openxmlformats.org/officeDocument/2006/relationships/tags" Target="../tags/tag122.xml"/><Relationship Id="rId67" Type="http://schemas.openxmlformats.org/officeDocument/2006/relationships/tags" Target="../tags/tag143.xml"/><Relationship Id="rId272" Type="http://schemas.openxmlformats.org/officeDocument/2006/relationships/tags" Target="../tags/tag348.xml"/><Relationship Id="rId88" Type="http://schemas.openxmlformats.org/officeDocument/2006/relationships/tags" Target="../tags/tag164.xml"/><Relationship Id="rId111" Type="http://schemas.openxmlformats.org/officeDocument/2006/relationships/tags" Target="../tags/tag187.xml"/><Relationship Id="rId132" Type="http://schemas.openxmlformats.org/officeDocument/2006/relationships/tags" Target="../tags/tag208.xml"/><Relationship Id="rId153" Type="http://schemas.openxmlformats.org/officeDocument/2006/relationships/tags" Target="../tags/tag229.xml"/><Relationship Id="rId174" Type="http://schemas.openxmlformats.org/officeDocument/2006/relationships/tags" Target="../tags/tag250.xml"/><Relationship Id="rId195" Type="http://schemas.openxmlformats.org/officeDocument/2006/relationships/tags" Target="../tags/tag271.xml"/><Relationship Id="rId209" Type="http://schemas.openxmlformats.org/officeDocument/2006/relationships/tags" Target="../tags/tag285.xml"/><Relationship Id="rId220" Type="http://schemas.openxmlformats.org/officeDocument/2006/relationships/tags" Target="../tags/tag296.xml"/><Relationship Id="rId241" Type="http://schemas.openxmlformats.org/officeDocument/2006/relationships/tags" Target="../tags/tag317.xml"/><Relationship Id="rId15" Type="http://schemas.openxmlformats.org/officeDocument/2006/relationships/tags" Target="../tags/tag91.xml"/><Relationship Id="rId36" Type="http://schemas.openxmlformats.org/officeDocument/2006/relationships/tags" Target="../tags/tag112.xml"/><Relationship Id="rId57" Type="http://schemas.openxmlformats.org/officeDocument/2006/relationships/tags" Target="../tags/tag133.xml"/><Relationship Id="rId262" Type="http://schemas.openxmlformats.org/officeDocument/2006/relationships/tags" Target="../tags/tag338.xml"/><Relationship Id="rId78" Type="http://schemas.openxmlformats.org/officeDocument/2006/relationships/tags" Target="../tags/tag154.xml"/><Relationship Id="rId99" Type="http://schemas.openxmlformats.org/officeDocument/2006/relationships/tags" Target="../tags/tag175.xml"/><Relationship Id="rId101" Type="http://schemas.openxmlformats.org/officeDocument/2006/relationships/tags" Target="../tags/tag177.xml"/><Relationship Id="rId122" Type="http://schemas.openxmlformats.org/officeDocument/2006/relationships/tags" Target="../tags/tag198.xml"/><Relationship Id="rId143" Type="http://schemas.openxmlformats.org/officeDocument/2006/relationships/tags" Target="../tags/tag219.xml"/><Relationship Id="rId164" Type="http://schemas.openxmlformats.org/officeDocument/2006/relationships/tags" Target="../tags/tag240.xml"/><Relationship Id="rId185" Type="http://schemas.openxmlformats.org/officeDocument/2006/relationships/tags" Target="../tags/tag261.xml"/><Relationship Id="rId9" Type="http://schemas.openxmlformats.org/officeDocument/2006/relationships/tags" Target="../tags/tag85.xml"/><Relationship Id="rId210" Type="http://schemas.openxmlformats.org/officeDocument/2006/relationships/tags" Target="../tags/tag286.xml"/><Relationship Id="rId26" Type="http://schemas.openxmlformats.org/officeDocument/2006/relationships/tags" Target="../tags/tag102.xml"/><Relationship Id="rId231" Type="http://schemas.openxmlformats.org/officeDocument/2006/relationships/tags" Target="../tags/tag307.xml"/><Relationship Id="rId252" Type="http://schemas.openxmlformats.org/officeDocument/2006/relationships/tags" Target="../tags/tag328.xml"/><Relationship Id="rId273" Type="http://schemas.openxmlformats.org/officeDocument/2006/relationships/tags" Target="../tags/tag349.xml"/><Relationship Id="rId47" Type="http://schemas.openxmlformats.org/officeDocument/2006/relationships/tags" Target="../tags/tag123.xml"/><Relationship Id="rId68" Type="http://schemas.openxmlformats.org/officeDocument/2006/relationships/tags" Target="../tags/tag144.xml"/><Relationship Id="rId89" Type="http://schemas.openxmlformats.org/officeDocument/2006/relationships/tags" Target="../tags/tag165.xml"/><Relationship Id="rId112" Type="http://schemas.openxmlformats.org/officeDocument/2006/relationships/tags" Target="../tags/tag188.xml"/><Relationship Id="rId133" Type="http://schemas.openxmlformats.org/officeDocument/2006/relationships/tags" Target="../tags/tag209.xml"/><Relationship Id="rId154" Type="http://schemas.openxmlformats.org/officeDocument/2006/relationships/tags" Target="../tags/tag230.xml"/><Relationship Id="rId175" Type="http://schemas.openxmlformats.org/officeDocument/2006/relationships/tags" Target="../tags/tag251.xml"/><Relationship Id="rId196" Type="http://schemas.openxmlformats.org/officeDocument/2006/relationships/tags" Target="../tags/tag272.xml"/><Relationship Id="rId200" Type="http://schemas.openxmlformats.org/officeDocument/2006/relationships/tags" Target="../tags/tag276.xml"/><Relationship Id="rId16" Type="http://schemas.openxmlformats.org/officeDocument/2006/relationships/tags" Target="../tags/tag92.xml"/><Relationship Id="rId221" Type="http://schemas.openxmlformats.org/officeDocument/2006/relationships/tags" Target="../tags/tag297.xml"/><Relationship Id="rId242" Type="http://schemas.openxmlformats.org/officeDocument/2006/relationships/tags" Target="../tags/tag318.xml"/><Relationship Id="rId263" Type="http://schemas.openxmlformats.org/officeDocument/2006/relationships/tags" Target="../tags/tag339.xml"/><Relationship Id="rId37" Type="http://schemas.openxmlformats.org/officeDocument/2006/relationships/tags" Target="../tags/tag113.xml"/><Relationship Id="rId58" Type="http://schemas.openxmlformats.org/officeDocument/2006/relationships/tags" Target="../tags/tag134.xml"/><Relationship Id="rId79" Type="http://schemas.openxmlformats.org/officeDocument/2006/relationships/tags" Target="../tags/tag155.xml"/><Relationship Id="rId102" Type="http://schemas.openxmlformats.org/officeDocument/2006/relationships/tags" Target="../tags/tag178.xml"/><Relationship Id="rId123" Type="http://schemas.openxmlformats.org/officeDocument/2006/relationships/tags" Target="../tags/tag199.xml"/><Relationship Id="rId144" Type="http://schemas.openxmlformats.org/officeDocument/2006/relationships/tags" Target="../tags/tag220.xml"/><Relationship Id="rId90" Type="http://schemas.openxmlformats.org/officeDocument/2006/relationships/tags" Target="../tags/tag166.xml"/><Relationship Id="rId165" Type="http://schemas.openxmlformats.org/officeDocument/2006/relationships/tags" Target="../tags/tag241.xml"/><Relationship Id="rId186" Type="http://schemas.openxmlformats.org/officeDocument/2006/relationships/tags" Target="../tags/tag262.xml"/><Relationship Id="rId211" Type="http://schemas.openxmlformats.org/officeDocument/2006/relationships/tags" Target="../tags/tag287.xml"/><Relationship Id="rId232" Type="http://schemas.openxmlformats.org/officeDocument/2006/relationships/tags" Target="../tags/tag308.xml"/><Relationship Id="rId253" Type="http://schemas.openxmlformats.org/officeDocument/2006/relationships/tags" Target="../tags/tag329.xml"/><Relationship Id="rId274" Type="http://schemas.openxmlformats.org/officeDocument/2006/relationships/tags" Target="../tags/tag350.xml"/><Relationship Id="rId27" Type="http://schemas.openxmlformats.org/officeDocument/2006/relationships/tags" Target="../tags/tag103.xml"/><Relationship Id="rId48" Type="http://schemas.openxmlformats.org/officeDocument/2006/relationships/tags" Target="../tags/tag124.xml"/><Relationship Id="rId69" Type="http://schemas.openxmlformats.org/officeDocument/2006/relationships/tags" Target="../tags/tag145.xml"/><Relationship Id="rId113" Type="http://schemas.openxmlformats.org/officeDocument/2006/relationships/tags" Target="../tags/tag189.xml"/><Relationship Id="rId134" Type="http://schemas.openxmlformats.org/officeDocument/2006/relationships/tags" Target="../tags/tag210.xml"/><Relationship Id="rId80" Type="http://schemas.openxmlformats.org/officeDocument/2006/relationships/tags" Target="../tags/tag156.xml"/><Relationship Id="rId155" Type="http://schemas.openxmlformats.org/officeDocument/2006/relationships/tags" Target="../tags/tag231.xml"/><Relationship Id="rId176" Type="http://schemas.openxmlformats.org/officeDocument/2006/relationships/tags" Target="../tags/tag252.xml"/><Relationship Id="rId197" Type="http://schemas.openxmlformats.org/officeDocument/2006/relationships/tags" Target="../tags/tag273.xml"/><Relationship Id="rId201" Type="http://schemas.openxmlformats.org/officeDocument/2006/relationships/tags" Target="../tags/tag277.xml"/><Relationship Id="rId222" Type="http://schemas.openxmlformats.org/officeDocument/2006/relationships/tags" Target="../tags/tag298.xml"/><Relationship Id="rId243" Type="http://schemas.openxmlformats.org/officeDocument/2006/relationships/tags" Target="../tags/tag319.xml"/><Relationship Id="rId264" Type="http://schemas.openxmlformats.org/officeDocument/2006/relationships/tags" Target="../tags/tag340.xml"/><Relationship Id="rId17" Type="http://schemas.openxmlformats.org/officeDocument/2006/relationships/tags" Target="../tags/tag93.xml"/><Relationship Id="rId38" Type="http://schemas.openxmlformats.org/officeDocument/2006/relationships/tags" Target="../tags/tag114.xml"/><Relationship Id="rId59" Type="http://schemas.openxmlformats.org/officeDocument/2006/relationships/tags" Target="../tags/tag135.xml"/><Relationship Id="rId103" Type="http://schemas.openxmlformats.org/officeDocument/2006/relationships/tags" Target="../tags/tag179.xml"/><Relationship Id="rId124" Type="http://schemas.openxmlformats.org/officeDocument/2006/relationships/tags" Target="../tags/tag200.xml"/><Relationship Id="rId70" Type="http://schemas.openxmlformats.org/officeDocument/2006/relationships/tags" Target="../tags/tag146.xml"/><Relationship Id="rId91" Type="http://schemas.openxmlformats.org/officeDocument/2006/relationships/tags" Target="../tags/tag167.xml"/><Relationship Id="rId145" Type="http://schemas.openxmlformats.org/officeDocument/2006/relationships/tags" Target="../tags/tag221.xml"/><Relationship Id="rId166" Type="http://schemas.openxmlformats.org/officeDocument/2006/relationships/tags" Target="../tags/tag242.xml"/><Relationship Id="rId187" Type="http://schemas.openxmlformats.org/officeDocument/2006/relationships/tags" Target="../tags/tag263.xml"/><Relationship Id="rId1" Type="http://schemas.openxmlformats.org/officeDocument/2006/relationships/tags" Target="../tags/tag77.xml"/><Relationship Id="rId212" Type="http://schemas.openxmlformats.org/officeDocument/2006/relationships/tags" Target="../tags/tag288.xml"/><Relationship Id="rId233" Type="http://schemas.openxmlformats.org/officeDocument/2006/relationships/tags" Target="../tags/tag309.xml"/><Relationship Id="rId254" Type="http://schemas.openxmlformats.org/officeDocument/2006/relationships/tags" Target="../tags/tag330.xml"/><Relationship Id="rId28" Type="http://schemas.openxmlformats.org/officeDocument/2006/relationships/tags" Target="../tags/tag104.xml"/><Relationship Id="rId49" Type="http://schemas.openxmlformats.org/officeDocument/2006/relationships/tags" Target="../tags/tag125.xml"/><Relationship Id="rId114" Type="http://schemas.openxmlformats.org/officeDocument/2006/relationships/tags" Target="../tags/tag190.xml"/><Relationship Id="rId275" Type="http://schemas.openxmlformats.org/officeDocument/2006/relationships/slideLayout" Target="../slideLayouts/slideLayout14.xml"/><Relationship Id="rId60" Type="http://schemas.openxmlformats.org/officeDocument/2006/relationships/tags" Target="../tags/tag136.xml"/><Relationship Id="rId81" Type="http://schemas.openxmlformats.org/officeDocument/2006/relationships/tags" Target="../tags/tag157.xml"/><Relationship Id="rId135" Type="http://schemas.openxmlformats.org/officeDocument/2006/relationships/tags" Target="../tags/tag211.xml"/><Relationship Id="rId156" Type="http://schemas.openxmlformats.org/officeDocument/2006/relationships/tags" Target="../tags/tag232.xml"/><Relationship Id="rId177" Type="http://schemas.openxmlformats.org/officeDocument/2006/relationships/tags" Target="../tags/tag253.xml"/><Relationship Id="rId198" Type="http://schemas.openxmlformats.org/officeDocument/2006/relationships/tags" Target="../tags/tag274.xml"/><Relationship Id="rId202" Type="http://schemas.openxmlformats.org/officeDocument/2006/relationships/tags" Target="../tags/tag278.xml"/><Relationship Id="rId223" Type="http://schemas.openxmlformats.org/officeDocument/2006/relationships/tags" Target="../tags/tag299.xml"/><Relationship Id="rId244" Type="http://schemas.openxmlformats.org/officeDocument/2006/relationships/tags" Target="../tags/tag320.xml"/><Relationship Id="rId18" Type="http://schemas.openxmlformats.org/officeDocument/2006/relationships/tags" Target="../tags/tag94.xml"/><Relationship Id="rId39" Type="http://schemas.openxmlformats.org/officeDocument/2006/relationships/tags" Target="../tags/tag115.xml"/><Relationship Id="rId265" Type="http://schemas.openxmlformats.org/officeDocument/2006/relationships/tags" Target="../tags/tag341.xml"/><Relationship Id="rId50" Type="http://schemas.openxmlformats.org/officeDocument/2006/relationships/tags" Target="../tags/tag126.xml"/><Relationship Id="rId104" Type="http://schemas.openxmlformats.org/officeDocument/2006/relationships/tags" Target="../tags/tag180.xml"/><Relationship Id="rId125" Type="http://schemas.openxmlformats.org/officeDocument/2006/relationships/tags" Target="../tags/tag201.xml"/><Relationship Id="rId146" Type="http://schemas.openxmlformats.org/officeDocument/2006/relationships/tags" Target="../tags/tag222.xml"/><Relationship Id="rId167" Type="http://schemas.openxmlformats.org/officeDocument/2006/relationships/tags" Target="../tags/tag243.xml"/><Relationship Id="rId188" Type="http://schemas.openxmlformats.org/officeDocument/2006/relationships/tags" Target="../tags/tag264.xml"/><Relationship Id="rId71" Type="http://schemas.openxmlformats.org/officeDocument/2006/relationships/tags" Target="../tags/tag147.xml"/><Relationship Id="rId92" Type="http://schemas.openxmlformats.org/officeDocument/2006/relationships/tags" Target="../tags/tag168.xml"/><Relationship Id="rId213" Type="http://schemas.openxmlformats.org/officeDocument/2006/relationships/tags" Target="../tags/tag289.xml"/><Relationship Id="rId234" Type="http://schemas.openxmlformats.org/officeDocument/2006/relationships/tags" Target="../tags/tag310.xml"/><Relationship Id="rId2" Type="http://schemas.openxmlformats.org/officeDocument/2006/relationships/tags" Target="../tags/tag78.xml"/><Relationship Id="rId29" Type="http://schemas.openxmlformats.org/officeDocument/2006/relationships/tags" Target="../tags/tag105.xml"/><Relationship Id="rId255" Type="http://schemas.openxmlformats.org/officeDocument/2006/relationships/tags" Target="../tags/tag331.xml"/><Relationship Id="rId276" Type="http://schemas.openxmlformats.org/officeDocument/2006/relationships/image" Target="../media/image18.png"/><Relationship Id="rId40" Type="http://schemas.openxmlformats.org/officeDocument/2006/relationships/tags" Target="../tags/tag116.xml"/><Relationship Id="rId115" Type="http://schemas.openxmlformats.org/officeDocument/2006/relationships/tags" Target="../tags/tag191.xml"/><Relationship Id="rId136" Type="http://schemas.openxmlformats.org/officeDocument/2006/relationships/tags" Target="../tags/tag212.xml"/><Relationship Id="rId157" Type="http://schemas.openxmlformats.org/officeDocument/2006/relationships/tags" Target="../tags/tag233.xml"/><Relationship Id="rId178" Type="http://schemas.openxmlformats.org/officeDocument/2006/relationships/tags" Target="../tags/tag254.xml"/><Relationship Id="rId61" Type="http://schemas.openxmlformats.org/officeDocument/2006/relationships/tags" Target="../tags/tag137.xml"/><Relationship Id="rId82" Type="http://schemas.openxmlformats.org/officeDocument/2006/relationships/tags" Target="../tags/tag158.xml"/><Relationship Id="rId199" Type="http://schemas.openxmlformats.org/officeDocument/2006/relationships/tags" Target="../tags/tag275.xml"/><Relationship Id="rId203" Type="http://schemas.openxmlformats.org/officeDocument/2006/relationships/tags" Target="../tags/tag279.xml"/><Relationship Id="rId19" Type="http://schemas.openxmlformats.org/officeDocument/2006/relationships/tags" Target="../tags/tag95.xml"/><Relationship Id="rId224" Type="http://schemas.openxmlformats.org/officeDocument/2006/relationships/tags" Target="../tags/tag300.xml"/><Relationship Id="rId245" Type="http://schemas.openxmlformats.org/officeDocument/2006/relationships/tags" Target="../tags/tag321.xml"/><Relationship Id="rId266" Type="http://schemas.openxmlformats.org/officeDocument/2006/relationships/tags" Target="../tags/tag342.xml"/><Relationship Id="rId30" Type="http://schemas.openxmlformats.org/officeDocument/2006/relationships/tags" Target="../tags/tag106.xml"/><Relationship Id="rId105" Type="http://schemas.openxmlformats.org/officeDocument/2006/relationships/tags" Target="../tags/tag181.xml"/><Relationship Id="rId126" Type="http://schemas.openxmlformats.org/officeDocument/2006/relationships/tags" Target="../tags/tag202.xml"/><Relationship Id="rId147" Type="http://schemas.openxmlformats.org/officeDocument/2006/relationships/tags" Target="../tags/tag223.xml"/><Relationship Id="rId168" Type="http://schemas.openxmlformats.org/officeDocument/2006/relationships/tags" Target="../tags/tag244.xml"/><Relationship Id="rId51" Type="http://schemas.openxmlformats.org/officeDocument/2006/relationships/tags" Target="../tags/tag127.xml"/><Relationship Id="rId72" Type="http://schemas.openxmlformats.org/officeDocument/2006/relationships/tags" Target="../tags/tag148.xml"/><Relationship Id="rId93" Type="http://schemas.openxmlformats.org/officeDocument/2006/relationships/tags" Target="../tags/tag169.xml"/><Relationship Id="rId189" Type="http://schemas.openxmlformats.org/officeDocument/2006/relationships/tags" Target="../tags/tag265.xml"/><Relationship Id="rId3" Type="http://schemas.openxmlformats.org/officeDocument/2006/relationships/tags" Target="../tags/tag79.xml"/><Relationship Id="rId214" Type="http://schemas.openxmlformats.org/officeDocument/2006/relationships/tags" Target="../tags/tag290.xml"/><Relationship Id="rId235" Type="http://schemas.openxmlformats.org/officeDocument/2006/relationships/tags" Target="../tags/tag311.xml"/><Relationship Id="rId256" Type="http://schemas.openxmlformats.org/officeDocument/2006/relationships/tags" Target="../tags/tag332.xml"/><Relationship Id="rId277" Type="http://schemas.openxmlformats.org/officeDocument/2006/relationships/image" Target="../media/image19.wmf"/><Relationship Id="rId116" Type="http://schemas.openxmlformats.org/officeDocument/2006/relationships/tags" Target="../tags/tag192.xml"/><Relationship Id="rId137" Type="http://schemas.openxmlformats.org/officeDocument/2006/relationships/tags" Target="../tags/tag213.xml"/><Relationship Id="rId158" Type="http://schemas.openxmlformats.org/officeDocument/2006/relationships/tags" Target="../tags/tag234.xml"/><Relationship Id="rId20" Type="http://schemas.openxmlformats.org/officeDocument/2006/relationships/tags" Target="../tags/tag96.xml"/><Relationship Id="rId41" Type="http://schemas.openxmlformats.org/officeDocument/2006/relationships/tags" Target="../tags/tag117.xml"/><Relationship Id="rId62" Type="http://schemas.openxmlformats.org/officeDocument/2006/relationships/tags" Target="../tags/tag138.xml"/><Relationship Id="rId83" Type="http://schemas.openxmlformats.org/officeDocument/2006/relationships/tags" Target="../tags/tag159.xml"/><Relationship Id="rId179" Type="http://schemas.openxmlformats.org/officeDocument/2006/relationships/tags" Target="../tags/tag255.xml"/><Relationship Id="rId190" Type="http://schemas.openxmlformats.org/officeDocument/2006/relationships/tags" Target="../tags/tag266.xml"/><Relationship Id="rId204" Type="http://schemas.openxmlformats.org/officeDocument/2006/relationships/tags" Target="../tags/tag280.xml"/><Relationship Id="rId225" Type="http://schemas.openxmlformats.org/officeDocument/2006/relationships/tags" Target="../tags/tag301.xml"/><Relationship Id="rId246" Type="http://schemas.openxmlformats.org/officeDocument/2006/relationships/tags" Target="../tags/tag322.xml"/><Relationship Id="rId267" Type="http://schemas.openxmlformats.org/officeDocument/2006/relationships/tags" Target="../tags/tag343.xml"/><Relationship Id="rId106" Type="http://schemas.openxmlformats.org/officeDocument/2006/relationships/tags" Target="../tags/tag182.xml"/><Relationship Id="rId127" Type="http://schemas.openxmlformats.org/officeDocument/2006/relationships/tags" Target="../tags/tag203.xml"/><Relationship Id="rId10" Type="http://schemas.openxmlformats.org/officeDocument/2006/relationships/tags" Target="../tags/tag86.xml"/><Relationship Id="rId31" Type="http://schemas.openxmlformats.org/officeDocument/2006/relationships/tags" Target="../tags/tag107.xml"/><Relationship Id="rId52" Type="http://schemas.openxmlformats.org/officeDocument/2006/relationships/tags" Target="../tags/tag128.xml"/><Relationship Id="rId73" Type="http://schemas.openxmlformats.org/officeDocument/2006/relationships/tags" Target="../tags/tag149.xml"/><Relationship Id="rId94" Type="http://schemas.openxmlformats.org/officeDocument/2006/relationships/tags" Target="../tags/tag170.xml"/><Relationship Id="rId148" Type="http://schemas.openxmlformats.org/officeDocument/2006/relationships/tags" Target="../tags/tag224.xml"/><Relationship Id="rId169" Type="http://schemas.openxmlformats.org/officeDocument/2006/relationships/tags" Target="../tags/tag245.xml"/><Relationship Id="rId4" Type="http://schemas.openxmlformats.org/officeDocument/2006/relationships/tags" Target="../tags/tag80.xml"/><Relationship Id="rId180" Type="http://schemas.openxmlformats.org/officeDocument/2006/relationships/tags" Target="../tags/tag256.xml"/><Relationship Id="rId215" Type="http://schemas.openxmlformats.org/officeDocument/2006/relationships/tags" Target="../tags/tag291.xml"/><Relationship Id="rId236" Type="http://schemas.openxmlformats.org/officeDocument/2006/relationships/tags" Target="../tags/tag312.xml"/><Relationship Id="rId257" Type="http://schemas.openxmlformats.org/officeDocument/2006/relationships/tags" Target="../tags/tag333.xml"/><Relationship Id="rId278" Type="http://schemas.openxmlformats.org/officeDocument/2006/relationships/image" Target="../media/image20.emf"/><Relationship Id="rId42" Type="http://schemas.openxmlformats.org/officeDocument/2006/relationships/tags" Target="../tags/tag118.xml"/><Relationship Id="rId84" Type="http://schemas.openxmlformats.org/officeDocument/2006/relationships/tags" Target="../tags/tag160.xml"/><Relationship Id="rId138" Type="http://schemas.openxmlformats.org/officeDocument/2006/relationships/tags" Target="../tags/tag214.xml"/><Relationship Id="rId191" Type="http://schemas.openxmlformats.org/officeDocument/2006/relationships/tags" Target="../tags/tag267.xml"/><Relationship Id="rId205" Type="http://schemas.openxmlformats.org/officeDocument/2006/relationships/tags" Target="../tags/tag281.xml"/><Relationship Id="rId247" Type="http://schemas.openxmlformats.org/officeDocument/2006/relationships/tags" Target="../tags/tag323.xml"/><Relationship Id="rId107" Type="http://schemas.openxmlformats.org/officeDocument/2006/relationships/tags" Target="../tags/tag183.xml"/><Relationship Id="rId11" Type="http://schemas.openxmlformats.org/officeDocument/2006/relationships/tags" Target="../tags/tag87.xml"/><Relationship Id="rId53" Type="http://schemas.openxmlformats.org/officeDocument/2006/relationships/tags" Target="../tags/tag129.xml"/><Relationship Id="rId149" Type="http://schemas.openxmlformats.org/officeDocument/2006/relationships/tags" Target="../tags/tag225.xml"/><Relationship Id="rId95" Type="http://schemas.openxmlformats.org/officeDocument/2006/relationships/tags" Target="../tags/tag171.xml"/><Relationship Id="rId160" Type="http://schemas.openxmlformats.org/officeDocument/2006/relationships/tags" Target="../tags/tag236.xml"/><Relationship Id="rId216" Type="http://schemas.openxmlformats.org/officeDocument/2006/relationships/tags" Target="../tags/tag29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1.xml"/><Relationship Id="rId1" Type="http://schemas.openxmlformats.org/officeDocument/2006/relationships/tags" Target="../tags/tag351.xml"/><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9.xml"/><Relationship Id="rId1" Type="http://schemas.openxmlformats.org/officeDocument/2006/relationships/slideLayout" Target="../slideLayouts/slideLayout12.xml"/><Relationship Id="rId4" Type="http://schemas.openxmlformats.org/officeDocument/2006/relationships/image" Target="../media/image9.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xml"/><Relationship Id="rId1" Type="http://schemas.openxmlformats.org/officeDocument/2006/relationships/tags" Target="../tags/tag352.xml"/><Relationship Id="rId4" Type="http://schemas.openxmlformats.org/officeDocument/2006/relationships/image" Target="../media/image9.png"/></Relationships>
</file>

<file path=ppt/slides/_rels/slide23.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9.png"/></Relationships>
</file>

<file path=ppt/slides/_rels/slide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54.xml"/><Relationship Id="rId1" Type="http://schemas.openxmlformats.org/officeDocument/2006/relationships/tags" Target="../tags/tag353.xml"/><Relationship Id="rId5" Type="http://schemas.openxmlformats.org/officeDocument/2006/relationships/image" Target="../media/image9.png"/><Relationship Id="rId4" Type="http://schemas.openxmlformats.org/officeDocument/2006/relationships/notesSlide" Target="../notesSlides/notesSlide24.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56.xml"/><Relationship Id="rId1" Type="http://schemas.openxmlformats.org/officeDocument/2006/relationships/tags" Target="../tags/tag355.xml"/><Relationship Id="rId5" Type="http://schemas.openxmlformats.org/officeDocument/2006/relationships/image" Target="../media/image9.png"/><Relationship Id="rId4" Type="http://schemas.openxmlformats.org/officeDocument/2006/relationships/notesSlide" Target="../notesSlides/notesSlide25.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58.xml"/><Relationship Id="rId1" Type="http://schemas.openxmlformats.org/officeDocument/2006/relationships/tags" Target="../tags/tag357.xml"/><Relationship Id="rId5" Type="http://schemas.openxmlformats.org/officeDocument/2006/relationships/image" Target="../media/image9.png"/><Relationship Id="rId4" Type="http://schemas.openxmlformats.org/officeDocument/2006/relationships/notesSlide" Target="../notesSlides/notesSlide26.xml"/></Relationships>
</file>

<file path=ppt/slides/_rels/slide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60.xml"/><Relationship Id="rId1" Type="http://schemas.openxmlformats.org/officeDocument/2006/relationships/tags" Target="../tags/tag359.xml"/><Relationship Id="rId5" Type="http://schemas.openxmlformats.org/officeDocument/2006/relationships/image" Target="../media/image9.png"/><Relationship Id="rId4" Type="http://schemas.openxmlformats.org/officeDocument/2006/relationships/notesSlide" Target="../notesSlides/notesSlide28.xml"/></Relationships>
</file>

<file path=ppt/slides/_rels/slide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62.xml"/><Relationship Id="rId1" Type="http://schemas.openxmlformats.org/officeDocument/2006/relationships/tags" Target="../tags/tag361.xml"/><Relationship Id="rId5" Type="http://schemas.openxmlformats.org/officeDocument/2006/relationships/image" Target="../media/image9.png"/><Relationship Id="rId4" Type="http://schemas.openxmlformats.org/officeDocument/2006/relationships/notesSlide" Target="../notesSlides/notesSlide30.xml"/></Relationships>
</file>

<file path=ppt/slides/_rels/slide33.xml.rels><?xml version="1.0" encoding="UTF-8" standalone="yes"?>
<Relationships xmlns="http://schemas.openxmlformats.org/package/2006/relationships"><Relationship Id="rId3" Type="http://schemas.openxmlformats.org/officeDocument/2006/relationships/tags" Target="../tags/tag365.xml"/><Relationship Id="rId7" Type="http://schemas.openxmlformats.org/officeDocument/2006/relationships/image" Target="../media/image9.png"/><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notesSlide" Target="../notesSlides/notesSlide31.xml"/><Relationship Id="rId5" Type="http://schemas.openxmlformats.org/officeDocument/2006/relationships/slideLayout" Target="../slideLayouts/slideLayout13.xml"/><Relationship Id="rId4" Type="http://schemas.openxmlformats.org/officeDocument/2006/relationships/tags" Target="../tags/tag366.xml"/></Relationships>
</file>

<file path=ppt/slides/_rels/slide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5.xml"/><Relationship Id="rId7" Type="http://schemas.openxmlformats.org/officeDocument/2006/relationships/image" Target="../media/image12.emf"/><Relationship Id="rId2" Type="http://schemas.openxmlformats.org/officeDocument/2006/relationships/slideLayout" Target="../slideLayouts/slideLayout10.xml"/><Relationship Id="rId1" Type="http://schemas.openxmlformats.org/officeDocument/2006/relationships/vmlDrawing" Target="../drawings/vmlDrawing11.vml"/><Relationship Id="rId6" Type="http://schemas.openxmlformats.org/officeDocument/2006/relationships/oleObject" Target="../embeddings/Feuille_Microsoft_Excel_97-20032.xls"/><Relationship Id="rId5" Type="http://schemas.openxmlformats.org/officeDocument/2006/relationships/image" Target="../media/image11.emf"/><Relationship Id="rId4" Type="http://schemas.openxmlformats.org/officeDocument/2006/relationships/oleObject" Target="../embeddings/Feuille_Microsoft_Excel_97-20031.xls"/></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0.xml"/><Relationship Id="rId5" Type="http://schemas.openxmlformats.org/officeDocument/2006/relationships/image" Target="../media/image9.png"/><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7.xml"/><Relationship Id="rId7" Type="http://schemas.openxmlformats.org/officeDocument/2006/relationships/image" Target="../media/image14.emf"/><Relationship Id="rId2" Type="http://schemas.openxmlformats.org/officeDocument/2006/relationships/slideLayout" Target="../slideLayouts/slideLayout10.xml"/><Relationship Id="rId1" Type="http://schemas.openxmlformats.org/officeDocument/2006/relationships/vmlDrawing" Target="../drawings/vmlDrawing12.vml"/><Relationship Id="rId6" Type="http://schemas.openxmlformats.org/officeDocument/2006/relationships/oleObject" Target="../embeddings/Feuille_Microsoft_Excel_97-20034.xls"/><Relationship Id="rId5" Type="http://schemas.openxmlformats.org/officeDocument/2006/relationships/image" Target="../media/image13.emf"/><Relationship Id="rId4" Type="http://schemas.openxmlformats.org/officeDocument/2006/relationships/oleObject" Target="../embeddings/Feuille_Microsoft_Excel_97-20033.xls"/></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10.xml"/><Relationship Id="rId5" Type="http://schemas.openxmlformats.org/officeDocument/2006/relationships/image" Target="../media/image9.png"/><Relationship Id="rId4" Type="http://schemas.openxmlformats.org/officeDocument/2006/relationships/chart" Target="../charts/chart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9.png"/><Relationship Id="rId2" Type="http://schemas.openxmlformats.org/officeDocument/2006/relationships/slideLayout" Target="../slideLayouts/slideLayout10.xml"/><Relationship Id="rId1" Type="http://schemas.openxmlformats.org/officeDocument/2006/relationships/vmlDrawing" Target="../drawings/vmlDrawing13.vml"/><Relationship Id="rId6" Type="http://schemas.openxmlformats.org/officeDocument/2006/relationships/chart" Target="../charts/chart5.xml"/><Relationship Id="rId5" Type="http://schemas.openxmlformats.org/officeDocument/2006/relationships/image" Target="../media/image15.emf"/><Relationship Id="rId4" Type="http://schemas.openxmlformats.org/officeDocument/2006/relationships/oleObject" Target="../embeddings/Feuille_Microsoft_Excel_97-20035.xls"/></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458" name="Rectangle 3"/>
          <p:cNvSpPr>
            <a:spLocks noGrp="1" noChangeArrowheads="1"/>
          </p:cNvSpPr>
          <p:nvPr>
            <p:ph type="ctrTitle" idx="4294967295"/>
          </p:nvPr>
        </p:nvSpPr>
        <p:spPr>
          <a:xfrm>
            <a:off x="641438" y="1774208"/>
            <a:ext cx="8659239" cy="3916908"/>
          </a:xfrm>
          <a:solidFill>
            <a:srgbClr val="C0C0C0"/>
          </a:solidFill>
        </p:spPr>
        <p:txBody>
          <a:bodyPr anchor="b"/>
          <a:lstStyle/>
          <a:p>
            <a:pPr algn="ctr"/>
            <a:r>
              <a:rPr lang="fr-FR" altLang="fr-FR" sz="3600" dirty="0" smtClean="0">
                <a:solidFill>
                  <a:srgbClr val="000099"/>
                </a:solidFill>
                <a:latin typeface="Arial" charset="0"/>
                <a:cs typeface="Arial" charset="0"/>
              </a:rPr>
              <a:t/>
            </a:r>
            <a:br>
              <a:rPr lang="fr-FR" altLang="fr-FR" sz="3600" dirty="0" smtClean="0">
                <a:solidFill>
                  <a:srgbClr val="000099"/>
                </a:solidFill>
                <a:latin typeface="Arial" charset="0"/>
                <a:cs typeface="Arial" charset="0"/>
              </a:rPr>
            </a:br>
            <a:r>
              <a:rPr lang="fr-FR" altLang="fr-FR" sz="3600" dirty="0">
                <a:solidFill>
                  <a:srgbClr val="000099"/>
                </a:solidFill>
                <a:latin typeface="Arial" charset="0"/>
                <a:cs typeface="Arial" charset="0"/>
              </a:rPr>
              <a:t/>
            </a:r>
            <a:br>
              <a:rPr lang="fr-FR" altLang="fr-FR" sz="3600" dirty="0">
                <a:solidFill>
                  <a:srgbClr val="000099"/>
                </a:solidFill>
                <a:latin typeface="Arial" charset="0"/>
                <a:cs typeface="Arial" charset="0"/>
              </a:rPr>
            </a:br>
            <a:r>
              <a:rPr lang="fr-FR" altLang="fr-FR" sz="3600" dirty="0" smtClean="0">
                <a:solidFill>
                  <a:srgbClr val="000099"/>
                </a:solidFill>
                <a:latin typeface="Arial" charset="0"/>
                <a:cs typeface="Arial" charset="0"/>
              </a:rPr>
              <a:t/>
            </a:r>
            <a:br>
              <a:rPr lang="fr-FR" altLang="fr-FR" sz="3600" dirty="0" smtClean="0">
                <a:solidFill>
                  <a:srgbClr val="000099"/>
                </a:solidFill>
                <a:latin typeface="Arial" charset="0"/>
                <a:cs typeface="Arial" charset="0"/>
              </a:rPr>
            </a:br>
            <a:r>
              <a:rPr lang="fr-FR" altLang="fr-FR" sz="3600" dirty="0">
                <a:solidFill>
                  <a:srgbClr val="000099"/>
                </a:solidFill>
                <a:latin typeface="Arial" charset="0"/>
                <a:cs typeface="Arial" charset="0"/>
              </a:rPr>
              <a:t/>
            </a:r>
            <a:br>
              <a:rPr lang="fr-FR" altLang="fr-FR" sz="3600" dirty="0">
                <a:solidFill>
                  <a:srgbClr val="000099"/>
                </a:solidFill>
                <a:latin typeface="Arial" charset="0"/>
                <a:cs typeface="Arial" charset="0"/>
              </a:rPr>
            </a:br>
            <a:r>
              <a:rPr lang="fr-FR" altLang="fr-FR" sz="3600" dirty="0" smtClean="0">
                <a:solidFill>
                  <a:srgbClr val="000099"/>
                </a:solidFill>
                <a:latin typeface="Arial" charset="0"/>
                <a:cs typeface="Arial" charset="0"/>
              </a:rPr>
              <a:t/>
            </a:r>
            <a:br>
              <a:rPr lang="fr-FR" altLang="fr-FR" sz="3600" dirty="0" smtClean="0">
                <a:solidFill>
                  <a:srgbClr val="000099"/>
                </a:solidFill>
                <a:latin typeface="Arial" charset="0"/>
                <a:cs typeface="Arial" charset="0"/>
              </a:rPr>
            </a:br>
            <a:r>
              <a:rPr lang="fr-FR" altLang="fr-FR" sz="3600" dirty="0" smtClean="0">
                <a:solidFill>
                  <a:srgbClr val="000099"/>
                </a:solidFill>
                <a:latin typeface="Arial" charset="0"/>
                <a:cs typeface="Arial" charset="0"/>
              </a:rPr>
              <a:t/>
            </a:r>
            <a:br>
              <a:rPr lang="fr-FR" altLang="fr-FR" sz="3600" dirty="0" smtClean="0">
                <a:solidFill>
                  <a:srgbClr val="000099"/>
                </a:solidFill>
                <a:latin typeface="Arial" charset="0"/>
                <a:cs typeface="Arial" charset="0"/>
              </a:rPr>
            </a:br>
            <a:r>
              <a:rPr lang="fr-FR" altLang="fr-FR" sz="3600" dirty="0">
                <a:solidFill>
                  <a:srgbClr val="000099"/>
                </a:solidFill>
                <a:latin typeface="Arial" charset="0"/>
                <a:cs typeface="Arial" charset="0"/>
              </a:rPr>
              <a:t/>
            </a:r>
            <a:br>
              <a:rPr lang="fr-FR" altLang="fr-FR" sz="3600" dirty="0">
                <a:solidFill>
                  <a:srgbClr val="000099"/>
                </a:solidFill>
                <a:latin typeface="Arial" charset="0"/>
                <a:cs typeface="Arial" charset="0"/>
              </a:rPr>
            </a:br>
            <a:r>
              <a:rPr lang="fr-FR" altLang="fr-FR" sz="3600" dirty="0" smtClean="0">
                <a:solidFill>
                  <a:srgbClr val="000099"/>
                </a:solidFill>
                <a:latin typeface="Arial" charset="0"/>
                <a:cs typeface="Arial" charset="0"/>
              </a:rPr>
              <a:t/>
            </a:r>
            <a:br>
              <a:rPr lang="fr-FR" altLang="fr-FR" sz="3600" dirty="0" smtClean="0">
                <a:solidFill>
                  <a:srgbClr val="000099"/>
                </a:solidFill>
                <a:latin typeface="Arial" charset="0"/>
                <a:cs typeface="Arial" charset="0"/>
              </a:rPr>
            </a:br>
            <a:r>
              <a:rPr lang="fr-FR" altLang="fr-FR" sz="3600" dirty="0">
                <a:solidFill>
                  <a:srgbClr val="000099"/>
                </a:solidFill>
                <a:latin typeface="Arial" charset="0"/>
                <a:cs typeface="Arial" charset="0"/>
              </a:rPr>
              <a:t/>
            </a:r>
            <a:br>
              <a:rPr lang="fr-FR" altLang="fr-FR" sz="3600" dirty="0">
                <a:solidFill>
                  <a:srgbClr val="000099"/>
                </a:solidFill>
                <a:latin typeface="Arial" charset="0"/>
                <a:cs typeface="Arial" charset="0"/>
              </a:rPr>
            </a:br>
            <a:r>
              <a:rPr lang="fr-FR" sz="2800" dirty="0" smtClean="0"/>
              <a:t>Atelier d’AREGNET :</a:t>
            </a:r>
            <a:br>
              <a:rPr lang="fr-FR" sz="2800" dirty="0" smtClean="0"/>
            </a:br>
            <a:r>
              <a:rPr lang="fr-FR" sz="2800" i="1" dirty="0" smtClean="0"/>
              <a:t>Meilleures </a:t>
            </a:r>
            <a:r>
              <a:rPr lang="fr-FR" sz="2800" i="1" dirty="0"/>
              <a:t>pratiques pour un déploiement réussi du large bande dans le monde arabe</a:t>
            </a:r>
            <a:r>
              <a:rPr lang="fr-FR" sz="2800" dirty="0"/>
              <a:t/>
            </a:r>
            <a:br>
              <a:rPr lang="fr-FR" sz="2800" dirty="0"/>
            </a:br>
            <a:r>
              <a:rPr lang="fr-FR" sz="2800" dirty="0" smtClean="0"/>
              <a:t/>
            </a:r>
            <a:br>
              <a:rPr lang="fr-FR" sz="2800" dirty="0" smtClean="0"/>
            </a:br>
            <a:r>
              <a:rPr lang="fr-FR" altLang="fr-FR" sz="3600" dirty="0" smtClean="0">
                <a:solidFill>
                  <a:srgbClr val="000099"/>
                </a:solidFill>
                <a:latin typeface="Arial" charset="0"/>
                <a:cs typeface="Arial" charset="0"/>
              </a:rPr>
              <a:t/>
            </a:r>
            <a:br>
              <a:rPr lang="fr-FR" altLang="fr-FR" sz="3600" dirty="0" smtClean="0">
                <a:solidFill>
                  <a:srgbClr val="000099"/>
                </a:solidFill>
                <a:latin typeface="Arial" charset="0"/>
                <a:cs typeface="Arial" charset="0"/>
              </a:rPr>
            </a:br>
            <a:r>
              <a:rPr lang="fr-FR" altLang="fr-FR" sz="3400" dirty="0" smtClean="0">
                <a:solidFill>
                  <a:srgbClr val="000099"/>
                </a:solidFill>
                <a:latin typeface="Arial" charset="0"/>
                <a:cs typeface="Arial" charset="0"/>
              </a:rPr>
              <a:t>Cas du Maroc : Plan national pour le déploiement du Haut et du très haut débit</a:t>
            </a:r>
            <a:br>
              <a:rPr lang="fr-FR" altLang="fr-FR" sz="3400" dirty="0" smtClean="0">
                <a:solidFill>
                  <a:srgbClr val="000099"/>
                </a:solidFill>
                <a:latin typeface="Arial" charset="0"/>
                <a:cs typeface="Arial" charset="0"/>
              </a:rPr>
            </a:br>
            <a:endParaRPr lang="fr-FR" altLang="fr-FR" sz="3400" dirty="0" smtClean="0">
              <a:solidFill>
                <a:srgbClr val="C00000"/>
              </a:solidFill>
              <a:latin typeface="Arial" charset="0"/>
              <a:cs typeface="Arial" charset="0"/>
            </a:endParaRPr>
          </a:p>
        </p:txBody>
      </p:sp>
      <p:pic>
        <p:nvPicPr>
          <p:cNvPr id="3" name="Image 2"/>
          <p:cNvPicPr/>
          <p:nvPr/>
        </p:nvPicPr>
        <p:blipFill>
          <a:blip r:embed="rId3">
            <a:extLst>
              <a:ext uri="{28A0092B-C50C-407E-A947-70E740481C1C}">
                <a14:useLocalDpi xmlns:a14="http://schemas.microsoft.com/office/drawing/2010/main" val="0"/>
              </a:ext>
            </a:extLst>
          </a:blip>
          <a:srcRect/>
          <a:stretch>
            <a:fillRect/>
          </a:stretch>
        </p:blipFill>
        <p:spPr bwMode="auto">
          <a:xfrm>
            <a:off x="4517406" y="1"/>
            <a:ext cx="1321558" cy="1146412"/>
          </a:xfrm>
          <a:prstGeom prst="rect">
            <a:avLst/>
          </a:prstGeom>
          <a:noFill/>
        </p:spPr>
      </p:pic>
      <p:pic>
        <p:nvPicPr>
          <p:cNvPr id="4" name="Image 3" descr="ITU logo-07"/>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30101" y="0"/>
            <a:ext cx="1094675" cy="1146413"/>
          </a:xfrm>
          <a:prstGeom prst="rect">
            <a:avLst/>
          </a:prstGeom>
          <a:noFill/>
          <a:ln>
            <a:noFill/>
          </a:ln>
        </p:spPr>
      </p:pic>
    </p:spTree>
    <p:extLst>
      <p:ext uri="{BB962C8B-B14F-4D97-AF65-F5344CB8AC3E}">
        <p14:creationId xmlns:p14="http://schemas.microsoft.com/office/powerpoint/2010/main" val="1027664"/>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ext Box 7"/>
          <p:cNvSpPr txBox="1">
            <a:spLocks noChangeArrowheads="1"/>
          </p:cNvSpPr>
          <p:nvPr/>
        </p:nvSpPr>
        <p:spPr bwMode="auto">
          <a:xfrm>
            <a:off x="2321719" y="428626"/>
            <a:ext cx="6153541" cy="436563"/>
          </a:xfrm>
          <a:prstGeom prst="rect">
            <a:avLst/>
          </a:prstGeom>
          <a:solidFill>
            <a:srgbClr val="C0C0C0"/>
          </a:solidFill>
          <a:ln w="9525">
            <a:solidFill>
              <a:schemeClr val="tx1"/>
            </a:solidFill>
            <a:miter lim="800000"/>
            <a:headEnd/>
            <a:tailEnd/>
          </a:ln>
        </p:spPr>
        <p:txBody>
          <a:bodyPr wrap="square" lIns="91430" tIns="45716" rIns="91430" bIns="45716">
            <a:spAutoFit/>
          </a:bodyPr>
          <a:lstStyle>
            <a:lvl1pPr defTabSz="912813" eaLnBrk="0" hangingPunct="0">
              <a:defRPr>
                <a:solidFill>
                  <a:schemeClr val="tx1"/>
                </a:solidFill>
                <a:latin typeface="Book Antiqua" pitchFamily="18" charset="0"/>
                <a:cs typeface="Arial" charset="0"/>
              </a:defRPr>
            </a:lvl1pPr>
            <a:lvl2pPr marL="742950" indent="-285750" defTabSz="912813" eaLnBrk="0" hangingPunct="0">
              <a:defRPr>
                <a:solidFill>
                  <a:schemeClr val="tx1"/>
                </a:solidFill>
                <a:latin typeface="Book Antiqua" pitchFamily="18" charset="0"/>
                <a:cs typeface="Arial" charset="0"/>
              </a:defRPr>
            </a:lvl2pPr>
            <a:lvl3pPr marL="1143000" indent="-228600" defTabSz="912813" eaLnBrk="0" hangingPunct="0">
              <a:defRPr>
                <a:solidFill>
                  <a:schemeClr val="tx1"/>
                </a:solidFill>
                <a:latin typeface="Book Antiqua" pitchFamily="18" charset="0"/>
                <a:cs typeface="Arial" charset="0"/>
              </a:defRPr>
            </a:lvl3pPr>
            <a:lvl4pPr marL="1600200" indent="-228600" defTabSz="912813" eaLnBrk="0" hangingPunct="0">
              <a:defRPr>
                <a:solidFill>
                  <a:schemeClr val="tx1"/>
                </a:solidFill>
                <a:latin typeface="Book Antiqua" pitchFamily="18" charset="0"/>
                <a:cs typeface="Arial" charset="0"/>
              </a:defRPr>
            </a:lvl4pPr>
            <a:lvl5pPr marL="2057400" indent="-228600" defTabSz="912813" eaLnBrk="0" hangingPunct="0">
              <a:defRPr>
                <a:solidFill>
                  <a:schemeClr val="tx1"/>
                </a:solidFill>
                <a:latin typeface="Book Antiqua" pitchFamily="18" charset="0"/>
                <a:cs typeface="Arial" charset="0"/>
              </a:defRPr>
            </a:lvl5pPr>
            <a:lvl6pPr marL="2514600" indent="-228600" defTabSz="912813" eaLnBrk="0" fontAlgn="base" hangingPunct="0">
              <a:spcBef>
                <a:spcPct val="0"/>
              </a:spcBef>
              <a:spcAft>
                <a:spcPct val="0"/>
              </a:spcAft>
              <a:defRPr>
                <a:solidFill>
                  <a:schemeClr val="tx1"/>
                </a:solidFill>
                <a:latin typeface="Book Antiqua" pitchFamily="18" charset="0"/>
                <a:cs typeface="Arial" charset="0"/>
              </a:defRPr>
            </a:lvl6pPr>
            <a:lvl7pPr marL="2971800" indent="-228600" defTabSz="912813" eaLnBrk="0" fontAlgn="base" hangingPunct="0">
              <a:spcBef>
                <a:spcPct val="0"/>
              </a:spcBef>
              <a:spcAft>
                <a:spcPct val="0"/>
              </a:spcAft>
              <a:defRPr>
                <a:solidFill>
                  <a:schemeClr val="tx1"/>
                </a:solidFill>
                <a:latin typeface="Book Antiqua" pitchFamily="18" charset="0"/>
                <a:cs typeface="Arial" charset="0"/>
              </a:defRPr>
            </a:lvl7pPr>
            <a:lvl8pPr marL="3429000" indent="-228600" defTabSz="912813" eaLnBrk="0" fontAlgn="base" hangingPunct="0">
              <a:spcBef>
                <a:spcPct val="0"/>
              </a:spcBef>
              <a:spcAft>
                <a:spcPct val="0"/>
              </a:spcAft>
              <a:defRPr>
                <a:solidFill>
                  <a:schemeClr val="tx1"/>
                </a:solidFill>
                <a:latin typeface="Book Antiqua" pitchFamily="18" charset="0"/>
                <a:cs typeface="Arial" charset="0"/>
              </a:defRPr>
            </a:lvl8pPr>
            <a:lvl9pPr marL="3886200" indent="-228600" defTabSz="912813" eaLnBrk="0" fontAlgn="base" hangingPunct="0">
              <a:spcBef>
                <a:spcPct val="0"/>
              </a:spcBef>
              <a:spcAft>
                <a:spcPct val="0"/>
              </a:spcAft>
              <a:defRPr>
                <a:solidFill>
                  <a:schemeClr val="tx1"/>
                </a:solidFill>
                <a:latin typeface="Book Antiqua" pitchFamily="18" charset="0"/>
                <a:cs typeface="Arial" charset="0"/>
              </a:defRPr>
            </a:lvl9pPr>
          </a:lstStyle>
          <a:p>
            <a:pPr algn="ctr" eaLnBrk="1" hangingPunct="1">
              <a:spcBef>
                <a:spcPct val="50000"/>
              </a:spcBef>
            </a:pPr>
            <a:r>
              <a:rPr lang="fr-FR" altLang="fr-FR" sz="2200" b="1" i="1">
                <a:solidFill>
                  <a:srgbClr val="0560E5"/>
                </a:solidFill>
                <a:latin typeface="Century Gothic" pitchFamily="34" charset="0"/>
              </a:rPr>
              <a:t>Facture Internet mensuelle par client</a:t>
            </a:r>
            <a:endParaRPr lang="fr-FR" altLang="fr-FR" sz="1600" b="1" i="1">
              <a:solidFill>
                <a:srgbClr val="0560E5"/>
              </a:solidFill>
              <a:latin typeface="Century Gothic" pitchFamily="34" charset="0"/>
            </a:endParaRPr>
          </a:p>
        </p:txBody>
      </p:sp>
      <p:sp>
        <p:nvSpPr>
          <p:cNvPr id="11" name="Rectangle 2"/>
          <p:cNvSpPr>
            <a:spLocks noChangeArrowheads="1"/>
          </p:cNvSpPr>
          <p:nvPr/>
        </p:nvSpPr>
        <p:spPr bwMode="auto">
          <a:xfrm>
            <a:off x="551058" y="5117963"/>
            <a:ext cx="9049544" cy="1323439"/>
          </a:xfrm>
          <a:prstGeom prst="rect">
            <a:avLst/>
          </a:prstGeom>
          <a:noFill/>
          <a:ln w="9525">
            <a:noFill/>
            <a:miter lim="800000"/>
            <a:headEnd/>
            <a:tailEnd/>
          </a:ln>
        </p:spPr>
        <p:txBody>
          <a:bodyPr>
            <a:spAutoFit/>
          </a:bodyPr>
          <a:lstStyle/>
          <a:p>
            <a:pPr marL="285750" indent="-285750" algn="just">
              <a:buFont typeface="Arial" pitchFamily="34" charset="0"/>
              <a:buChar char="•"/>
              <a:defRPr/>
            </a:pPr>
            <a:r>
              <a:rPr lang="fr-FR" sz="1600" b="1" kern="0" dirty="0">
                <a:solidFill>
                  <a:srgbClr val="000099"/>
                </a:solidFill>
                <a:latin typeface="Century Gothic" pitchFamily="34" charset="0"/>
                <a:ea typeface="굴림" pitchFamily="34" charset="-127"/>
                <a:cs typeface="+mn-cs"/>
              </a:rPr>
              <a:t>Sur la période 2008- </a:t>
            </a:r>
            <a:r>
              <a:rPr lang="fr-FR" sz="1600" b="1" kern="0" dirty="0" smtClean="0">
                <a:solidFill>
                  <a:srgbClr val="000099"/>
                </a:solidFill>
                <a:latin typeface="Century Gothic" pitchFamily="34" charset="0"/>
                <a:ea typeface="굴림" pitchFamily="34" charset="-127"/>
                <a:cs typeface="+mn-cs"/>
              </a:rPr>
              <a:t>2013 </a:t>
            </a:r>
            <a:r>
              <a:rPr lang="fr-FR" sz="1600" b="1" kern="0" dirty="0">
                <a:solidFill>
                  <a:srgbClr val="000099"/>
                </a:solidFill>
                <a:latin typeface="Century Gothic" pitchFamily="34" charset="0"/>
                <a:ea typeface="굴림" pitchFamily="34" charset="-127"/>
                <a:cs typeface="+mn-cs"/>
              </a:rPr>
              <a:t>: la facture mensuelle moyenne par abonné Internet a enregistré une baisse de </a:t>
            </a:r>
            <a:r>
              <a:rPr lang="fr-FR" sz="1600" b="1" kern="0" dirty="0" smtClean="0">
                <a:solidFill>
                  <a:srgbClr val="000099"/>
                </a:solidFill>
                <a:latin typeface="Century Gothic" pitchFamily="34" charset="0"/>
                <a:ea typeface="굴림" pitchFamily="34" charset="-127"/>
                <a:cs typeface="+mn-cs"/>
              </a:rPr>
              <a:t>76,7%.</a:t>
            </a:r>
            <a:r>
              <a:rPr lang="fr-FR" sz="1600" b="1" kern="0" dirty="0">
                <a:solidFill>
                  <a:srgbClr val="000099"/>
                </a:solidFill>
                <a:latin typeface="Century Gothic" pitchFamily="34" charset="0"/>
                <a:ea typeface="굴림" pitchFamily="34" charset="-127"/>
                <a:cs typeface="+mn-cs"/>
              </a:rPr>
              <a:t> </a:t>
            </a:r>
          </a:p>
          <a:p>
            <a:pPr marL="285750" indent="-285750" algn="just">
              <a:buFont typeface="Arial" pitchFamily="34" charset="0"/>
              <a:buChar char="•"/>
              <a:defRPr/>
            </a:pPr>
            <a:r>
              <a:rPr lang="fr-FR" sz="1600" b="1" kern="0" dirty="0" smtClean="0">
                <a:solidFill>
                  <a:srgbClr val="000099"/>
                </a:solidFill>
                <a:latin typeface="Century Gothic" pitchFamily="34" charset="0"/>
                <a:ea typeface="굴림" pitchFamily="34" charset="-127"/>
              </a:rPr>
              <a:t>A </a:t>
            </a:r>
            <a:r>
              <a:rPr lang="fr-FR" sz="1600" b="1" kern="0" dirty="0">
                <a:solidFill>
                  <a:srgbClr val="000099"/>
                </a:solidFill>
                <a:latin typeface="Century Gothic" pitchFamily="34" charset="0"/>
                <a:ea typeface="굴림" pitchFamily="34" charset="-127"/>
              </a:rPr>
              <a:t>fin </a:t>
            </a:r>
            <a:r>
              <a:rPr lang="fr-FR" sz="1600" b="1" kern="0" dirty="0" smtClean="0">
                <a:solidFill>
                  <a:srgbClr val="000099"/>
                </a:solidFill>
                <a:latin typeface="Century Gothic" pitchFamily="34" charset="0"/>
                <a:ea typeface="굴림" pitchFamily="34" charset="-127"/>
              </a:rPr>
              <a:t>2013</a:t>
            </a:r>
            <a:r>
              <a:rPr lang="fr-FR" sz="1600" b="1" kern="0" dirty="0">
                <a:solidFill>
                  <a:srgbClr val="000099"/>
                </a:solidFill>
                <a:latin typeface="Century Gothic" pitchFamily="34" charset="0"/>
                <a:ea typeface="굴림" pitchFamily="34" charset="-127"/>
              </a:rPr>
              <a:t>, la facture mensuelle moyenne par abonné Internet a atteint </a:t>
            </a:r>
            <a:r>
              <a:rPr lang="fr-FR" sz="1600" b="1" kern="0" dirty="0" smtClean="0">
                <a:solidFill>
                  <a:srgbClr val="000099"/>
                </a:solidFill>
                <a:latin typeface="Century Gothic" pitchFamily="34" charset="0"/>
                <a:ea typeface="굴림" pitchFamily="34" charset="-127"/>
              </a:rPr>
              <a:t>36 </a:t>
            </a:r>
            <a:r>
              <a:rPr lang="fr-FR" sz="1600" b="1" kern="0" dirty="0">
                <a:solidFill>
                  <a:srgbClr val="000099"/>
                </a:solidFill>
                <a:latin typeface="Century Gothic" pitchFamily="34" charset="0"/>
                <a:ea typeface="굴림" pitchFamily="34" charset="-127"/>
              </a:rPr>
              <a:t>DHHT/mois/client. Pour l’Internet 3G, cette facture est de l’ordre de </a:t>
            </a:r>
            <a:r>
              <a:rPr lang="fr-FR" sz="1600" b="1" kern="0" dirty="0" smtClean="0">
                <a:solidFill>
                  <a:srgbClr val="000099"/>
                </a:solidFill>
                <a:latin typeface="Century Gothic" pitchFamily="34" charset="0"/>
                <a:ea typeface="굴림" pitchFamily="34" charset="-127"/>
              </a:rPr>
              <a:t>21 </a:t>
            </a:r>
            <a:r>
              <a:rPr lang="fr-FR" sz="1600" b="1" kern="0" dirty="0">
                <a:solidFill>
                  <a:srgbClr val="000099"/>
                </a:solidFill>
                <a:latin typeface="Century Gothic" pitchFamily="34" charset="0"/>
                <a:ea typeface="굴림" pitchFamily="34" charset="-127"/>
              </a:rPr>
              <a:t>DHHT/mois/client alors qu’elle est de </a:t>
            </a:r>
            <a:r>
              <a:rPr lang="fr-FR" sz="1600" b="1" kern="0" dirty="0" smtClean="0">
                <a:solidFill>
                  <a:srgbClr val="000099"/>
                </a:solidFill>
                <a:latin typeface="Century Gothic" pitchFamily="34" charset="0"/>
                <a:ea typeface="굴림" pitchFamily="34" charset="-127"/>
              </a:rPr>
              <a:t>98 </a:t>
            </a:r>
            <a:r>
              <a:rPr lang="fr-FR" sz="1600" b="1" kern="0" dirty="0">
                <a:solidFill>
                  <a:srgbClr val="000099"/>
                </a:solidFill>
                <a:latin typeface="Century Gothic" pitchFamily="34" charset="0"/>
                <a:ea typeface="굴림" pitchFamily="34" charset="-127"/>
              </a:rPr>
              <a:t>DHHT/mois/client pour l’ADSL</a:t>
            </a:r>
            <a:r>
              <a:rPr lang="fr-FR" sz="1600" b="1" kern="0" dirty="0" smtClean="0">
                <a:solidFill>
                  <a:srgbClr val="000099"/>
                </a:solidFill>
                <a:latin typeface="Century Gothic" pitchFamily="34" charset="0"/>
                <a:ea typeface="굴림" pitchFamily="34" charset="-127"/>
              </a:rPr>
              <a:t>.</a:t>
            </a:r>
            <a:endParaRPr lang="fr-FR" sz="1200" b="1" dirty="0">
              <a:solidFill>
                <a:srgbClr val="004F8A"/>
              </a:solidFill>
              <a:latin typeface="Century Gothic" pitchFamily="34" charset="0"/>
            </a:endParaRPr>
          </a:p>
        </p:txBody>
      </p:sp>
      <p:graphicFrame>
        <p:nvGraphicFramePr>
          <p:cNvPr id="7" name="Graphique 6"/>
          <p:cNvGraphicFramePr>
            <a:graphicFrameLocks/>
          </p:cNvGraphicFramePr>
          <p:nvPr>
            <p:extLst>
              <p:ext uri="{D42A27DB-BD31-4B8C-83A1-F6EECF244321}">
                <p14:modId xmlns:p14="http://schemas.microsoft.com/office/powerpoint/2010/main" val="3325801765"/>
              </p:ext>
            </p:extLst>
          </p:nvPr>
        </p:nvGraphicFramePr>
        <p:xfrm>
          <a:off x="1090683" y="1160061"/>
          <a:ext cx="7970293" cy="3950102"/>
        </p:xfrm>
        <a:graphic>
          <a:graphicData uri="http://schemas.openxmlformats.org/drawingml/2006/chart">
            <c:chart xmlns:c="http://schemas.openxmlformats.org/drawingml/2006/chart" xmlns:r="http://schemas.openxmlformats.org/officeDocument/2006/relationships" r:id="rId3"/>
          </a:graphicData>
        </a:graphic>
      </p:graphicFrame>
      <p:pic>
        <p:nvPicPr>
          <p:cNvPr id="5" name="Image 4"/>
          <p:cNvPicPr/>
          <p:nvPr/>
        </p:nvPicPr>
        <p:blipFill>
          <a:blip r:embed="rId4">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3802683602"/>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ext Box 7"/>
          <p:cNvSpPr txBox="1">
            <a:spLocks noChangeArrowheads="1"/>
          </p:cNvSpPr>
          <p:nvPr/>
        </p:nvSpPr>
        <p:spPr bwMode="auto">
          <a:xfrm>
            <a:off x="2038065" y="226429"/>
            <a:ext cx="6423547" cy="415490"/>
          </a:xfrm>
          <a:prstGeom prst="rect">
            <a:avLst/>
          </a:prstGeom>
          <a:solidFill>
            <a:srgbClr val="C0C0C0"/>
          </a:solidFill>
          <a:ln w="9525">
            <a:solidFill>
              <a:schemeClr val="tx1"/>
            </a:solidFill>
            <a:miter lim="800000"/>
            <a:headEnd/>
            <a:tailEnd/>
          </a:ln>
        </p:spPr>
        <p:txBody>
          <a:bodyPr wrap="square" lIns="91430" tIns="45716" rIns="91430" bIns="45716">
            <a:spAutoFit/>
          </a:bodyPr>
          <a:lstStyle>
            <a:lvl1pPr defTabSz="912813" eaLnBrk="0" hangingPunct="0">
              <a:defRPr>
                <a:solidFill>
                  <a:schemeClr val="tx1"/>
                </a:solidFill>
                <a:latin typeface="Book Antiqua" pitchFamily="18" charset="0"/>
                <a:cs typeface="Arial" charset="0"/>
              </a:defRPr>
            </a:lvl1pPr>
            <a:lvl2pPr marL="742950" indent="-285750" defTabSz="912813" eaLnBrk="0" hangingPunct="0">
              <a:defRPr>
                <a:solidFill>
                  <a:schemeClr val="tx1"/>
                </a:solidFill>
                <a:latin typeface="Book Antiqua" pitchFamily="18" charset="0"/>
                <a:cs typeface="Arial" charset="0"/>
              </a:defRPr>
            </a:lvl2pPr>
            <a:lvl3pPr marL="1143000" indent="-228600" defTabSz="912813" eaLnBrk="0" hangingPunct="0">
              <a:defRPr>
                <a:solidFill>
                  <a:schemeClr val="tx1"/>
                </a:solidFill>
                <a:latin typeface="Book Antiqua" pitchFamily="18" charset="0"/>
                <a:cs typeface="Arial" charset="0"/>
              </a:defRPr>
            </a:lvl3pPr>
            <a:lvl4pPr marL="1600200" indent="-228600" defTabSz="912813" eaLnBrk="0" hangingPunct="0">
              <a:defRPr>
                <a:solidFill>
                  <a:schemeClr val="tx1"/>
                </a:solidFill>
                <a:latin typeface="Book Antiqua" pitchFamily="18" charset="0"/>
                <a:cs typeface="Arial" charset="0"/>
              </a:defRPr>
            </a:lvl4pPr>
            <a:lvl5pPr marL="2057400" indent="-228600" defTabSz="912813" eaLnBrk="0" hangingPunct="0">
              <a:defRPr>
                <a:solidFill>
                  <a:schemeClr val="tx1"/>
                </a:solidFill>
                <a:latin typeface="Book Antiqua" pitchFamily="18" charset="0"/>
                <a:cs typeface="Arial" charset="0"/>
              </a:defRPr>
            </a:lvl5pPr>
            <a:lvl6pPr marL="2514600" indent="-228600" defTabSz="912813" eaLnBrk="0" fontAlgn="base" hangingPunct="0">
              <a:spcBef>
                <a:spcPct val="0"/>
              </a:spcBef>
              <a:spcAft>
                <a:spcPct val="0"/>
              </a:spcAft>
              <a:defRPr>
                <a:solidFill>
                  <a:schemeClr val="tx1"/>
                </a:solidFill>
                <a:latin typeface="Book Antiqua" pitchFamily="18" charset="0"/>
                <a:cs typeface="Arial" charset="0"/>
              </a:defRPr>
            </a:lvl6pPr>
            <a:lvl7pPr marL="2971800" indent="-228600" defTabSz="912813" eaLnBrk="0" fontAlgn="base" hangingPunct="0">
              <a:spcBef>
                <a:spcPct val="0"/>
              </a:spcBef>
              <a:spcAft>
                <a:spcPct val="0"/>
              </a:spcAft>
              <a:defRPr>
                <a:solidFill>
                  <a:schemeClr val="tx1"/>
                </a:solidFill>
                <a:latin typeface="Book Antiqua" pitchFamily="18" charset="0"/>
                <a:cs typeface="Arial" charset="0"/>
              </a:defRPr>
            </a:lvl7pPr>
            <a:lvl8pPr marL="3429000" indent="-228600" defTabSz="912813" eaLnBrk="0" fontAlgn="base" hangingPunct="0">
              <a:spcBef>
                <a:spcPct val="0"/>
              </a:spcBef>
              <a:spcAft>
                <a:spcPct val="0"/>
              </a:spcAft>
              <a:defRPr>
                <a:solidFill>
                  <a:schemeClr val="tx1"/>
                </a:solidFill>
                <a:latin typeface="Book Antiqua" pitchFamily="18" charset="0"/>
                <a:cs typeface="Arial" charset="0"/>
              </a:defRPr>
            </a:lvl8pPr>
            <a:lvl9pPr marL="3886200" indent="-228600" defTabSz="912813" eaLnBrk="0" fontAlgn="base" hangingPunct="0">
              <a:spcBef>
                <a:spcPct val="0"/>
              </a:spcBef>
              <a:spcAft>
                <a:spcPct val="0"/>
              </a:spcAft>
              <a:defRPr>
                <a:solidFill>
                  <a:schemeClr val="tx1"/>
                </a:solidFill>
                <a:latin typeface="Book Antiqua" pitchFamily="18" charset="0"/>
                <a:cs typeface="Arial" charset="0"/>
              </a:defRPr>
            </a:lvl9pPr>
          </a:lstStyle>
          <a:p>
            <a:pPr algn="ctr" eaLnBrk="1" hangingPunct="1">
              <a:spcBef>
                <a:spcPct val="50000"/>
              </a:spcBef>
            </a:pPr>
            <a:r>
              <a:rPr lang="fr-FR" altLang="fr-FR" sz="2100" b="1" i="1" dirty="0">
                <a:solidFill>
                  <a:srgbClr val="0560E5"/>
                </a:solidFill>
              </a:rPr>
              <a:t>Bande passante internationale et Noms de domaine</a:t>
            </a:r>
          </a:p>
        </p:txBody>
      </p:sp>
      <p:sp>
        <p:nvSpPr>
          <p:cNvPr id="10" name="Rectangle 4"/>
          <p:cNvSpPr>
            <a:spLocks noChangeArrowheads="1"/>
          </p:cNvSpPr>
          <p:nvPr/>
        </p:nvSpPr>
        <p:spPr bwMode="auto">
          <a:xfrm>
            <a:off x="232173" y="5084763"/>
            <a:ext cx="4798219" cy="1077912"/>
          </a:xfrm>
          <a:prstGeom prst="rect">
            <a:avLst/>
          </a:prstGeom>
          <a:noFill/>
          <a:ln w="9525">
            <a:noFill/>
            <a:miter lim="800000"/>
            <a:headEnd/>
            <a:tailEnd/>
          </a:ln>
        </p:spPr>
        <p:txBody>
          <a:bodyPr>
            <a:spAutoFit/>
          </a:bodyPr>
          <a:lstStyle/>
          <a:p>
            <a:pPr algn="just">
              <a:buFont typeface="Wingdings" pitchFamily="2" charset="2"/>
              <a:buChar char="§"/>
              <a:defRPr/>
            </a:pPr>
            <a:r>
              <a:rPr lang="fr-FR" sz="1600" b="1" kern="0" dirty="0">
                <a:solidFill>
                  <a:srgbClr val="000099"/>
                </a:solidFill>
                <a:latin typeface="Century Gothic" pitchFamily="34" charset="0"/>
                <a:ea typeface="굴림" pitchFamily="34" charset="-127"/>
                <a:cs typeface="+mn-cs"/>
              </a:rPr>
              <a:t> La bande passante Internet internationale a connu une croissance remarquable en </a:t>
            </a:r>
            <a:r>
              <a:rPr lang="fr-FR" sz="1600" b="1" kern="0" dirty="0" smtClean="0">
                <a:solidFill>
                  <a:srgbClr val="000099"/>
                </a:solidFill>
                <a:latin typeface="Century Gothic" pitchFamily="34" charset="0"/>
                <a:ea typeface="굴림" pitchFamily="34" charset="-127"/>
                <a:cs typeface="+mn-cs"/>
              </a:rPr>
              <a:t>2013 </a:t>
            </a:r>
            <a:r>
              <a:rPr lang="fr-FR" sz="1600" b="1" kern="0" dirty="0">
                <a:solidFill>
                  <a:srgbClr val="000099"/>
                </a:solidFill>
                <a:latin typeface="Century Gothic" pitchFamily="34" charset="0"/>
                <a:ea typeface="굴림" pitchFamily="34" charset="-127"/>
                <a:cs typeface="+mn-cs"/>
              </a:rPr>
              <a:t>de </a:t>
            </a:r>
            <a:r>
              <a:rPr lang="fr-FR" sz="1600" b="1" kern="0" dirty="0" smtClean="0">
                <a:solidFill>
                  <a:srgbClr val="000099"/>
                </a:solidFill>
                <a:latin typeface="Century Gothic" pitchFamily="34" charset="0"/>
                <a:ea typeface="굴림" pitchFamily="34" charset="-127"/>
                <a:cs typeface="+mn-cs"/>
              </a:rPr>
              <a:t>54,89% </a:t>
            </a:r>
            <a:r>
              <a:rPr lang="fr-FR" sz="1600" b="1" kern="0" dirty="0">
                <a:solidFill>
                  <a:srgbClr val="000099"/>
                </a:solidFill>
                <a:latin typeface="Century Gothic" pitchFamily="34" charset="0"/>
                <a:ea typeface="굴림" pitchFamily="34" charset="-127"/>
                <a:cs typeface="+mn-cs"/>
              </a:rPr>
              <a:t>avec une capacité de </a:t>
            </a:r>
            <a:r>
              <a:rPr lang="fr-FR" sz="1600" b="1" kern="0" dirty="0" smtClean="0">
                <a:solidFill>
                  <a:srgbClr val="000099"/>
                </a:solidFill>
                <a:latin typeface="Century Gothic" pitchFamily="34" charset="0"/>
                <a:ea typeface="굴림" pitchFamily="34" charset="-127"/>
                <a:cs typeface="+mn-cs"/>
              </a:rPr>
              <a:t>412 </a:t>
            </a:r>
            <a:r>
              <a:rPr lang="fr-FR" sz="1600" b="1" kern="0" dirty="0">
                <a:solidFill>
                  <a:srgbClr val="000099"/>
                </a:solidFill>
                <a:latin typeface="Century Gothic" pitchFamily="34" charset="0"/>
                <a:ea typeface="굴림" pitchFamily="34" charset="-127"/>
                <a:cs typeface="+mn-cs"/>
              </a:rPr>
              <a:t>000 Mbps. </a:t>
            </a:r>
          </a:p>
        </p:txBody>
      </p:sp>
      <p:sp>
        <p:nvSpPr>
          <p:cNvPr id="11" name="Rectangle 10"/>
          <p:cNvSpPr>
            <a:spLocks noChangeArrowheads="1"/>
          </p:cNvSpPr>
          <p:nvPr/>
        </p:nvSpPr>
        <p:spPr bwMode="auto">
          <a:xfrm>
            <a:off x="5186892" y="5091069"/>
            <a:ext cx="4719108" cy="1323439"/>
          </a:xfrm>
          <a:prstGeom prst="rect">
            <a:avLst/>
          </a:prstGeom>
          <a:noFill/>
          <a:ln w="9525">
            <a:noFill/>
            <a:miter lim="800000"/>
            <a:headEnd/>
            <a:tailEnd/>
          </a:ln>
        </p:spPr>
        <p:txBody>
          <a:bodyPr>
            <a:spAutoFit/>
          </a:bodyPr>
          <a:lstStyle/>
          <a:p>
            <a:pPr marL="285750" indent="-285750" algn="just">
              <a:buFont typeface="Wingdings" pitchFamily="2" charset="2"/>
              <a:buChar char="§"/>
              <a:defRPr/>
            </a:pPr>
            <a:r>
              <a:rPr lang="fr-FR" sz="1600" b="1" kern="0" dirty="0">
                <a:solidFill>
                  <a:srgbClr val="000099"/>
                </a:solidFill>
                <a:latin typeface="Century Gothic" pitchFamily="34" charset="0"/>
                <a:ea typeface="굴림" pitchFamily="34" charset="-127"/>
                <a:cs typeface="+mn-cs"/>
              </a:rPr>
              <a:t>Le parc des noms de domaine en «.ma » continue de croître en atteignant  </a:t>
            </a:r>
            <a:r>
              <a:rPr lang="fr-FR" sz="1600" b="1" kern="0" dirty="0" smtClean="0">
                <a:solidFill>
                  <a:srgbClr val="000099"/>
                </a:solidFill>
                <a:latin typeface="Century Gothic" pitchFamily="34" charset="0"/>
                <a:ea typeface="굴림" pitchFamily="34" charset="-127"/>
                <a:cs typeface="+mn-cs"/>
              </a:rPr>
              <a:t>50.945 </a:t>
            </a:r>
            <a:r>
              <a:rPr lang="fr-FR" sz="1600" b="1" kern="0" dirty="0">
                <a:solidFill>
                  <a:srgbClr val="000099"/>
                </a:solidFill>
                <a:latin typeface="Century Gothic" pitchFamily="34" charset="0"/>
                <a:ea typeface="굴림" pitchFamily="34" charset="-127"/>
                <a:cs typeface="+mn-cs"/>
              </a:rPr>
              <a:t>comptes à fin </a:t>
            </a:r>
            <a:r>
              <a:rPr lang="fr-FR" sz="1600" b="1" kern="0" dirty="0" smtClean="0">
                <a:solidFill>
                  <a:srgbClr val="000099"/>
                </a:solidFill>
                <a:latin typeface="Century Gothic" pitchFamily="34" charset="0"/>
                <a:ea typeface="굴림" pitchFamily="34" charset="-127"/>
                <a:cs typeface="+mn-cs"/>
              </a:rPr>
              <a:t>septembre </a:t>
            </a:r>
            <a:r>
              <a:rPr lang="fr-FR" sz="1600" b="1" kern="0" dirty="0">
                <a:solidFill>
                  <a:srgbClr val="000099"/>
                </a:solidFill>
                <a:latin typeface="Century Gothic" pitchFamily="34" charset="0"/>
                <a:ea typeface="굴림" pitchFamily="34" charset="-127"/>
                <a:cs typeface="+mn-cs"/>
              </a:rPr>
              <a:t>2013.</a:t>
            </a:r>
          </a:p>
          <a:p>
            <a:pPr marL="285750" indent="-285750">
              <a:buFont typeface="Wingdings" pitchFamily="2" charset="2"/>
              <a:buChar char="§"/>
              <a:defRPr/>
            </a:pPr>
            <a:r>
              <a:rPr lang="fr-FR" sz="1600" b="1" kern="0" dirty="0">
                <a:solidFill>
                  <a:srgbClr val="000099"/>
                </a:solidFill>
                <a:latin typeface="Century Gothic" pitchFamily="34" charset="0"/>
                <a:ea typeface="굴림" pitchFamily="34" charset="-127"/>
                <a:cs typeface="+mn-cs"/>
              </a:rPr>
              <a:t>Les noms de domaines créés directement sous l’extension « .ma » dominent.</a:t>
            </a:r>
            <a:endParaRPr lang="fr-FR" sz="2000" b="1" kern="0" dirty="0">
              <a:solidFill>
                <a:srgbClr val="000099"/>
              </a:solidFill>
              <a:latin typeface="Century Gothic" pitchFamily="34" charset="0"/>
              <a:ea typeface="굴림" pitchFamily="34" charset="-127"/>
              <a:cs typeface="+mn-cs"/>
            </a:endParaRPr>
          </a:p>
        </p:txBody>
      </p:sp>
      <p:graphicFrame>
        <p:nvGraphicFramePr>
          <p:cNvPr id="29701" name="Object 4"/>
          <p:cNvGraphicFramePr>
            <a:graphicFrameLocks/>
          </p:cNvGraphicFramePr>
          <p:nvPr>
            <p:extLst>
              <p:ext uri="{D42A27DB-BD31-4B8C-83A1-F6EECF244321}">
                <p14:modId xmlns:p14="http://schemas.microsoft.com/office/powerpoint/2010/main" val="3211607036"/>
              </p:ext>
            </p:extLst>
          </p:nvPr>
        </p:nvGraphicFramePr>
        <p:xfrm>
          <a:off x="153988" y="1214438"/>
          <a:ext cx="4686300" cy="3770312"/>
        </p:xfrm>
        <a:graphic>
          <a:graphicData uri="http://schemas.openxmlformats.org/presentationml/2006/ole">
            <mc:AlternateContent xmlns:mc="http://schemas.openxmlformats.org/markup-compatibility/2006">
              <mc:Choice xmlns:v="urn:schemas-microsoft-com:vml" Requires="v">
                <p:oleObj spid="_x0000_s2215968" name="Feuille de calcul" r:id="rId4" imgW="4552823" imgH="3771782" progId="Excel.Sheet.8">
                  <p:embed/>
                </p:oleObj>
              </mc:Choice>
              <mc:Fallback>
                <p:oleObj name="Feuille de calcul" r:id="rId4" imgW="4552823" imgH="3771782" progId="Excel.Sheet.8">
                  <p:embed/>
                  <p:pic>
                    <p:nvPicPr>
                      <p:cNvPr id="0" name=""/>
                      <p:cNvPicPr>
                        <a:picLocks noChangeArrowheads="1"/>
                      </p:cNvPicPr>
                      <p:nvPr/>
                    </p:nvPicPr>
                    <p:blipFill>
                      <a:blip r:embed="rId5"/>
                      <a:srcRect/>
                      <a:stretch>
                        <a:fillRect/>
                      </a:stretch>
                    </p:blipFill>
                    <p:spPr bwMode="auto">
                      <a:xfrm>
                        <a:off x="153988" y="1214438"/>
                        <a:ext cx="4686300" cy="3770312"/>
                      </a:xfrm>
                      <a:prstGeom prst="rect">
                        <a:avLst/>
                      </a:prstGeom>
                      <a:noFill/>
                      <a:extLst/>
                    </p:spPr>
                  </p:pic>
                </p:oleObj>
              </mc:Fallback>
            </mc:AlternateContent>
          </a:graphicData>
        </a:graphic>
      </p:graphicFrame>
      <p:sp>
        <p:nvSpPr>
          <p:cNvPr id="9" name="ZoneTexte 2"/>
          <p:cNvSpPr txBox="1"/>
          <p:nvPr/>
        </p:nvSpPr>
        <p:spPr>
          <a:xfrm>
            <a:off x="5157374" y="1077748"/>
            <a:ext cx="4641719" cy="33543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fontAlgn="auto">
              <a:spcBef>
                <a:spcPts val="0"/>
              </a:spcBef>
              <a:spcAft>
                <a:spcPts val="0"/>
              </a:spcAft>
              <a:defRPr/>
            </a:pPr>
            <a:r>
              <a:rPr lang="fr-FR" sz="1400" b="1" dirty="0">
                <a:solidFill>
                  <a:schemeClr val="tx1"/>
                </a:solidFill>
                <a:cs typeface="Arial" pitchFamily="34" charset="0"/>
              </a:rPr>
              <a:t>Evolution du nombre des Noms de Domaine ".ma </a:t>
            </a:r>
            <a:r>
              <a:rPr lang="fr-FR" sz="1200" b="1" dirty="0" smtClean="0">
                <a:solidFill>
                  <a:schemeClr val="tx1"/>
                </a:solidFill>
                <a:latin typeface="Arial" pitchFamily="34" charset="0"/>
                <a:cs typeface="Arial" pitchFamily="34" charset="0"/>
              </a:rPr>
              <a:t>"</a:t>
            </a:r>
            <a:endParaRPr lang="fr-FR" sz="1200" b="1" dirty="0">
              <a:solidFill>
                <a:schemeClr val="tx1"/>
              </a:solidFill>
              <a:latin typeface="Arial" pitchFamily="34" charset="0"/>
              <a:cs typeface="Arial" pitchFamily="34" charset="0"/>
            </a:endParaRPr>
          </a:p>
        </p:txBody>
      </p:sp>
      <p:graphicFrame>
        <p:nvGraphicFramePr>
          <p:cNvPr id="12" name="Graphique 11"/>
          <p:cNvGraphicFramePr>
            <a:graphicFrameLocks/>
          </p:cNvGraphicFramePr>
          <p:nvPr>
            <p:extLst>
              <p:ext uri="{D42A27DB-BD31-4B8C-83A1-F6EECF244321}">
                <p14:modId xmlns:p14="http://schemas.microsoft.com/office/powerpoint/2010/main" val="2177747510"/>
              </p:ext>
            </p:extLst>
          </p:nvPr>
        </p:nvGraphicFramePr>
        <p:xfrm>
          <a:off x="5030392" y="1382156"/>
          <a:ext cx="4768701" cy="3602594"/>
        </p:xfrm>
        <a:graphic>
          <a:graphicData uri="http://schemas.openxmlformats.org/drawingml/2006/chart">
            <c:chart xmlns:c="http://schemas.openxmlformats.org/drawingml/2006/chart" xmlns:r="http://schemas.openxmlformats.org/officeDocument/2006/relationships" r:id="rId6"/>
          </a:graphicData>
        </a:graphic>
      </p:graphicFrame>
      <p:pic>
        <p:nvPicPr>
          <p:cNvPr id="8" name="Image 7"/>
          <p:cNvPicPr/>
          <p:nvPr/>
        </p:nvPicPr>
        <p:blipFill>
          <a:blip r:embed="rId7">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1107221529"/>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ext Box 7"/>
          <p:cNvSpPr txBox="1">
            <a:spLocks noChangeArrowheads="1"/>
          </p:cNvSpPr>
          <p:nvPr/>
        </p:nvSpPr>
        <p:spPr bwMode="auto">
          <a:xfrm>
            <a:off x="2321719" y="260350"/>
            <a:ext cx="6167188" cy="769938"/>
          </a:xfrm>
          <a:prstGeom prst="rect">
            <a:avLst/>
          </a:prstGeom>
          <a:solidFill>
            <a:srgbClr val="C0C0C0"/>
          </a:solidFill>
          <a:ln w="9525">
            <a:solidFill>
              <a:schemeClr val="tx1"/>
            </a:solidFill>
            <a:miter lim="800000"/>
            <a:headEnd/>
            <a:tailEnd/>
          </a:ln>
        </p:spPr>
        <p:txBody>
          <a:bodyPr wrap="square" lIns="91430" tIns="45716" rIns="91430" bIns="45716">
            <a:spAutoFit/>
          </a:bodyPr>
          <a:lstStyle>
            <a:lvl1pPr defTabSz="912813" eaLnBrk="0" hangingPunct="0">
              <a:defRPr>
                <a:solidFill>
                  <a:schemeClr val="tx1"/>
                </a:solidFill>
                <a:latin typeface="Book Antiqua" pitchFamily="18" charset="0"/>
                <a:cs typeface="Arial" charset="0"/>
              </a:defRPr>
            </a:lvl1pPr>
            <a:lvl2pPr marL="742950" indent="-285750" defTabSz="912813" eaLnBrk="0" hangingPunct="0">
              <a:defRPr>
                <a:solidFill>
                  <a:schemeClr val="tx1"/>
                </a:solidFill>
                <a:latin typeface="Book Antiqua" pitchFamily="18" charset="0"/>
                <a:cs typeface="Arial" charset="0"/>
              </a:defRPr>
            </a:lvl2pPr>
            <a:lvl3pPr marL="1143000" indent="-228600" defTabSz="912813" eaLnBrk="0" hangingPunct="0">
              <a:defRPr>
                <a:solidFill>
                  <a:schemeClr val="tx1"/>
                </a:solidFill>
                <a:latin typeface="Book Antiqua" pitchFamily="18" charset="0"/>
                <a:cs typeface="Arial" charset="0"/>
              </a:defRPr>
            </a:lvl3pPr>
            <a:lvl4pPr marL="1600200" indent="-228600" defTabSz="912813" eaLnBrk="0" hangingPunct="0">
              <a:defRPr>
                <a:solidFill>
                  <a:schemeClr val="tx1"/>
                </a:solidFill>
                <a:latin typeface="Book Antiqua" pitchFamily="18" charset="0"/>
                <a:cs typeface="Arial" charset="0"/>
              </a:defRPr>
            </a:lvl4pPr>
            <a:lvl5pPr marL="2057400" indent="-228600" defTabSz="912813" eaLnBrk="0" hangingPunct="0">
              <a:defRPr>
                <a:solidFill>
                  <a:schemeClr val="tx1"/>
                </a:solidFill>
                <a:latin typeface="Book Antiqua" pitchFamily="18" charset="0"/>
                <a:cs typeface="Arial" charset="0"/>
              </a:defRPr>
            </a:lvl5pPr>
            <a:lvl6pPr marL="2514600" indent="-228600" defTabSz="912813" eaLnBrk="0" fontAlgn="base" hangingPunct="0">
              <a:spcBef>
                <a:spcPct val="0"/>
              </a:spcBef>
              <a:spcAft>
                <a:spcPct val="0"/>
              </a:spcAft>
              <a:defRPr>
                <a:solidFill>
                  <a:schemeClr val="tx1"/>
                </a:solidFill>
                <a:latin typeface="Book Antiqua" pitchFamily="18" charset="0"/>
                <a:cs typeface="Arial" charset="0"/>
              </a:defRPr>
            </a:lvl6pPr>
            <a:lvl7pPr marL="2971800" indent="-228600" defTabSz="912813" eaLnBrk="0" fontAlgn="base" hangingPunct="0">
              <a:spcBef>
                <a:spcPct val="0"/>
              </a:spcBef>
              <a:spcAft>
                <a:spcPct val="0"/>
              </a:spcAft>
              <a:defRPr>
                <a:solidFill>
                  <a:schemeClr val="tx1"/>
                </a:solidFill>
                <a:latin typeface="Book Antiqua" pitchFamily="18" charset="0"/>
                <a:cs typeface="Arial" charset="0"/>
              </a:defRPr>
            </a:lvl7pPr>
            <a:lvl8pPr marL="3429000" indent="-228600" defTabSz="912813" eaLnBrk="0" fontAlgn="base" hangingPunct="0">
              <a:spcBef>
                <a:spcPct val="0"/>
              </a:spcBef>
              <a:spcAft>
                <a:spcPct val="0"/>
              </a:spcAft>
              <a:defRPr>
                <a:solidFill>
                  <a:schemeClr val="tx1"/>
                </a:solidFill>
                <a:latin typeface="Book Antiqua" pitchFamily="18" charset="0"/>
                <a:cs typeface="Arial" charset="0"/>
              </a:defRPr>
            </a:lvl8pPr>
            <a:lvl9pPr marL="3886200" indent="-228600" defTabSz="912813" eaLnBrk="0" fontAlgn="base" hangingPunct="0">
              <a:spcBef>
                <a:spcPct val="0"/>
              </a:spcBef>
              <a:spcAft>
                <a:spcPct val="0"/>
              </a:spcAft>
              <a:defRPr>
                <a:solidFill>
                  <a:schemeClr val="tx1"/>
                </a:solidFill>
                <a:latin typeface="Book Antiqua" pitchFamily="18" charset="0"/>
                <a:cs typeface="Arial" charset="0"/>
              </a:defRPr>
            </a:lvl9pPr>
          </a:lstStyle>
          <a:p>
            <a:pPr algn="ctr" eaLnBrk="1" hangingPunct="1">
              <a:spcBef>
                <a:spcPct val="50000"/>
              </a:spcBef>
            </a:pPr>
            <a:r>
              <a:rPr lang="fr-FR" altLang="fr-FR" sz="2200" b="1" i="1" dirty="0">
                <a:solidFill>
                  <a:srgbClr val="0560E5"/>
                </a:solidFill>
                <a:latin typeface="Century Gothic" pitchFamily="34" charset="0"/>
              </a:rPr>
              <a:t>Évolution du CA global du secteur des télécommunications</a:t>
            </a:r>
            <a:endParaRPr lang="fr-FR" altLang="fr-FR" sz="1600" b="1" i="1" dirty="0">
              <a:solidFill>
                <a:srgbClr val="0560E5"/>
              </a:solidFill>
              <a:latin typeface="Century Gothic" pitchFamily="34" charset="0"/>
            </a:endParaRPr>
          </a:p>
        </p:txBody>
      </p:sp>
      <p:graphicFrame>
        <p:nvGraphicFramePr>
          <p:cNvPr id="33795" name="Object 2"/>
          <p:cNvGraphicFramePr>
            <a:graphicFrameLocks noChangeAspect="1"/>
          </p:cNvGraphicFramePr>
          <p:nvPr>
            <p:extLst>
              <p:ext uri="{D42A27DB-BD31-4B8C-83A1-F6EECF244321}">
                <p14:modId xmlns:p14="http://schemas.microsoft.com/office/powerpoint/2010/main" val="345653439"/>
              </p:ext>
            </p:extLst>
          </p:nvPr>
        </p:nvGraphicFramePr>
        <p:xfrm>
          <a:off x="403524" y="1528548"/>
          <a:ext cx="5672560" cy="4334112"/>
        </p:xfrm>
        <a:graphic>
          <a:graphicData uri="http://schemas.openxmlformats.org/presentationml/2006/ole">
            <mc:AlternateContent xmlns:mc="http://schemas.openxmlformats.org/markup-compatibility/2006">
              <mc:Choice xmlns:v="urn:schemas-microsoft-com:vml" Requires="v">
                <p:oleObj spid="_x0000_s2216992" name="Graphique" r:id="rId3" imgW="6124688" imgH="3733721" progId="Excel.Sheet.8">
                  <p:embed/>
                </p:oleObj>
              </mc:Choice>
              <mc:Fallback>
                <p:oleObj name="Graphique" r:id="rId3" imgW="6124688" imgH="3733721" progId="Excel.Shee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3524" y="1528548"/>
                        <a:ext cx="5672560" cy="4334112"/>
                      </a:xfrm>
                      <a:prstGeom prst="rect">
                        <a:avLst/>
                      </a:prstGeom>
                      <a:noFill/>
                      <a:ln>
                        <a:noFill/>
                      </a:ln>
                      <a:extLst/>
                    </p:spPr>
                  </p:pic>
                </p:oleObj>
              </mc:Fallback>
            </mc:AlternateContent>
          </a:graphicData>
        </a:graphic>
      </p:graphicFrame>
      <p:sp>
        <p:nvSpPr>
          <p:cNvPr id="4" name="Espace réservé du contenu 3"/>
          <p:cNvSpPr txBox="1">
            <a:spLocks/>
          </p:cNvSpPr>
          <p:nvPr/>
        </p:nvSpPr>
        <p:spPr>
          <a:xfrm>
            <a:off x="6076084" y="1678673"/>
            <a:ext cx="3549651" cy="4031873"/>
          </a:xfrm>
          <a:prstGeom prst="rect">
            <a:avLst/>
          </a:prstGeom>
          <a:noFill/>
          <a:ln w="9525">
            <a:noFill/>
            <a:miter lim="800000"/>
            <a:headEnd/>
            <a:tailEnd/>
          </a:ln>
        </p:spPr>
        <p:txBody>
          <a:bodyPr wrap="square">
            <a:spAutoFit/>
          </a:bodyPr>
          <a:lstStyle>
            <a:defPPr>
              <a:defRPr lang="de-DE"/>
            </a:defPPr>
            <a:lvl1pPr marL="285750" indent="-285750" algn="just">
              <a:buFont typeface="Wingdings" pitchFamily="2" charset="2"/>
              <a:buChar char="§"/>
              <a:defRPr sz="1600" kern="0">
                <a:solidFill>
                  <a:srgbClr val="000099"/>
                </a:solidFill>
                <a:latin typeface="Century Gothic" pitchFamily="34" charset="0"/>
                <a:ea typeface="굴림" pitchFamily="34" charset="-127"/>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a:defRPr>
                <a:solidFill>
                  <a:schemeClr val="tx1"/>
                </a:solidFill>
                <a:latin typeface="Arial" charset="0"/>
              </a:defRPr>
            </a:lvl6pPr>
            <a:lvl7pPr>
              <a:defRPr>
                <a:solidFill>
                  <a:schemeClr val="tx1"/>
                </a:solidFill>
                <a:latin typeface="Arial" charset="0"/>
              </a:defRPr>
            </a:lvl7pPr>
            <a:lvl8pPr>
              <a:defRPr>
                <a:solidFill>
                  <a:schemeClr val="tx1"/>
                </a:solidFill>
                <a:latin typeface="Arial" charset="0"/>
              </a:defRPr>
            </a:lvl8pPr>
            <a:lvl9pPr>
              <a:defRPr>
                <a:solidFill>
                  <a:schemeClr val="tx1"/>
                </a:solidFill>
                <a:latin typeface="Arial" charset="0"/>
              </a:defRPr>
            </a:lvl9pPr>
          </a:lstStyle>
          <a:p>
            <a:r>
              <a:rPr lang="fr-FR" dirty="0">
                <a:solidFill>
                  <a:srgbClr val="000080"/>
                </a:solidFill>
              </a:rPr>
              <a:t>Le CA a connu une évolution soutenue sur la période 2008 – 2011 avec un taux de croissance annuel moyen de 3.9% pour atteindre 36,9 milliards de dirhams à fin 2011. </a:t>
            </a:r>
          </a:p>
          <a:p>
            <a:r>
              <a:rPr lang="fr-FR" dirty="0">
                <a:solidFill>
                  <a:srgbClr val="000080"/>
                </a:solidFill>
              </a:rPr>
              <a:t>Le CA de l’année 2012 estimé à 35.36 milliards de DH, a reculé de 4% par rapport à 2011. Cette baisse s’explique principalement sous l’effet de la dynamique concurrentielle qui s’est établie entre les acteurs du secteur  durant l’année 2012 et surtout sur le marché mobile. </a:t>
            </a:r>
          </a:p>
        </p:txBody>
      </p:sp>
      <p:pic>
        <p:nvPicPr>
          <p:cNvPr id="5" name="Image 4"/>
          <p:cNvPicPr/>
          <p:nvPr/>
        </p:nvPicPr>
        <p:blipFill>
          <a:blip r:embed="rId5">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1779775805"/>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ChangeArrowheads="1"/>
          </p:cNvSpPr>
          <p:nvPr/>
        </p:nvSpPr>
        <p:spPr bwMode="auto">
          <a:xfrm>
            <a:off x="0" y="2714624"/>
            <a:ext cx="9906000" cy="1830079"/>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nchor="ctr"/>
          <a:lstStyle/>
          <a:p>
            <a:pPr algn="ctr" defTabSz="912813"/>
            <a:r>
              <a:rPr lang="fr-FR" sz="2800" dirty="0">
                <a:solidFill>
                  <a:srgbClr val="0005A1"/>
                </a:solidFill>
              </a:rPr>
              <a:t>Partie 2 : </a:t>
            </a:r>
            <a:endParaRPr lang="fr-FR" sz="2800" dirty="0" smtClean="0">
              <a:solidFill>
                <a:srgbClr val="0005A1"/>
              </a:solidFill>
            </a:endParaRPr>
          </a:p>
          <a:p>
            <a:pPr algn="ctr" defTabSz="912813"/>
            <a:endParaRPr lang="fr-FR" sz="2800" dirty="0">
              <a:solidFill>
                <a:srgbClr val="0005A1"/>
              </a:solidFill>
            </a:endParaRPr>
          </a:p>
          <a:p>
            <a:pPr algn="ctr" defTabSz="912813"/>
            <a:r>
              <a:rPr lang="fr-FR" sz="2800" dirty="0">
                <a:solidFill>
                  <a:srgbClr val="0005A1"/>
                </a:solidFill>
              </a:rPr>
              <a:t>Plan national de </a:t>
            </a:r>
            <a:r>
              <a:rPr lang="fr-FR" sz="2800" dirty="0" smtClean="0">
                <a:solidFill>
                  <a:srgbClr val="0005A1"/>
                </a:solidFill>
              </a:rPr>
              <a:t>développement</a:t>
            </a:r>
          </a:p>
          <a:p>
            <a:pPr algn="ctr" defTabSz="912813"/>
            <a:r>
              <a:rPr lang="fr-FR" sz="2800" dirty="0" smtClean="0">
                <a:solidFill>
                  <a:srgbClr val="0005A1"/>
                </a:solidFill>
              </a:rPr>
              <a:t>du </a:t>
            </a:r>
            <a:r>
              <a:rPr lang="fr-FR" sz="2800" dirty="0">
                <a:solidFill>
                  <a:srgbClr val="0005A1"/>
                </a:solidFill>
              </a:rPr>
              <a:t>haut et très haut débit</a:t>
            </a:r>
          </a:p>
        </p:txBody>
      </p:sp>
      <p:pic>
        <p:nvPicPr>
          <p:cNvPr id="3" name="Image 2"/>
          <p:cNvPicPr/>
          <p:nvPr/>
        </p:nvPicPr>
        <p:blipFill>
          <a:blip r:embed="rId3">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1281393855"/>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ext Box 2"/>
          <p:cNvSpPr txBox="1">
            <a:spLocks noChangeArrowheads="1"/>
          </p:cNvSpPr>
          <p:nvPr/>
        </p:nvSpPr>
        <p:spPr bwMode="auto">
          <a:xfrm>
            <a:off x="2457583" y="260351"/>
            <a:ext cx="6017677" cy="461963"/>
          </a:xfrm>
          <a:prstGeom prst="rect">
            <a:avLst/>
          </a:prstGeom>
          <a:solidFill>
            <a:srgbClr val="C0C0C0"/>
          </a:solidFill>
          <a:ln w="9525">
            <a:solidFill>
              <a:schemeClr val="tx1"/>
            </a:solidFill>
            <a:miter lim="800000"/>
            <a:headEnd/>
            <a:tailEnd/>
          </a:ln>
        </p:spPr>
        <p:txBody>
          <a:bodyPr wrap="square" lIns="91430" tIns="45716" rIns="91430" bIns="45716">
            <a:spAutoFit/>
          </a:bodyPr>
          <a:lstStyle>
            <a:lvl1pPr defTabSz="912813" eaLnBrk="0" hangingPunct="0">
              <a:defRPr sz="3600">
                <a:solidFill>
                  <a:schemeClr val="tx1"/>
                </a:solidFill>
                <a:latin typeface="Arial" charset="0"/>
                <a:cs typeface="Arial" charset="0"/>
              </a:defRPr>
            </a:lvl1pPr>
            <a:lvl2pPr marL="742950" indent="-285750" defTabSz="912813" eaLnBrk="0" hangingPunct="0">
              <a:defRPr sz="3600">
                <a:solidFill>
                  <a:schemeClr val="tx1"/>
                </a:solidFill>
                <a:latin typeface="Arial" charset="0"/>
                <a:cs typeface="Arial" charset="0"/>
              </a:defRPr>
            </a:lvl2pPr>
            <a:lvl3pPr marL="1143000" indent="-228600" defTabSz="912813" eaLnBrk="0" hangingPunct="0">
              <a:defRPr sz="3600">
                <a:solidFill>
                  <a:schemeClr val="tx1"/>
                </a:solidFill>
                <a:latin typeface="Arial" charset="0"/>
                <a:cs typeface="Arial" charset="0"/>
              </a:defRPr>
            </a:lvl3pPr>
            <a:lvl4pPr marL="1600200" indent="-228600" defTabSz="912813" eaLnBrk="0" hangingPunct="0">
              <a:defRPr sz="3600">
                <a:solidFill>
                  <a:schemeClr val="tx1"/>
                </a:solidFill>
                <a:latin typeface="Arial" charset="0"/>
                <a:cs typeface="Arial" charset="0"/>
              </a:defRPr>
            </a:lvl4pPr>
            <a:lvl5pPr marL="2057400" indent="-228600" defTabSz="912813" eaLnBrk="0" hangingPunct="0">
              <a:defRPr sz="3600">
                <a:solidFill>
                  <a:schemeClr val="tx1"/>
                </a:solidFill>
                <a:latin typeface="Arial" charset="0"/>
                <a:cs typeface="Arial" charset="0"/>
              </a:defRPr>
            </a:lvl5pPr>
            <a:lvl6pPr marL="2514600" indent="-228600" defTabSz="912813" eaLnBrk="0" fontAlgn="base" hangingPunct="0">
              <a:spcBef>
                <a:spcPct val="0"/>
              </a:spcBef>
              <a:spcAft>
                <a:spcPct val="0"/>
              </a:spcAft>
              <a:defRPr sz="3600">
                <a:solidFill>
                  <a:schemeClr val="tx1"/>
                </a:solidFill>
                <a:latin typeface="Arial" charset="0"/>
                <a:cs typeface="Arial" charset="0"/>
              </a:defRPr>
            </a:lvl6pPr>
            <a:lvl7pPr marL="2971800" indent="-228600" defTabSz="912813" eaLnBrk="0" fontAlgn="base" hangingPunct="0">
              <a:spcBef>
                <a:spcPct val="0"/>
              </a:spcBef>
              <a:spcAft>
                <a:spcPct val="0"/>
              </a:spcAft>
              <a:defRPr sz="3600">
                <a:solidFill>
                  <a:schemeClr val="tx1"/>
                </a:solidFill>
                <a:latin typeface="Arial" charset="0"/>
                <a:cs typeface="Arial" charset="0"/>
              </a:defRPr>
            </a:lvl7pPr>
            <a:lvl8pPr marL="3429000" indent="-228600" defTabSz="912813" eaLnBrk="0" fontAlgn="base" hangingPunct="0">
              <a:spcBef>
                <a:spcPct val="0"/>
              </a:spcBef>
              <a:spcAft>
                <a:spcPct val="0"/>
              </a:spcAft>
              <a:defRPr sz="3600">
                <a:solidFill>
                  <a:schemeClr val="tx1"/>
                </a:solidFill>
                <a:latin typeface="Arial" charset="0"/>
                <a:cs typeface="Arial" charset="0"/>
              </a:defRPr>
            </a:lvl8pPr>
            <a:lvl9pPr marL="3886200" indent="-228600" defTabSz="912813" eaLnBrk="0" fontAlgn="base" hangingPunct="0">
              <a:spcBef>
                <a:spcPct val="0"/>
              </a:spcBef>
              <a:spcAft>
                <a:spcPct val="0"/>
              </a:spcAft>
              <a:defRPr sz="3600">
                <a:solidFill>
                  <a:schemeClr val="tx1"/>
                </a:solidFill>
                <a:latin typeface="Arial" charset="0"/>
                <a:cs typeface="Arial" charset="0"/>
              </a:defRPr>
            </a:lvl9pPr>
          </a:lstStyle>
          <a:p>
            <a:pPr algn="ctr"/>
            <a:r>
              <a:rPr lang="fr-FR" sz="2400" b="1" i="1">
                <a:solidFill>
                  <a:srgbClr val="0560E5"/>
                </a:solidFill>
                <a:latin typeface="Century Gothic" pitchFamily="34" charset="0"/>
              </a:rPr>
              <a:t>Contexte : la NOG-2013 </a:t>
            </a:r>
          </a:p>
        </p:txBody>
      </p:sp>
      <p:sp>
        <p:nvSpPr>
          <p:cNvPr id="9219" name="KMA6C131B"/>
          <p:cNvSpPr>
            <a:spLocks noChangeArrowheads="1"/>
          </p:cNvSpPr>
          <p:nvPr>
            <p:custDataLst>
              <p:tags r:id="rId1"/>
            </p:custDataLst>
          </p:nvPr>
        </p:nvSpPr>
        <p:spPr bwMode="auto">
          <a:xfrm>
            <a:off x="0" y="1198563"/>
            <a:ext cx="9906000" cy="4025530"/>
          </a:xfrm>
          <a:prstGeom prst="rect">
            <a:avLst/>
          </a:prstGeom>
          <a:noFill/>
          <a:ln w="9525" algn="ctr">
            <a:noFill/>
            <a:miter lim="800000"/>
            <a:headEnd/>
            <a:tailEnd/>
          </a:ln>
        </p:spPr>
        <p:txBody>
          <a:bodyPr lIns="42579" tIns="42579" rIns="42579" bIns="42579">
            <a:spAutoFit/>
          </a:bodyPr>
          <a:lstStyle/>
          <a:p>
            <a:pPr algn="just">
              <a:defRPr/>
            </a:pPr>
            <a:r>
              <a:rPr lang="fr-FR" sz="1800" dirty="0"/>
              <a:t> </a:t>
            </a:r>
          </a:p>
          <a:p>
            <a:pPr marL="342900" indent="-342900" algn="just">
              <a:buFont typeface="Wingdings" pitchFamily="2" charset="2"/>
              <a:buChar char="q"/>
              <a:defRPr/>
            </a:pPr>
            <a:r>
              <a:rPr lang="fr-FR" sz="2000" b="1" dirty="0">
                <a:solidFill>
                  <a:srgbClr val="000080"/>
                </a:solidFill>
                <a:latin typeface="Century Gothic" pitchFamily="34" charset="0"/>
              </a:rPr>
              <a:t>La note d’orientations générales pour le développement du secteur des télécommunications à horizon 2013, adoptée par le Conseil d’Administration de l’ANRT en date du 25 février 2010, a précisé que:   </a:t>
            </a:r>
            <a:r>
              <a:rPr lang="fr-FR" sz="2000" b="1" dirty="0">
                <a:solidFill>
                  <a:srgbClr val="960000"/>
                </a:solidFill>
                <a:latin typeface="Century Gothic" pitchFamily="34" charset="0"/>
              </a:rPr>
              <a:t>«</a:t>
            </a:r>
            <a:r>
              <a:rPr lang="fr-FR" sz="2000" b="1" i="1" dirty="0">
                <a:solidFill>
                  <a:srgbClr val="960000"/>
                </a:solidFill>
                <a:latin typeface="Century Gothic" pitchFamily="34" charset="0"/>
              </a:rPr>
              <a:t>la disponibilité d'une infrastructure très haut débit participe de manière significative au développement économique et social des pays et que le Maroc, qui a fait le choix de faire du domaine des nouvelles technologies de I'information et de la communication un secteur porteur pour le développement de son économie, doit se doter d’un plan d'actions national pour l’accès au haut et très haut débit.</a:t>
            </a:r>
            <a:r>
              <a:rPr lang="fr-FR" sz="2000" b="1" dirty="0">
                <a:solidFill>
                  <a:srgbClr val="960000"/>
                </a:solidFill>
                <a:latin typeface="Century Gothic" pitchFamily="34" charset="0"/>
              </a:rPr>
              <a:t>»</a:t>
            </a:r>
            <a:endParaRPr lang="fr-FR" sz="2000" b="1" dirty="0">
              <a:solidFill>
                <a:srgbClr val="000080"/>
              </a:solidFill>
              <a:latin typeface="Century Gothic" pitchFamily="34" charset="0"/>
            </a:endParaRPr>
          </a:p>
          <a:p>
            <a:pPr marL="285750" indent="-285750" algn="just">
              <a:buFont typeface="Wingdings" pitchFamily="2" charset="2"/>
              <a:buChar char="q"/>
              <a:defRPr/>
            </a:pPr>
            <a:endParaRPr lang="fr-FR" sz="1800" i="1" dirty="0"/>
          </a:p>
          <a:p>
            <a:pPr marL="361950" indent="-361950" algn="just">
              <a:buFont typeface="Wingdings" pitchFamily="2" charset="2"/>
              <a:buChar char="q"/>
              <a:defRPr/>
            </a:pPr>
            <a:r>
              <a:rPr lang="fr-FR" sz="2000" b="1" dirty="0" smtClean="0">
                <a:solidFill>
                  <a:srgbClr val="000080"/>
                </a:solidFill>
                <a:latin typeface="Century Gothic" pitchFamily="34" charset="0"/>
              </a:rPr>
              <a:t>Dans </a:t>
            </a:r>
            <a:r>
              <a:rPr lang="fr-FR" sz="2000" b="1" dirty="0">
                <a:solidFill>
                  <a:srgbClr val="000080"/>
                </a:solidFill>
                <a:latin typeface="Century Gothic" pitchFamily="34" charset="0"/>
              </a:rPr>
              <a:t>ce cadre, l’ANRT a réalisé </a:t>
            </a:r>
            <a:r>
              <a:rPr lang="fr-FR" sz="2000" b="1" dirty="0" smtClean="0">
                <a:solidFill>
                  <a:srgbClr val="000080"/>
                </a:solidFill>
                <a:latin typeface="Century Gothic" pitchFamily="34" charset="0"/>
              </a:rPr>
              <a:t>une étude pour l’élaboration d’un </a:t>
            </a:r>
            <a:r>
              <a:rPr lang="fr-FR" sz="2000" b="1" dirty="0">
                <a:solidFill>
                  <a:srgbClr val="000080"/>
                </a:solidFill>
                <a:latin typeface="Century Gothic" pitchFamily="34" charset="0"/>
              </a:rPr>
              <a:t>plan national pour le développement de l’accès </a:t>
            </a:r>
            <a:r>
              <a:rPr lang="fr-FR" sz="2000" b="1" dirty="0" smtClean="0">
                <a:solidFill>
                  <a:srgbClr val="000080"/>
                </a:solidFill>
                <a:latin typeface="Century Gothic" pitchFamily="34" charset="0"/>
              </a:rPr>
              <a:t>à </a:t>
            </a:r>
            <a:r>
              <a:rPr lang="fr-FR" sz="2000" b="1" dirty="0">
                <a:solidFill>
                  <a:srgbClr val="000080"/>
                </a:solidFill>
                <a:latin typeface="Century Gothic" pitchFamily="34" charset="0"/>
              </a:rPr>
              <a:t>Internet haut et très haut débit.</a:t>
            </a:r>
          </a:p>
        </p:txBody>
      </p:sp>
      <p:pic>
        <p:nvPicPr>
          <p:cNvPr id="4" name="Image 3"/>
          <p:cNvPicPr/>
          <p:nvPr/>
        </p:nvPicPr>
        <p:blipFill>
          <a:blip r:embed="rId4">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656146890"/>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ext Box 2"/>
          <p:cNvSpPr txBox="1">
            <a:spLocks noChangeArrowheads="1"/>
          </p:cNvSpPr>
          <p:nvPr/>
        </p:nvSpPr>
        <p:spPr bwMode="auto">
          <a:xfrm>
            <a:off x="2457583" y="260351"/>
            <a:ext cx="6031324" cy="461657"/>
          </a:xfrm>
          <a:prstGeom prst="rect">
            <a:avLst/>
          </a:prstGeom>
          <a:solidFill>
            <a:srgbClr val="C0C0C0"/>
          </a:solidFill>
          <a:ln w="9525">
            <a:solidFill>
              <a:schemeClr val="tx1"/>
            </a:solidFill>
            <a:miter lim="800000"/>
            <a:headEnd/>
            <a:tailEnd/>
          </a:ln>
        </p:spPr>
        <p:txBody>
          <a:bodyPr wrap="square" lIns="91430" tIns="45716" rIns="91430" bIns="45716">
            <a:spAutoFit/>
          </a:bodyPr>
          <a:lstStyle>
            <a:lvl1pPr defTabSz="912813" eaLnBrk="0" hangingPunct="0">
              <a:defRPr sz="3600">
                <a:solidFill>
                  <a:schemeClr val="tx1"/>
                </a:solidFill>
                <a:latin typeface="Arial" charset="0"/>
                <a:cs typeface="Arial" charset="0"/>
              </a:defRPr>
            </a:lvl1pPr>
            <a:lvl2pPr marL="742950" indent="-285750" defTabSz="912813" eaLnBrk="0" hangingPunct="0">
              <a:defRPr sz="3600">
                <a:solidFill>
                  <a:schemeClr val="tx1"/>
                </a:solidFill>
                <a:latin typeface="Arial" charset="0"/>
                <a:cs typeface="Arial" charset="0"/>
              </a:defRPr>
            </a:lvl2pPr>
            <a:lvl3pPr marL="1143000" indent="-228600" defTabSz="912813" eaLnBrk="0" hangingPunct="0">
              <a:defRPr sz="3600">
                <a:solidFill>
                  <a:schemeClr val="tx1"/>
                </a:solidFill>
                <a:latin typeface="Arial" charset="0"/>
                <a:cs typeface="Arial" charset="0"/>
              </a:defRPr>
            </a:lvl3pPr>
            <a:lvl4pPr marL="1600200" indent="-228600" defTabSz="912813" eaLnBrk="0" hangingPunct="0">
              <a:defRPr sz="3600">
                <a:solidFill>
                  <a:schemeClr val="tx1"/>
                </a:solidFill>
                <a:latin typeface="Arial" charset="0"/>
                <a:cs typeface="Arial" charset="0"/>
              </a:defRPr>
            </a:lvl4pPr>
            <a:lvl5pPr marL="2057400" indent="-228600" defTabSz="912813" eaLnBrk="0" hangingPunct="0">
              <a:defRPr sz="3600">
                <a:solidFill>
                  <a:schemeClr val="tx1"/>
                </a:solidFill>
                <a:latin typeface="Arial" charset="0"/>
                <a:cs typeface="Arial" charset="0"/>
              </a:defRPr>
            </a:lvl5pPr>
            <a:lvl6pPr marL="2514600" indent="-228600" defTabSz="912813" eaLnBrk="0" fontAlgn="base" hangingPunct="0">
              <a:spcBef>
                <a:spcPct val="0"/>
              </a:spcBef>
              <a:spcAft>
                <a:spcPct val="0"/>
              </a:spcAft>
              <a:defRPr sz="3600">
                <a:solidFill>
                  <a:schemeClr val="tx1"/>
                </a:solidFill>
                <a:latin typeface="Arial" charset="0"/>
                <a:cs typeface="Arial" charset="0"/>
              </a:defRPr>
            </a:lvl6pPr>
            <a:lvl7pPr marL="2971800" indent="-228600" defTabSz="912813" eaLnBrk="0" fontAlgn="base" hangingPunct="0">
              <a:spcBef>
                <a:spcPct val="0"/>
              </a:spcBef>
              <a:spcAft>
                <a:spcPct val="0"/>
              </a:spcAft>
              <a:defRPr sz="3600">
                <a:solidFill>
                  <a:schemeClr val="tx1"/>
                </a:solidFill>
                <a:latin typeface="Arial" charset="0"/>
                <a:cs typeface="Arial" charset="0"/>
              </a:defRPr>
            </a:lvl7pPr>
            <a:lvl8pPr marL="3429000" indent="-228600" defTabSz="912813" eaLnBrk="0" fontAlgn="base" hangingPunct="0">
              <a:spcBef>
                <a:spcPct val="0"/>
              </a:spcBef>
              <a:spcAft>
                <a:spcPct val="0"/>
              </a:spcAft>
              <a:defRPr sz="3600">
                <a:solidFill>
                  <a:schemeClr val="tx1"/>
                </a:solidFill>
                <a:latin typeface="Arial" charset="0"/>
                <a:cs typeface="Arial" charset="0"/>
              </a:defRPr>
            </a:lvl8pPr>
            <a:lvl9pPr marL="3886200" indent="-228600" defTabSz="912813" eaLnBrk="0" fontAlgn="base" hangingPunct="0">
              <a:spcBef>
                <a:spcPct val="0"/>
              </a:spcBef>
              <a:spcAft>
                <a:spcPct val="0"/>
              </a:spcAft>
              <a:defRPr sz="3600">
                <a:solidFill>
                  <a:schemeClr val="tx1"/>
                </a:solidFill>
                <a:latin typeface="Arial" charset="0"/>
                <a:cs typeface="Arial" charset="0"/>
              </a:defRPr>
            </a:lvl9pPr>
          </a:lstStyle>
          <a:p>
            <a:pPr algn="ctr"/>
            <a:r>
              <a:rPr lang="fr-FR" sz="2400" b="1" i="1" dirty="0" smtClean="0">
                <a:solidFill>
                  <a:srgbClr val="0560E5"/>
                </a:solidFill>
                <a:latin typeface="Century Gothic" pitchFamily="34" charset="0"/>
              </a:rPr>
              <a:t>Objet de l’étude et déclinaison du plan </a:t>
            </a:r>
            <a:endParaRPr lang="fr-FR" sz="2400" b="1" i="1" dirty="0">
              <a:solidFill>
                <a:srgbClr val="0560E5"/>
              </a:solidFill>
              <a:latin typeface="Century Gothic" pitchFamily="34" charset="0"/>
            </a:endParaRPr>
          </a:p>
        </p:txBody>
      </p:sp>
      <p:sp>
        <p:nvSpPr>
          <p:cNvPr id="63491" name="KMA6C131B"/>
          <p:cNvSpPr>
            <a:spLocks noChangeArrowheads="1"/>
          </p:cNvSpPr>
          <p:nvPr>
            <p:custDataLst>
              <p:tags r:id="rId1"/>
            </p:custDataLst>
          </p:nvPr>
        </p:nvSpPr>
        <p:spPr bwMode="auto">
          <a:xfrm>
            <a:off x="27296" y="1479587"/>
            <a:ext cx="9906000" cy="470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2579" tIns="42579" rIns="42579" bIns="42579">
            <a:spAutoFit/>
          </a:bodyPr>
          <a:lstStyle/>
          <a:p>
            <a:pPr marL="285750" indent="-285750" algn="just">
              <a:buFont typeface="Wingdings" pitchFamily="2" charset="2"/>
              <a:buChar char="q"/>
            </a:pPr>
            <a:r>
              <a:rPr lang="fr-FR" sz="2000" b="1" dirty="0" smtClean="0">
                <a:solidFill>
                  <a:srgbClr val="000080"/>
                </a:solidFill>
                <a:latin typeface="Century Gothic" pitchFamily="34" charset="0"/>
              </a:rPr>
              <a:t>L’étude </a:t>
            </a:r>
            <a:r>
              <a:rPr lang="fr-FR" sz="2000" b="1" dirty="0">
                <a:solidFill>
                  <a:srgbClr val="000080"/>
                </a:solidFill>
                <a:latin typeface="Century Gothic" pitchFamily="34" charset="0"/>
              </a:rPr>
              <a:t>effectuée </a:t>
            </a:r>
            <a:r>
              <a:rPr lang="fr-FR" sz="2000" b="1" dirty="0" smtClean="0">
                <a:solidFill>
                  <a:srgbClr val="000080"/>
                </a:solidFill>
                <a:latin typeface="Century Gothic" pitchFamily="34" charset="0"/>
              </a:rPr>
              <a:t>s’est articulée autour </a:t>
            </a:r>
            <a:r>
              <a:rPr lang="fr-FR" sz="2000" b="1" dirty="0">
                <a:solidFill>
                  <a:srgbClr val="000080"/>
                </a:solidFill>
                <a:latin typeface="Century Gothic" pitchFamily="34" charset="0"/>
              </a:rPr>
              <a:t>des points suivants :</a:t>
            </a:r>
          </a:p>
          <a:p>
            <a:pPr marL="742950" lvl="1" indent="-285750" algn="just">
              <a:buFont typeface="Wingdings" pitchFamily="2" charset="2"/>
              <a:buChar char="q"/>
            </a:pPr>
            <a:r>
              <a:rPr lang="fr-FR" sz="2000" b="1" dirty="0">
                <a:solidFill>
                  <a:srgbClr val="000080"/>
                </a:solidFill>
                <a:latin typeface="Century Gothic" pitchFamily="34" charset="0"/>
              </a:rPr>
              <a:t>Recensement des infrastructures </a:t>
            </a:r>
            <a:r>
              <a:rPr lang="fr-FR" sz="2000" b="1" dirty="0" smtClean="0">
                <a:solidFill>
                  <a:srgbClr val="000080"/>
                </a:solidFill>
                <a:latin typeface="Century Gothic" pitchFamily="34" charset="0"/>
              </a:rPr>
              <a:t>de télécommunications existantes </a:t>
            </a:r>
            <a:r>
              <a:rPr lang="fr-FR" sz="2000" b="1" dirty="0">
                <a:solidFill>
                  <a:srgbClr val="000080"/>
                </a:solidFill>
                <a:latin typeface="Century Gothic" pitchFamily="34" charset="0"/>
              </a:rPr>
              <a:t>et de l’évolution des besoins sur les 10-15 années à venir ;</a:t>
            </a:r>
          </a:p>
          <a:p>
            <a:pPr marL="742950" lvl="1" indent="-285750" algn="just">
              <a:buFont typeface="Wingdings" pitchFamily="2" charset="2"/>
              <a:buChar char="q"/>
            </a:pPr>
            <a:r>
              <a:rPr lang="fr-FR" sz="2000" b="1" dirty="0">
                <a:solidFill>
                  <a:srgbClr val="000080"/>
                </a:solidFill>
                <a:latin typeface="Century Gothic" pitchFamily="34" charset="0"/>
              </a:rPr>
              <a:t>Fixation d’objectifs </a:t>
            </a:r>
            <a:r>
              <a:rPr lang="fr-FR" sz="2000" b="1" dirty="0" smtClean="0">
                <a:solidFill>
                  <a:srgbClr val="000080"/>
                </a:solidFill>
                <a:latin typeface="Century Gothic" pitchFamily="34" charset="0"/>
              </a:rPr>
              <a:t>pour la couverture haut </a:t>
            </a:r>
            <a:r>
              <a:rPr lang="fr-FR" sz="2000" b="1" dirty="0">
                <a:solidFill>
                  <a:srgbClr val="000080"/>
                </a:solidFill>
                <a:latin typeface="Century Gothic" pitchFamily="34" charset="0"/>
              </a:rPr>
              <a:t>et très haut débit et estimation des besoins en financement </a:t>
            </a:r>
            <a:r>
              <a:rPr lang="fr-FR" sz="2000" b="1" dirty="0" smtClean="0">
                <a:solidFill>
                  <a:srgbClr val="000080"/>
                </a:solidFill>
                <a:latin typeface="Century Gothic" pitchFamily="34" charset="0"/>
              </a:rPr>
              <a:t>y afférents ;</a:t>
            </a:r>
            <a:endParaRPr lang="fr-FR" sz="2000" b="1" dirty="0">
              <a:solidFill>
                <a:srgbClr val="000080"/>
              </a:solidFill>
              <a:latin typeface="Century Gothic" pitchFamily="34" charset="0"/>
            </a:endParaRPr>
          </a:p>
          <a:p>
            <a:pPr marL="742950" lvl="1" indent="-285750" algn="just">
              <a:buFont typeface="Wingdings" pitchFamily="2" charset="2"/>
              <a:buChar char="q"/>
            </a:pPr>
            <a:r>
              <a:rPr lang="fr-FR" sz="2000" b="1" dirty="0">
                <a:solidFill>
                  <a:srgbClr val="000080"/>
                </a:solidFill>
                <a:latin typeface="Century Gothic" pitchFamily="34" charset="0"/>
              </a:rPr>
              <a:t>Élaboration d’un plan d’actions </a:t>
            </a:r>
            <a:r>
              <a:rPr lang="fr-FR" sz="2000" b="1" dirty="0" smtClean="0">
                <a:solidFill>
                  <a:srgbClr val="000080"/>
                </a:solidFill>
                <a:latin typeface="Century Gothic" pitchFamily="34" charset="0"/>
              </a:rPr>
              <a:t>pour </a:t>
            </a:r>
            <a:r>
              <a:rPr lang="fr-FR" sz="2000" b="1" dirty="0">
                <a:solidFill>
                  <a:srgbClr val="000080"/>
                </a:solidFill>
                <a:latin typeface="Century Gothic" pitchFamily="34" charset="0"/>
              </a:rPr>
              <a:t>la réalisation </a:t>
            </a:r>
            <a:r>
              <a:rPr lang="fr-FR" sz="2000" b="1" dirty="0" smtClean="0">
                <a:solidFill>
                  <a:srgbClr val="000080"/>
                </a:solidFill>
                <a:latin typeface="Century Gothic" pitchFamily="34" charset="0"/>
              </a:rPr>
              <a:t>des </a:t>
            </a:r>
            <a:r>
              <a:rPr lang="fr-FR" sz="2000" b="1" dirty="0">
                <a:solidFill>
                  <a:srgbClr val="000080"/>
                </a:solidFill>
                <a:latin typeface="Century Gothic" pitchFamily="34" charset="0"/>
              </a:rPr>
              <a:t>objectifs </a:t>
            </a:r>
            <a:r>
              <a:rPr lang="fr-FR" sz="2000" b="1" dirty="0" smtClean="0">
                <a:solidFill>
                  <a:srgbClr val="000080"/>
                </a:solidFill>
                <a:latin typeface="Century Gothic" pitchFamily="34" charset="0"/>
              </a:rPr>
              <a:t>fixés.</a:t>
            </a:r>
          </a:p>
          <a:p>
            <a:pPr lvl="1" algn="just"/>
            <a:endParaRPr lang="fr-FR" sz="2000" b="1" dirty="0">
              <a:solidFill>
                <a:srgbClr val="000080"/>
              </a:solidFill>
              <a:latin typeface="Century Gothic" pitchFamily="34" charset="0"/>
            </a:endParaRPr>
          </a:p>
          <a:p>
            <a:pPr marL="285750" indent="-285750" algn="just">
              <a:buFont typeface="Wingdings" pitchFamily="2" charset="2"/>
              <a:buChar char="q"/>
            </a:pPr>
            <a:r>
              <a:rPr lang="fr-FR" sz="2000" b="1" dirty="0">
                <a:solidFill>
                  <a:srgbClr val="000080"/>
                </a:solidFill>
                <a:latin typeface="Century Gothic" pitchFamily="34" charset="0"/>
              </a:rPr>
              <a:t>Les actions </a:t>
            </a:r>
            <a:r>
              <a:rPr lang="fr-FR" sz="2000" b="1" dirty="0" smtClean="0">
                <a:solidFill>
                  <a:srgbClr val="000080"/>
                </a:solidFill>
                <a:latin typeface="Century Gothic" pitchFamily="34" charset="0"/>
              </a:rPr>
              <a:t>opérationnelles à mettre en œuvre porteront sur :</a:t>
            </a:r>
            <a:endParaRPr lang="fr-FR" sz="2000" b="1" dirty="0">
              <a:solidFill>
                <a:srgbClr val="000080"/>
              </a:solidFill>
              <a:latin typeface="Century Gothic" pitchFamily="34" charset="0"/>
            </a:endParaRPr>
          </a:p>
          <a:p>
            <a:pPr marL="712788" lvl="0" indent="-266700" algn="just">
              <a:buFont typeface="Wingdings" pitchFamily="2" charset="2"/>
              <a:buChar char="q"/>
            </a:pPr>
            <a:r>
              <a:rPr lang="fr-FR" sz="2000" b="1" dirty="0" smtClean="0">
                <a:solidFill>
                  <a:srgbClr val="000080"/>
                </a:solidFill>
                <a:latin typeface="Century Gothic" pitchFamily="34" charset="0"/>
              </a:rPr>
              <a:t>Le déploiement </a:t>
            </a:r>
            <a:r>
              <a:rPr lang="fr-FR" sz="2000" b="1" dirty="0">
                <a:solidFill>
                  <a:srgbClr val="000080"/>
                </a:solidFill>
                <a:latin typeface="Century Gothic" pitchFamily="34" charset="0"/>
              </a:rPr>
              <a:t>de solutions pour l’accès haut débit par des infrastructures terrestres </a:t>
            </a:r>
            <a:r>
              <a:rPr lang="fr-FR" sz="2000" b="1" dirty="0" smtClean="0">
                <a:solidFill>
                  <a:srgbClr val="000080"/>
                </a:solidFill>
                <a:latin typeface="Century Gothic" pitchFamily="34" charset="0"/>
              </a:rPr>
              <a:t>;</a:t>
            </a:r>
          </a:p>
          <a:p>
            <a:pPr marL="712788" lvl="0" indent="-266700" algn="just">
              <a:buFont typeface="Wingdings" pitchFamily="2" charset="2"/>
              <a:buChar char="q"/>
            </a:pPr>
            <a:r>
              <a:rPr lang="fr-FR" sz="2000" b="1" dirty="0" smtClean="0">
                <a:solidFill>
                  <a:srgbClr val="000080"/>
                </a:solidFill>
                <a:latin typeface="Century Gothic" pitchFamily="34" charset="0"/>
              </a:rPr>
              <a:t>Le recours </a:t>
            </a:r>
            <a:r>
              <a:rPr lang="fr-FR" sz="2000" b="1" dirty="0">
                <a:solidFill>
                  <a:srgbClr val="000080"/>
                </a:solidFill>
                <a:latin typeface="Century Gothic" pitchFamily="34" charset="0"/>
              </a:rPr>
              <a:t>aux solutions satellitaires dans les zones éloignées </a:t>
            </a:r>
            <a:r>
              <a:rPr lang="fr-FR" sz="2000" b="1" dirty="0" smtClean="0">
                <a:solidFill>
                  <a:srgbClr val="000080"/>
                </a:solidFill>
                <a:latin typeface="Century Gothic" pitchFamily="34" charset="0"/>
              </a:rPr>
              <a:t>et/ou </a:t>
            </a:r>
            <a:r>
              <a:rPr lang="fr-FR" sz="2000" b="1" dirty="0">
                <a:solidFill>
                  <a:srgbClr val="000080"/>
                </a:solidFill>
                <a:latin typeface="Century Gothic" pitchFamily="34" charset="0"/>
              </a:rPr>
              <a:t>peu rentables;</a:t>
            </a:r>
          </a:p>
          <a:p>
            <a:pPr marL="712788" lvl="0" indent="-266700" algn="just">
              <a:buFont typeface="Wingdings" pitchFamily="2" charset="2"/>
              <a:buChar char="q"/>
            </a:pPr>
            <a:r>
              <a:rPr lang="fr-FR" sz="2000" b="1" dirty="0" smtClean="0">
                <a:solidFill>
                  <a:srgbClr val="000080"/>
                </a:solidFill>
                <a:latin typeface="Century Gothic" pitchFamily="34" charset="0"/>
              </a:rPr>
              <a:t>Le déploiement </a:t>
            </a:r>
            <a:r>
              <a:rPr lang="fr-FR" sz="2000" b="1" dirty="0">
                <a:solidFill>
                  <a:srgbClr val="000080"/>
                </a:solidFill>
                <a:latin typeface="Century Gothic" pitchFamily="34" charset="0"/>
              </a:rPr>
              <a:t>de solutions </a:t>
            </a:r>
            <a:r>
              <a:rPr lang="fr-FR" sz="2000" b="1" dirty="0" smtClean="0">
                <a:solidFill>
                  <a:srgbClr val="000080"/>
                </a:solidFill>
                <a:latin typeface="Century Gothic" pitchFamily="34" charset="0"/>
              </a:rPr>
              <a:t>pour </a:t>
            </a:r>
            <a:r>
              <a:rPr lang="fr-FR" sz="2000" b="1" dirty="0">
                <a:solidFill>
                  <a:srgbClr val="000080"/>
                </a:solidFill>
                <a:latin typeface="Century Gothic" pitchFamily="34" charset="0"/>
              </a:rPr>
              <a:t>l’accès très haut </a:t>
            </a:r>
            <a:r>
              <a:rPr lang="fr-FR" sz="2000" b="1" dirty="0" smtClean="0">
                <a:solidFill>
                  <a:srgbClr val="000080"/>
                </a:solidFill>
                <a:latin typeface="Century Gothic" pitchFamily="34" charset="0"/>
              </a:rPr>
              <a:t>débit </a:t>
            </a:r>
            <a:r>
              <a:rPr lang="fr-FR" sz="2000" dirty="0" smtClean="0">
                <a:solidFill>
                  <a:srgbClr val="000080"/>
                </a:solidFill>
                <a:latin typeface="Century Gothic" pitchFamily="34" charset="0"/>
              </a:rPr>
              <a:t>(</a:t>
            </a:r>
            <a:r>
              <a:rPr lang="fr-FR" sz="2000" dirty="0">
                <a:solidFill>
                  <a:srgbClr val="000080"/>
                </a:solidFill>
                <a:latin typeface="Century Gothic" pitchFamily="34" charset="0"/>
              </a:rPr>
              <a:t>au minimum 100 Mbit/s) sur la base de technologies filaires optiques.</a:t>
            </a:r>
          </a:p>
          <a:p>
            <a:pPr marL="446088" lvl="0" algn="just"/>
            <a:endParaRPr lang="fr-FR" sz="2000" b="1" dirty="0">
              <a:solidFill>
                <a:srgbClr val="000080"/>
              </a:solidFill>
              <a:latin typeface="Century Gothic" pitchFamily="34" charset="0"/>
            </a:endParaRPr>
          </a:p>
        </p:txBody>
      </p:sp>
      <p:pic>
        <p:nvPicPr>
          <p:cNvPr id="4" name="Image 3"/>
          <p:cNvPicPr/>
          <p:nvPr/>
        </p:nvPicPr>
        <p:blipFill>
          <a:blip r:embed="rId4">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414954185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3491">
                                            <p:txEl>
                                              <p:pRg st="1" end="1"/>
                                            </p:txEl>
                                          </p:spTgt>
                                        </p:tgtEl>
                                        <p:attrNameLst>
                                          <p:attrName>style.visibility</p:attrName>
                                        </p:attrNameLst>
                                      </p:cBhvr>
                                      <p:to>
                                        <p:strVal val="visible"/>
                                      </p:to>
                                    </p:set>
                                    <p:animEffect transition="in" filter="fade">
                                      <p:cBhvr>
                                        <p:cTn id="7" dur="1000"/>
                                        <p:tgtEl>
                                          <p:spTgt spid="63491">
                                            <p:txEl>
                                              <p:pRg st="1" end="1"/>
                                            </p:txEl>
                                          </p:spTgt>
                                        </p:tgtEl>
                                      </p:cBhvr>
                                    </p:animEffect>
                                    <p:anim calcmode="lin" valueType="num">
                                      <p:cBhvr>
                                        <p:cTn id="8" dur="1000" fill="hold"/>
                                        <p:tgtEl>
                                          <p:spTgt spid="63491">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63491">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63491">
                                            <p:txEl>
                                              <p:pRg st="2" end="2"/>
                                            </p:txEl>
                                          </p:spTgt>
                                        </p:tgtEl>
                                        <p:attrNameLst>
                                          <p:attrName>style.visibility</p:attrName>
                                        </p:attrNameLst>
                                      </p:cBhvr>
                                      <p:to>
                                        <p:strVal val="visible"/>
                                      </p:to>
                                    </p:set>
                                    <p:animEffect transition="in" filter="fade">
                                      <p:cBhvr>
                                        <p:cTn id="14" dur="1000"/>
                                        <p:tgtEl>
                                          <p:spTgt spid="63491">
                                            <p:txEl>
                                              <p:pRg st="2" end="2"/>
                                            </p:txEl>
                                          </p:spTgt>
                                        </p:tgtEl>
                                      </p:cBhvr>
                                    </p:animEffect>
                                    <p:anim calcmode="lin" valueType="num">
                                      <p:cBhvr>
                                        <p:cTn id="15" dur="1000" fill="hold"/>
                                        <p:tgtEl>
                                          <p:spTgt spid="63491">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63491">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63491">
                                            <p:txEl>
                                              <p:pRg st="3" end="3"/>
                                            </p:txEl>
                                          </p:spTgt>
                                        </p:tgtEl>
                                        <p:attrNameLst>
                                          <p:attrName>style.visibility</p:attrName>
                                        </p:attrNameLst>
                                      </p:cBhvr>
                                      <p:to>
                                        <p:strVal val="visible"/>
                                      </p:to>
                                    </p:set>
                                    <p:animEffect transition="in" filter="fade">
                                      <p:cBhvr>
                                        <p:cTn id="21" dur="1000"/>
                                        <p:tgtEl>
                                          <p:spTgt spid="63491">
                                            <p:txEl>
                                              <p:pRg st="3" end="3"/>
                                            </p:txEl>
                                          </p:spTgt>
                                        </p:tgtEl>
                                      </p:cBhvr>
                                    </p:animEffect>
                                    <p:anim calcmode="lin" valueType="num">
                                      <p:cBhvr>
                                        <p:cTn id="22" dur="1000" fill="hold"/>
                                        <p:tgtEl>
                                          <p:spTgt spid="63491">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63491">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63491">
                                            <p:txEl>
                                              <p:pRg st="5" end="5"/>
                                            </p:txEl>
                                          </p:spTgt>
                                        </p:tgtEl>
                                        <p:attrNameLst>
                                          <p:attrName>style.visibility</p:attrName>
                                        </p:attrNameLst>
                                      </p:cBhvr>
                                      <p:to>
                                        <p:strVal val="visible"/>
                                      </p:to>
                                    </p:set>
                                    <p:animEffect transition="in" filter="fade">
                                      <p:cBhvr>
                                        <p:cTn id="28" dur="1000"/>
                                        <p:tgtEl>
                                          <p:spTgt spid="63491">
                                            <p:txEl>
                                              <p:pRg st="5" end="5"/>
                                            </p:txEl>
                                          </p:spTgt>
                                        </p:tgtEl>
                                      </p:cBhvr>
                                    </p:animEffect>
                                    <p:anim calcmode="lin" valueType="num">
                                      <p:cBhvr>
                                        <p:cTn id="29" dur="1000" fill="hold"/>
                                        <p:tgtEl>
                                          <p:spTgt spid="63491">
                                            <p:txEl>
                                              <p:pRg st="5" end="5"/>
                                            </p:txEl>
                                          </p:spTgt>
                                        </p:tgtEl>
                                        <p:attrNameLst>
                                          <p:attrName>ppt_x</p:attrName>
                                        </p:attrNameLst>
                                      </p:cBhvr>
                                      <p:tavLst>
                                        <p:tav tm="0">
                                          <p:val>
                                            <p:strVal val="#ppt_x"/>
                                          </p:val>
                                        </p:tav>
                                        <p:tav tm="100000">
                                          <p:val>
                                            <p:strVal val="#ppt_x"/>
                                          </p:val>
                                        </p:tav>
                                      </p:tavLst>
                                    </p:anim>
                                    <p:anim calcmode="lin" valueType="num">
                                      <p:cBhvr>
                                        <p:cTn id="30" dur="1000" fill="hold"/>
                                        <p:tgtEl>
                                          <p:spTgt spid="63491">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63491">
                                            <p:txEl>
                                              <p:pRg st="6" end="6"/>
                                            </p:txEl>
                                          </p:spTgt>
                                        </p:tgtEl>
                                        <p:attrNameLst>
                                          <p:attrName>style.visibility</p:attrName>
                                        </p:attrNameLst>
                                      </p:cBhvr>
                                      <p:to>
                                        <p:strVal val="visible"/>
                                      </p:to>
                                    </p:set>
                                    <p:animEffect transition="in" filter="fade">
                                      <p:cBhvr>
                                        <p:cTn id="35" dur="1000"/>
                                        <p:tgtEl>
                                          <p:spTgt spid="63491">
                                            <p:txEl>
                                              <p:pRg st="6" end="6"/>
                                            </p:txEl>
                                          </p:spTgt>
                                        </p:tgtEl>
                                      </p:cBhvr>
                                    </p:animEffect>
                                    <p:anim calcmode="lin" valueType="num">
                                      <p:cBhvr>
                                        <p:cTn id="36" dur="1000" fill="hold"/>
                                        <p:tgtEl>
                                          <p:spTgt spid="63491">
                                            <p:txEl>
                                              <p:pRg st="6" end="6"/>
                                            </p:txEl>
                                          </p:spTgt>
                                        </p:tgtEl>
                                        <p:attrNameLst>
                                          <p:attrName>ppt_x</p:attrName>
                                        </p:attrNameLst>
                                      </p:cBhvr>
                                      <p:tavLst>
                                        <p:tav tm="0">
                                          <p:val>
                                            <p:strVal val="#ppt_x"/>
                                          </p:val>
                                        </p:tav>
                                        <p:tav tm="100000">
                                          <p:val>
                                            <p:strVal val="#ppt_x"/>
                                          </p:val>
                                        </p:tav>
                                      </p:tavLst>
                                    </p:anim>
                                    <p:anim calcmode="lin" valueType="num">
                                      <p:cBhvr>
                                        <p:cTn id="37" dur="1000" fill="hold"/>
                                        <p:tgtEl>
                                          <p:spTgt spid="63491">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63491">
                                            <p:txEl>
                                              <p:pRg st="7" end="7"/>
                                            </p:txEl>
                                          </p:spTgt>
                                        </p:tgtEl>
                                        <p:attrNameLst>
                                          <p:attrName>style.visibility</p:attrName>
                                        </p:attrNameLst>
                                      </p:cBhvr>
                                      <p:to>
                                        <p:strVal val="visible"/>
                                      </p:to>
                                    </p:set>
                                    <p:animEffect transition="in" filter="fade">
                                      <p:cBhvr>
                                        <p:cTn id="42" dur="1000"/>
                                        <p:tgtEl>
                                          <p:spTgt spid="63491">
                                            <p:txEl>
                                              <p:pRg st="7" end="7"/>
                                            </p:txEl>
                                          </p:spTgt>
                                        </p:tgtEl>
                                      </p:cBhvr>
                                    </p:animEffect>
                                    <p:anim calcmode="lin" valueType="num">
                                      <p:cBhvr>
                                        <p:cTn id="43" dur="1000" fill="hold"/>
                                        <p:tgtEl>
                                          <p:spTgt spid="63491">
                                            <p:txEl>
                                              <p:pRg st="7" end="7"/>
                                            </p:txEl>
                                          </p:spTgt>
                                        </p:tgtEl>
                                        <p:attrNameLst>
                                          <p:attrName>ppt_x</p:attrName>
                                        </p:attrNameLst>
                                      </p:cBhvr>
                                      <p:tavLst>
                                        <p:tav tm="0">
                                          <p:val>
                                            <p:strVal val="#ppt_x"/>
                                          </p:val>
                                        </p:tav>
                                        <p:tav tm="100000">
                                          <p:val>
                                            <p:strVal val="#ppt_x"/>
                                          </p:val>
                                        </p:tav>
                                      </p:tavLst>
                                    </p:anim>
                                    <p:anim calcmode="lin" valueType="num">
                                      <p:cBhvr>
                                        <p:cTn id="44" dur="1000" fill="hold"/>
                                        <p:tgtEl>
                                          <p:spTgt spid="63491">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63491">
                                            <p:txEl>
                                              <p:pRg st="8" end="8"/>
                                            </p:txEl>
                                          </p:spTgt>
                                        </p:tgtEl>
                                        <p:attrNameLst>
                                          <p:attrName>style.visibility</p:attrName>
                                        </p:attrNameLst>
                                      </p:cBhvr>
                                      <p:to>
                                        <p:strVal val="visible"/>
                                      </p:to>
                                    </p:set>
                                    <p:animEffect transition="in" filter="fade">
                                      <p:cBhvr>
                                        <p:cTn id="49" dur="1000"/>
                                        <p:tgtEl>
                                          <p:spTgt spid="63491">
                                            <p:txEl>
                                              <p:pRg st="8" end="8"/>
                                            </p:txEl>
                                          </p:spTgt>
                                        </p:tgtEl>
                                      </p:cBhvr>
                                    </p:animEffect>
                                    <p:anim calcmode="lin" valueType="num">
                                      <p:cBhvr>
                                        <p:cTn id="50" dur="1000" fill="hold"/>
                                        <p:tgtEl>
                                          <p:spTgt spid="63491">
                                            <p:txEl>
                                              <p:pRg st="8" end="8"/>
                                            </p:txEl>
                                          </p:spTgt>
                                        </p:tgtEl>
                                        <p:attrNameLst>
                                          <p:attrName>ppt_x</p:attrName>
                                        </p:attrNameLst>
                                      </p:cBhvr>
                                      <p:tavLst>
                                        <p:tav tm="0">
                                          <p:val>
                                            <p:strVal val="#ppt_x"/>
                                          </p:val>
                                        </p:tav>
                                        <p:tav tm="100000">
                                          <p:val>
                                            <p:strVal val="#ppt_x"/>
                                          </p:val>
                                        </p:tav>
                                      </p:tavLst>
                                    </p:anim>
                                    <p:anim calcmode="lin" valueType="num">
                                      <p:cBhvr>
                                        <p:cTn id="51" dur="1000" fill="hold"/>
                                        <p:tgtEl>
                                          <p:spTgt spid="63491">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ur work  is </a:t>
            </a:r>
            <a:r>
              <a:rPr lang="en-GB" dirty="0"/>
              <a:t>based on </a:t>
            </a:r>
            <a:r>
              <a:rPr lang="en-GB" dirty="0" smtClean="0"/>
              <a:t>three main phases</a:t>
            </a:r>
            <a:endParaRPr lang="fr-FR" dirty="0"/>
          </a:p>
        </p:txBody>
      </p:sp>
      <p:sp>
        <p:nvSpPr>
          <p:cNvPr id="28" name="AutoShape 2"/>
          <p:cNvSpPr>
            <a:spLocks noChangeArrowheads="1"/>
          </p:cNvSpPr>
          <p:nvPr>
            <p:custDataLst>
              <p:tags r:id="rId1"/>
            </p:custDataLst>
          </p:nvPr>
        </p:nvSpPr>
        <p:spPr bwMode="auto">
          <a:xfrm rot="5400000">
            <a:off x="1743464" y="2122546"/>
            <a:ext cx="1706730" cy="1980954"/>
          </a:xfrm>
          <a:prstGeom prst="homePlate">
            <a:avLst>
              <a:gd name="adj" fmla="val 22094"/>
            </a:avLst>
          </a:prstGeom>
          <a:solidFill>
            <a:srgbClr val="B8CAD8"/>
          </a:solidFill>
          <a:ln>
            <a:noFill/>
          </a:ln>
          <a:extLst>
            <a:ext uri="{91240B29-F687-4F45-9708-019B960494DF}">
              <a14:hiddenLine xmlns:a14="http://schemas.microsoft.com/office/drawing/2010/main" w="12700">
                <a:solidFill>
                  <a:srgbClr val="000000"/>
                </a:solidFill>
                <a:miter lim="800000"/>
                <a:headEnd/>
                <a:tailEnd/>
              </a14:hiddenLine>
            </a:ext>
          </a:extLst>
        </p:spPr>
        <p:txBody>
          <a:bodyPr rot="10800000" vert="eaVert" lIns="90000" tIns="46800" rIns="90000" bIns="46800" anchor="ctr"/>
          <a:lstStyle/>
          <a:p>
            <a:r>
              <a:rPr lang="en-GB" sz="1400" dirty="0" smtClean="0"/>
              <a:t>1 – Analysis of the current situation</a:t>
            </a:r>
            <a:endParaRPr lang="en-GB" sz="1400" dirty="0"/>
          </a:p>
        </p:txBody>
      </p:sp>
      <p:sp>
        <p:nvSpPr>
          <p:cNvPr id="29" name="Rectangle 5"/>
          <p:cNvSpPr>
            <a:spLocks noChangeAspect="1" noChangeArrowheads="1"/>
          </p:cNvSpPr>
          <p:nvPr>
            <p:custDataLst>
              <p:tags r:id="rId2"/>
            </p:custDataLst>
          </p:nvPr>
        </p:nvSpPr>
        <p:spPr bwMode="auto">
          <a:xfrm>
            <a:off x="1606352" y="1532172"/>
            <a:ext cx="1980954" cy="672690"/>
          </a:xfrm>
          <a:prstGeom prst="rect">
            <a:avLst/>
          </a:prstGeom>
          <a:solidFill>
            <a:srgbClr val="7A9FB6"/>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p>
            <a:pPr algn="ctr"/>
            <a:r>
              <a:rPr lang="fr-FR" sz="1400" b="1" i="1" dirty="0" smtClean="0"/>
              <a:t>Main phases</a:t>
            </a:r>
            <a:endParaRPr lang="fr-FR" sz="1400" b="1" i="1" dirty="0"/>
          </a:p>
        </p:txBody>
      </p:sp>
      <p:sp>
        <p:nvSpPr>
          <p:cNvPr id="32" name="Rectangle 8"/>
          <p:cNvSpPr>
            <a:spLocks noChangeArrowheads="1"/>
          </p:cNvSpPr>
          <p:nvPr>
            <p:custDataLst>
              <p:tags r:id="rId3"/>
            </p:custDataLst>
          </p:nvPr>
        </p:nvSpPr>
        <p:spPr bwMode="auto">
          <a:xfrm>
            <a:off x="4825390" y="2665632"/>
            <a:ext cx="2932640" cy="547342"/>
          </a:xfrm>
          <a:prstGeom prst="rect">
            <a:avLst/>
          </a:prstGeom>
          <a:solidFill>
            <a:srgbClr val="B8CAD8"/>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p>
            <a:pPr algn="ctr"/>
            <a:r>
              <a:rPr lang="en-GB" sz="1400" dirty="0" smtClean="0"/>
              <a:t>Report no. 1 – Benchmark</a:t>
            </a:r>
            <a:endParaRPr lang="en-GB" sz="1400" dirty="0"/>
          </a:p>
        </p:txBody>
      </p:sp>
      <p:sp>
        <p:nvSpPr>
          <p:cNvPr id="35" name="AutoShape 3"/>
          <p:cNvSpPr>
            <a:spLocks noChangeArrowheads="1"/>
          </p:cNvSpPr>
          <p:nvPr>
            <p:custDataLst>
              <p:tags r:id="rId4"/>
            </p:custDataLst>
          </p:nvPr>
        </p:nvSpPr>
        <p:spPr bwMode="auto">
          <a:xfrm rot="5400000">
            <a:off x="1772201" y="3558110"/>
            <a:ext cx="1649254" cy="1980954"/>
          </a:xfrm>
          <a:prstGeom prst="chevron">
            <a:avLst>
              <a:gd name="adj" fmla="val 23098"/>
            </a:avLst>
          </a:prstGeom>
          <a:solidFill>
            <a:srgbClr val="E3CAB3"/>
          </a:solidFill>
          <a:ln>
            <a:noFill/>
          </a:ln>
          <a:extLst>
            <a:ext uri="{91240B29-F687-4F45-9708-019B960494DF}">
              <a14:hiddenLine xmlns:a14="http://schemas.microsoft.com/office/drawing/2010/main" w="12700">
                <a:solidFill>
                  <a:srgbClr val="000000"/>
                </a:solidFill>
                <a:miter lim="800000"/>
                <a:headEnd/>
                <a:tailEnd/>
              </a14:hiddenLine>
            </a:ext>
          </a:extLst>
        </p:spPr>
        <p:txBody>
          <a:bodyPr rot="10800000" vert="eaVert" lIns="90000" tIns="46800" rIns="90000" bIns="46800" anchor="ctr"/>
          <a:lstStyle/>
          <a:p>
            <a:r>
              <a:rPr lang="en-GB" sz="1400" dirty="0" smtClean="0"/>
              <a:t>2 – Definition and scenario analysis</a:t>
            </a:r>
            <a:endParaRPr lang="en-GB" sz="1400" dirty="0"/>
          </a:p>
        </p:txBody>
      </p:sp>
      <p:sp>
        <p:nvSpPr>
          <p:cNvPr id="38" name="AutoShape 3"/>
          <p:cNvSpPr>
            <a:spLocks noChangeArrowheads="1"/>
          </p:cNvSpPr>
          <p:nvPr>
            <p:custDataLst>
              <p:tags r:id="rId5"/>
            </p:custDataLst>
          </p:nvPr>
        </p:nvSpPr>
        <p:spPr bwMode="auto">
          <a:xfrm rot="5400000">
            <a:off x="1900449" y="4838488"/>
            <a:ext cx="1392760" cy="1980953"/>
          </a:xfrm>
          <a:prstGeom prst="chevron">
            <a:avLst>
              <a:gd name="adj" fmla="val 27755"/>
            </a:avLst>
          </a:prstGeom>
          <a:solidFill>
            <a:srgbClr val="7C9637"/>
          </a:solidFill>
          <a:ln>
            <a:noFill/>
          </a:ln>
          <a:extLst>
            <a:ext uri="{91240B29-F687-4F45-9708-019B960494DF}">
              <a14:hiddenLine xmlns:a14="http://schemas.microsoft.com/office/drawing/2010/main" w="12700">
                <a:solidFill>
                  <a:srgbClr val="000000"/>
                </a:solidFill>
                <a:miter lim="800000"/>
                <a:headEnd/>
                <a:tailEnd/>
              </a14:hiddenLine>
            </a:ext>
          </a:extLst>
        </p:spPr>
        <p:txBody>
          <a:bodyPr rot="10800000" vert="eaVert" lIns="90000" tIns="46800" rIns="90000" bIns="46800" anchor="ctr"/>
          <a:lstStyle/>
          <a:p>
            <a:r>
              <a:rPr lang="en-GB" sz="1400" dirty="0" smtClean="0"/>
              <a:t>3 – Formalization </a:t>
            </a:r>
            <a:r>
              <a:rPr lang="en-GB" sz="1400" dirty="0"/>
              <a:t>of the </a:t>
            </a:r>
            <a:r>
              <a:rPr lang="en-GB" sz="1400" dirty="0" smtClean="0"/>
              <a:t>broadband action </a:t>
            </a:r>
            <a:r>
              <a:rPr lang="en-GB" sz="1400" dirty="0"/>
              <a:t>plan </a:t>
            </a:r>
            <a:r>
              <a:rPr lang="en-GB" sz="1400" dirty="0" smtClean="0"/>
              <a:t>and </a:t>
            </a:r>
            <a:r>
              <a:rPr lang="en-GB" sz="1400" dirty="0"/>
              <a:t>its </a:t>
            </a:r>
            <a:r>
              <a:rPr lang="en-GB" sz="1400" dirty="0" smtClean="0"/>
              <a:t>implementation</a:t>
            </a:r>
            <a:endParaRPr lang="en-GB" sz="1400" dirty="0"/>
          </a:p>
        </p:txBody>
      </p:sp>
      <p:sp>
        <p:nvSpPr>
          <p:cNvPr id="44" name="Rectangle 8"/>
          <p:cNvSpPr>
            <a:spLocks noChangeArrowheads="1"/>
          </p:cNvSpPr>
          <p:nvPr>
            <p:custDataLst>
              <p:tags r:id="rId6"/>
            </p:custDataLst>
          </p:nvPr>
        </p:nvSpPr>
        <p:spPr bwMode="auto">
          <a:xfrm>
            <a:off x="4825390" y="3241696"/>
            <a:ext cx="2932640" cy="547342"/>
          </a:xfrm>
          <a:prstGeom prst="rect">
            <a:avLst/>
          </a:prstGeom>
          <a:solidFill>
            <a:srgbClr val="B8CAD8"/>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p>
            <a:r>
              <a:rPr lang="en-GB" sz="1400" dirty="0" smtClean="0"/>
              <a:t>Report no. 2 – Current situation</a:t>
            </a:r>
            <a:endParaRPr lang="en-GB" sz="1400" dirty="0"/>
          </a:p>
        </p:txBody>
      </p:sp>
      <p:sp>
        <p:nvSpPr>
          <p:cNvPr id="45" name="Rectangle 8"/>
          <p:cNvSpPr>
            <a:spLocks noChangeArrowheads="1"/>
          </p:cNvSpPr>
          <p:nvPr>
            <p:custDataLst>
              <p:tags r:id="rId7"/>
            </p:custDataLst>
          </p:nvPr>
        </p:nvSpPr>
        <p:spPr bwMode="auto">
          <a:xfrm>
            <a:off x="4825391" y="4082932"/>
            <a:ext cx="2932639" cy="547342"/>
          </a:xfrm>
          <a:prstGeom prst="rect">
            <a:avLst/>
          </a:prstGeom>
          <a:solidFill>
            <a:srgbClr val="E3CAB3"/>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p>
            <a:r>
              <a:rPr lang="en-GB" sz="1400" dirty="0" smtClean="0"/>
              <a:t>Selected scenario</a:t>
            </a:r>
            <a:endParaRPr lang="en-GB" sz="1400" dirty="0"/>
          </a:p>
        </p:txBody>
      </p:sp>
      <p:sp>
        <p:nvSpPr>
          <p:cNvPr id="49" name="Rectangle 8"/>
          <p:cNvSpPr>
            <a:spLocks noChangeArrowheads="1"/>
          </p:cNvSpPr>
          <p:nvPr>
            <p:custDataLst>
              <p:tags r:id="rId8"/>
            </p:custDataLst>
          </p:nvPr>
        </p:nvSpPr>
        <p:spPr bwMode="auto">
          <a:xfrm>
            <a:off x="4828674" y="5316330"/>
            <a:ext cx="2932639" cy="632948"/>
          </a:xfrm>
          <a:prstGeom prst="rect">
            <a:avLst/>
          </a:prstGeom>
          <a:solidFill>
            <a:srgbClr val="7C9637"/>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p>
            <a:r>
              <a:rPr lang="fr-FR" sz="1400" dirty="0"/>
              <a:t>Report no. 3 – </a:t>
            </a:r>
            <a:r>
              <a:rPr lang="en-GB" sz="1400" dirty="0"/>
              <a:t>Needs in terms of </a:t>
            </a:r>
            <a:r>
              <a:rPr lang="en-GB" sz="1400" dirty="0" smtClean="0"/>
              <a:t>national broadband plan</a:t>
            </a:r>
            <a:endParaRPr lang="fr-FR" sz="1400" dirty="0"/>
          </a:p>
        </p:txBody>
      </p:sp>
      <p:cxnSp>
        <p:nvCxnSpPr>
          <p:cNvPr id="4" name="Straight Arrow Connector 3"/>
          <p:cNvCxnSpPr>
            <a:stCxn id="28" idx="0"/>
            <a:endCxn id="32" idx="1"/>
          </p:cNvCxnSpPr>
          <p:nvPr/>
        </p:nvCxnSpPr>
        <p:spPr bwMode="auto">
          <a:xfrm>
            <a:off x="3587307" y="2924481"/>
            <a:ext cx="1238083" cy="14822"/>
          </a:xfrm>
          <a:prstGeom prst="straightConnector1">
            <a:avLst/>
          </a:prstGeom>
          <a:solidFill>
            <a:schemeClr val="bg2"/>
          </a:solidFill>
          <a:ln w="12700" cap="flat" cmpd="sng" algn="ctr">
            <a:solidFill>
              <a:schemeClr val="bg2"/>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Elbow Connector 5"/>
          <p:cNvCxnSpPr>
            <a:stCxn id="28" idx="0"/>
            <a:endCxn id="44" idx="1"/>
          </p:cNvCxnSpPr>
          <p:nvPr/>
        </p:nvCxnSpPr>
        <p:spPr bwMode="auto">
          <a:xfrm>
            <a:off x="3587307" y="2924481"/>
            <a:ext cx="1238083" cy="590886"/>
          </a:xfrm>
          <a:prstGeom prst="bentConnector3">
            <a:avLst/>
          </a:prstGeom>
          <a:solidFill>
            <a:schemeClr val="bg2"/>
          </a:solidFill>
          <a:ln w="12700" cap="flat" cmpd="sng" algn="ctr">
            <a:solidFill>
              <a:schemeClr val="bg2"/>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Arrow Connector 17"/>
          <p:cNvCxnSpPr>
            <a:stCxn id="35" idx="0"/>
            <a:endCxn id="45" idx="1"/>
          </p:cNvCxnSpPr>
          <p:nvPr/>
        </p:nvCxnSpPr>
        <p:spPr bwMode="auto">
          <a:xfrm flipV="1">
            <a:off x="3587306" y="4356603"/>
            <a:ext cx="1238085" cy="1512"/>
          </a:xfrm>
          <a:prstGeom prst="straightConnector1">
            <a:avLst/>
          </a:prstGeom>
          <a:solidFill>
            <a:schemeClr val="bg2"/>
          </a:solidFill>
          <a:ln w="12700" cap="flat" cmpd="sng" algn="ctr">
            <a:solidFill>
              <a:schemeClr val="bg2"/>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Arrow Connector 20"/>
          <p:cNvCxnSpPr>
            <a:stCxn id="38" idx="0"/>
            <a:endCxn id="49" idx="1"/>
          </p:cNvCxnSpPr>
          <p:nvPr/>
        </p:nvCxnSpPr>
        <p:spPr bwMode="auto">
          <a:xfrm flipV="1">
            <a:off x="3587306" y="5632804"/>
            <a:ext cx="1241368" cy="2880"/>
          </a:xfrm>
          <a:prstGeom prst="straightConnector1">
            <a:avLst/>
          </a:prstGeom>
          <a:solidFill>
            <a:schemeClr val="bg2"/>
          </a:solidFill>
          <a:ln w="12700" cap="flat" cmpd="sng" algn="ctr">
            <a:solidFill>
              <a:schemeClr val="bg2"/>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 name="Rectangle 5"/>
          <p:cNvSpPr>
            <a:spLocks noChangeAspect="1" noChangeArrowheads="1"/>
          </p:cNvSpPr>
          <p:nvPr>
            <p:custDataLst>
              <p:tags r:id="rId9"/>
            </p:custDataLst>
          </p:nvPr>
        </p:nvSpPr>
        <p:spPr bwMode="auto">
          <a:xfrm>
            <a:off x="4825390" y="1532172"/>
            <a:ext cx="2929356" cy="672690"/>
          </a:xfrm>
          <a:prstGeom prst="rect">
            <a:avLst/>
          </a:prstGeom>
          <a:solidFill>
            <a:srgbClr val="7A9FB6"/>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lstStyle/>
          <a:p>
            <a:r>
              <a:rPr lang="en-GB" sz="1400" b="1" i="1" dirty="0"/>
              <a:t>Deliverables</a:t>
            </a:r>
            <a:endParaRPr lang="fr-FR" sz="1400" b="1" i="1" dirty="0"/>
          </a:p>
        </p:txBody>
      </p:sp>
      <p:sp>
        <p:nvSpPr>
          <p:cNvPr id="16" name="Text Box 2"/>
          <p:cNvSpPr txBox="1">
            <a:spLocks noChangeArrowheads="1"/>
          </p:cNvSpPr>
          <p:nvPr/>
        </p:nvSpPr>
        <p:spPr bwMode="auto">
          <a:xfrm>
            <a:off x="2457583" y="260351"/>
            <a:ext cx="6017677" cy="461657"/>
          </a:xfrm>
          <a:prstGeom prst="rect">
            <a:avLst/>
          </a:prstGeom>
          <a:solidFill>
            <a:srgbClr val="C0C0C0"/>
          </a:solidFill>
          <a:ln w="9525">
            <a:solidFill>
              <a:schemeClr val="tx1"/>
            </a:solidFill>
            <a:miter lim="800000"/>
            <a:headEnd/>
            <a:tailEnd/>
          </a:ln>
        </p:spPr>
        <p:txBody>
          <a:bodyPr wrap="square" lIns="91430" tIns="45716" rIns="91430" bIns="45716">
            <a:spAutoFit/>
          </a:bodyPr>
          <a:lstStyle>
            <a:lvl1pPr defTabSz="912813" eaLnBrk="0" hangingPunct="0">
              <a:defRPr sz="3600">
                <a:solidFill>
                  <a:schemeClr val="tx1"/>
                </a:solidFill>
                <a:latin typeface="Arial" charset="0"/>
                <a:cs typeface="Arial" charset="0"/>
              </a:defRPr>
            </a:lvl1pPr>
            <a:lvl2pPr marL="742950" indent="-285750" defTabSz="912813" eaLnBrk="0" hangingPunct="0">
              <a:defRPr sz="3600">
                <a:solidFill>
                  <a:schemeClr val="tx1"/>
                </a:solidFill>
                <a:latin typeface="Arial" charset="0"/>
                <a:cs typeface="Arial" charset="0"/>
              </a:defRPr>
            </a:lvl2pPr>
            <a:lvl3pPr marL="1143000" indent="-228600" defTabSz="912813" eaLnBrk="0" hangingPunct="0">
              <a:defRPr sz="3600">
                <a:solidFill>
                  <a:schemeClr val="tx1"/>
                </a:solidFill>
                <a:latin typeface="Arial" charset="0"/>
                <a:cs typeface="Arial" charset="0"/>
              </a:defRPr>
            </a:lvl3pPr>
            <a:lvl4pPr marL="1600200" indent="-228600" defTabSz="912813" eaLnBrk="0" hangingPunct="0">
              <a:defRPr sz="3600">
                <a:solidFill>
                  <a:schemeClr val="tx1"/>
                </a:solidFill>
                <a:latin typeface="Arial" charset="0"/>
                <a:cs typeface="Arial" charset="0"/>
              </a:defRPr>
            </a:lvl4pPr>
            <a:lvl5pPr marL="2057400" indent="-228600" defTabSz="912813" eaLnBrk="0" hangingPunct="0">
              <a:defRPr sz="3600">
                <a:solidFill>
                  <a:schemeClr val="tx1"/>
                </a:solidFill>
                <a:latin typeface="Arial" charset="0"/>
                <a:cs typeface="Arial" charset="0"/>
              </a:defRPr>
            </a:lvl5pPr>
            <a:lvl6pPr marL="2514600" indent="-228600" defTabSz="912813" eaLnBrk="0" fontAlgn="base" hangingPunct="0">
              <a:spcBef>
                <a:spcPct val="0"/>
              </a:spcBef>
              <a:spcAft>
                <a:spcPct val="0"/>
              </a:spcAft>
              <a:defRPr sz="3600">
                <a:solidFill>
                  <a:schemeClr val="tx1"/>
                </a:solidFill>
                <a:latin typeface="Arial" charset="0"/>
                <a:cs typeface="Arial" charset="0"/>
              </a:defRPr>
            </a:lvl6pPr>
            <a:lvl7pPr marL="2971800" indent="-228600" defTabSz="912813" eaLnBrk="0" fontAlgn="base" hangingPunct="0">
              <a:spcBef>
                <a:spcPct val="0"/>
              </a:spcBef>
              <a:spcAft>
                <a:spcPct val="0"/>
              </a:spcAft>
              <a:defRPr sz="3600">
                <a:solidFill>
                  <a:schemeClr val="tx1"/>
                </a:solidFill>
                <a:latin typeface="Arial" charset="0"/>
                <a:cs typeface="Arial" charset="0"/>
              </a:defRPr>
            </a:lvl7pPr>
            <a:lvl8pPr marL="3429000" indent="-228600" defTabSz="912813" eaLnBrk="0" fontAlgn="base" hangingPunct="0">
              <a:spcBef>
                <a:spcPct val="0"/>
              </a:spcBef>
              <a:spcAft>
                <a:spcPct val="0"/>
              </a:spcAft>
              <a:defRPr sz="3600">
                <a:solidFill>
                  <a:schemeClr val="tx1"/>
                </a:solidFill>
                <a:latin typeface="Arial" charset="0"/>
                <a:cs typeface="Arial" charset="0"/>
              </a:defRPr>
            </a:lvl8pPr>
            <a:lvl9pPr marL="3886200" indent="-228600" defTabSz="912813" eaLnBrk="0" fontAlgn="base" hangingPunct="0">
              <a:spcBef>
                <a:spcPct val="0"/>
              </a:spcBef>
              <a:spcAft>
                <a:spcPct val="0"/>
              </a:spcAft>
              <a:defRPr sz="3600">
                <a:solidFill>
                  <a:schemeClr val="tx1"/>
                </a:solidFill>
                <a:latin typeface="Arial" charset="0"/>
                <a:cs typeface="Arial" charset="0"/>
              </a:defRPr>
            </a:lvl9pPr>
          </a:lstStyle>
          <a:p>
            <a:pPr algn="ctr"/>
            <a:r>
              <a:rPr lang="fr-FR" sz="2400" b="1" i="1" dirty="0" smtClean="0">
                <a:solidFill>
                  <a:srgbClr val="0560E5"/>
                </a:solidFill>
                <a:latin typeface="Century Gothic" pitchFamily="34" charset="0"/>
              </a:rPr>
              <a:t>Architecture de l’étude (1/2)</a:t>
            </a:r>
            <a:endParaRPr lang="fr-FR" sz="2400" b="1" i="1" dirty="0">
              <a:solidFill>
                <a:srgbClr val="0560E5"/>
              </a:solidFill>
              <a:latin typeface="Century Gothic" pitchFamily="34" charset="0"/>
            </a:endParaRPr>
          </a:p>
        </p:txBody>
      </p:sp>
      <p:pic>
        <p:nvPicPr>
          <p:cNvPr id="17" name="Image 16"/>
          <p:cNvPicPr/>
          <p:nvPr/>
        </p:nvPicPr>
        <p:blipFill>
          <a:blip r:embed="rId12">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28781764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e are currently investigating broadband deployment costs</a:t>
            </a:r>
            <a:endParaRPr lang="en-GB" dirty="0"/>
          </a:p>
        </p:txBody>
      </p:sp>
      <p:pic>
        <p:nvPicPr>
          <p:cNvPr id="1030" name="Picture 6" descr="http://www.casbah-consulting.com/images/carte_maroc.png"/>
          <p:cNvPicPr>
            <a:picLocks noChangeAspect="1" noChangeArrowheads="1"/>
          </p:cNvPicPr>
          <p:nvPr/>
        </p:nvPicPr>
        <p:blipFill>
          <a:blip r:embed="rId276" cstate="print">
            <a:extLst>
              <a:ext uri="{28A0092B-C50C-407E-A947-70E740481C1C}">
                <a14:useLocalDpi xmlns:a14="http://schemas.microsoft.com/office/drawing/2010/main" val="0"/>
              </a:ext>
            </a:extLst>
          </a:blip>
          <a:srcRect/>
          <a:stretch>
            <a:fillRect/>
          </a:stretch>
        </p:blipFill>
        <p:spPr bwMode="auto">
          <a:xfrm>
            <a:off x="1575264" y="2591799"/>
            <a:ext cx="725442" cy="730157"/>
          </a:xfrm>
          <a:prstGeom prst="rect">
            <a:avLst/>
          </a:prstGeom>
          <a:noFill/>
          <a:extLst>
            <a:ext uri="{909E8E84-426E-40DD-AFC4-6F175D3DCCD1}">
              <a14:hiddenFill xmlns:a14="http://schemas.microsoft.com/office/drawing/2010/main">
                <a:solidFill>
                  <a:srgbClr val="FFFFFF"/>
                </a:solidFill>
              </a14:hiddenFill>
            </a:ext>
          </a:extLst>
        </p:spPr>
      </p:pic>
      <p:pic>
        <p:nvPicPr>
          <p:cNvPr id="410" name="Picture 409"/>
          <p:cNvPicPr/>
          <p:nvPr/>
        </p:nvPicPr>
        <p:blipFill rotWithShape="1">
          <a:blip r:embed="rId277" cstate="print">
            <a:extLst>
              <a:ext uri="{28A0092B-C50C-407E-A947-70E740481C1C}">
                <a14:useLocalDpi xmlns:a14="http://schemas.microsoft.com/office/drawing/2010/main" val="0"/>
              </a:ext>
            </a:extLst>
          </a:blip>
          <a:srcRect l="5655" b="19680"/>
          <a:stretch/>
        </p:blipFill>
        <p:spPr bwMode="auto">
          <a:xfrm>
            <a:off x="584515" y="1916832"/>
            <a:ext cx="875561" cy="723148"/>
          </a:xfrm>
          <a:prstGeom prst="rect">
            <a:avLst/>
          </a:prstGeom>
          <a:noFill/>
          <a:ln>
            <a:noFill/>
          </a:ln>
        </p:spPr>
      </p:pic>
      <p:sp>
        <p:nvSpPr>
          <p:cNvPr id="413" name="AutoShape 4"/>
          <p:cNvSpPr>
            <a:spLocks noChangeArrowheads="1"/>
          </p:cNvSpPr>
          <p:nvPr/>
        </p:nvSpPr>
        <p:spPr bwMode="auto">
          <a:xfrm rot="16200000">
            <a:off x="7474511" y="1109461"/>
            <a:ext cx="929552" cy="1968233"/>
          </a:xfrm>
          <a:prstGeom prst="rightArrowCallout">
            <a:avLst>
              <a:gd name="adj1" fmla="val 0"/>
              <a:gd name="adj2" fmla="val 0"/>
              <a:gd name="adj3" fmla="val 0"/>
              <a:gd name="adj4" fmla="val 100000"/>
            </a:avLst>
          </a:prstGeom>
          <a:solidFill>
            <a:srgbClr val="B8CAD8"/>
          </a:solidFill>
          <a:ln w="12700">
            <a:noFill/>
            <a:miter lim="800000"/>
            <a:headEnd/>
            <a:tailEnd/>
          </a:ln>
          <a:effectLst/>
        </p:spPr>
        <p:txBody>
          <a:bodyPr vert="vert" lIns="18000" tIns="46800" rIns="126000" bIns="46800" anchor="t"/>
          <a:lstStyle/>
          <a:p>
            <a:pPr algn="ctr"/>
            <a:r>
              <a:rPr lang="en-GB" sz="1300" dirty="0" smtClean="0">
                <a:solidFill>
                  <a:srgbClr val="000000"/>
                </a:solidFill>
              </a:rPr>
              <a:t>Demand scenarios</a:t>
            </a:r>
            <a:br>
              <a:rPr lang="en-GB" sz="1300" dirty="0" smtClean="0">
                <a:solidFill>
                  <a:srgbClr val="000000"/>
                </a:solidFill>
              </a:rPr>
            </a:br>
            <a:r>
              <a:rPr lang="en-GB" sz="1300" dirty="0" smtClean="0">
                <a:solidFill>
                  <a:srgbClr val="000000"/>
                </a:solidFill>
              </a:rPr>
              <a:t>(take-up, broadband speed &amp; ARPU etc.)</a:t>
            </a:r>
            <a:endParaRPr lang="en-GB" sz="1300" dirty="0">
              <a:solidFill>
                <a:srgbClr val="000000"/>
              </a:solidFill>
            </a:endParaRPr>
          </a:p>
        </p:txBody>
      </p:sp>
      <p:sp>
        <p:nvSpPr>
          <p:cNvPr id="417" name="AutoShape 4"/>
          <p:cNvSpPr>
            <a:spLocks noChangeArrowheads="1"/>
          </p:cNvSpPr>
          <p:nvPr/>
        </p:nvSpPr>
        <p:spPr bwMode="auto">
          <a:xfrm rot="16200000">
            <a:off x="4528636" y="1109461"/>
            <a:ext cx="929552" cy="1968233"/>
          </a:xfrm>
          <a:prstGeom prst="rightArrowCallout">
            <a:avLst>
              <a:gd name="adj1" fmla="val 0"/>
              <a:gd name="adj2" fmla="val 0"/>
              <a:gd name="adj3" fmla="val 0"/>
              <a:gd name="adj4" fmla="val 100000"/>
            </a:avLst>
          </a:prstGeom>
          <a:solidFill>
            <a:srgbClr val="B8CAD8"/>
          </a:solidFill>
          <a:ln w="12700">
            <a:noFill/>
            <a:miter lim="800000"/>
            <a:headEnd/>
            <a:tailEnd/>
          </a:ln>
          <a:effectLst/>
        </p:spPr>
        <p:txBody>
          <a:bodyPr vert="vert" lIns="18000" tIns="46800" rIns="126000" bIns="46800" anchor="t"/>
          <a:lstStyle/>
          <a:p>
            <a:pPr algn="ctr"/>
            <a:r>
              <a:rPr lang="en-GB" sz="1300" dirty="0" smtClean="0">
                <a:solidFill>
                  <a:srgbClr val="000000"/>
                </a:solidFill>
              </a:rPr>
              <a:t>Technology inputs</a:t>
            </a:r>
            <a:br>
              <a:rPr lang="en-GB" sz="1300" dirty="0" smtClean="0">
                <a:solidFill>
                  <a:srgbClr val="000000"/>
                </a:solidFill>
              </a:rPr>
            </a:br>
            <a:r>
              <a:rPr lang="en-GB" sz="1300" dirty="0" smtClean="0">
                <a:solidFill>
                  <a:srgbClr val="000000"/>
                </a:solidFill>
              </a:rPr>
              <a:t>by technology (engineering design, unit costs…)</a:t>
            </a:r>
            <a:endParaRPr lang="en-GB" sz="1300" dirty="0">
              <a:solidFill>
                <a:srgbClr val="000000"/>
              </a:solidFill>
            </a:endParaRPr>
          </a:p>
        </p:txBody>
      </p:sp>
      <p:sp>
        <p:nvSpPr>
          <p:cNvPr id="419" name="AutoShape 4"/>
          <p:cNvSpPr>
            <a:spLocks noChangeArrowheads="1"/>
          </p:cNvSpPr>
          <p:nvPr/>
        </p:nvSpPr>
        <p:spPr bwMode="auto">
          <a:xfrm rot="16200000">
            <a:off x="4489628" y="5004203"/>
            <a:ext cx="1104975" cy="1907690"/>
          </a:xfrm>
          <a:prstGeom prst="rightArrowCallout">
            <a:avLst>
              <a:gd name="adj1" fmla="val 0"/>
              <a:gd name="adj2" fmla="val 0"/>
              <a:gd name="adj3" fmla="val 0"/>
              <a:gd name="adj4" fmla="val 100000"/>
            </a:avLst>
          </a:prstGeom>
          <a:solidFill>
            <a:srgbClr val="B8CAD8"/>
          </a:solidFill>
          <a:ln w="12700">
            <a:noFill/>
            <a:miter lim="800000"/>
            <a:headEnd/>
            <a:tailEnd/>
          </a:ln>
          <a:effectLst/>
        </p:spPr>
        <p:txBody>
          <a:bodyPr vert="vert" lIns="18000" tIns="46800" rIns="126000" bIns="46800" anchor="t"/>
          <a:lstStyle/>
          <a:p>
            <a:pPr algn="ctr"/>
            <a:r>
              <a:rPr lang="en-GB" sz="1300" dirty="0" smtClean="0">
                <a:solidFill>
                  <a:srgbClr val="000000"/>
                </a:solidFill>
              </a:rPr>
              <a:t>Identification of best technology by geotype and investments required</a:t>
            </a:r>
            <a:endParaRPr lang="en-GB" sz="1300" dirty="0">
              <a:solidFill>
                <a:srgbClr val="000000"/>
              </a:solidFill>
            </a:endParaRPr>
          </a:p>
        </p:txBody>
      </p:sp>
      <p:cxnSp>
        <p:nvCxnSpPr>
          <p:cNvPr id="1033" name="Elbow Connector 1032"/>
          <p:cNvCxnSpPr>
            <a:stCxn id="514" idx="1"/>
            <a:endCxn id="418" idx="3"/>
          </p:cNvCxnSpPr>
          <p:nvPr/>
        </p:nvCxnSpPr>
        <p:spPr bwMode="auto">
          <a:xfrm rot="16200000" flipH="1">
            <a:off x="2957787" y="2130588"/>
            <a:ext cx="1586566" cy="2442096"/>
          </a:xfrm>
          <a:prstGeom prst="bentConnector3">
            <a:avLst>
              <a:gd name="adj1" fmla="val 50000"/>
            </a:avLst>
          </a:prstGeom>
          <a:solidFill>
            <a:schemeClr val="bg2"/>
          </a:solidFill>
          <a:ln w="12700" cap="flat" cmpd="sng" algn="ctr">
            <a:solidFill>
              <a:schemeClr val="bg2"/>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47" name="Elbow Connector 1046"/>
          <p:cNvCxnSpPr>
            <a:stCxn id="413" idx="1"/>
            <a:endCxn id="418" idx="3"/>
          </p:cNvCxnSpPr>
          <p:nvPr/>
        </p:nvCxnSpPr>
        <p:spPr bwMode="auto">
          <a:xfrm rot="5400000">
            <a:off x="5662420" y="1868051"/>
            <a:ext cx="1586566" cy="2967170"/>
          </a:xfrm>
          <a:prstGeom prst="bentConnector3">
            <a:avLst>
              <a:gd name="adj1" fmla="val 50000"/>
            </a:avLst>
          </a:prstGeom>
          <a:solidFill>
            <a:schemeClr val="bg2"/>
          </a:solidFill>
          <a:ln w="12700" cap="flat" cmpd="sng" algn="ctr">
            <a:solidFill>
              <a:schemeClr val="bg2"/>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52" name="Straight Arrow Connector 1051"/>
          <p:cNvCxnSpPr>
            <a:stCxn id="417" idx="1"/>
            <a:endCxn id="418" idx="3"/>
          </p:cNvCxnSpPr>
          <p:nvPr/>
        </p:nvCxnSpPr>
        <p:spPr bwMode="auto">
          <a:xfrm flipH="1">
            <a:off x="4972118" y="2558353"/>
            <a:ext cx="21294" cy="1586566"/>
          </a:xfrm>
          <a:prstGeom prst="straightConnector1">
            <a:avLst/>
          </a:prstGeom>
          <a:solidFill>
            <a:schemeClr val="bg2"/>
          </a:solidFill>
          <a:ln w="12700" cap="flat" cmpd="sng" algn="ctr">
            <a:solidFill>
              <a:schemeClr val="bg2"/>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47" name="Group 446"/>
          <p:cNvGrpSpPr>
            <a:grpSpLocks noChangeAspect="1"/>
          </p:cNvGrpSpPr>
          <p:nvPr/>
        </p:nvGrpSpPr>
        <p:grpSpPr bwMode="auto">
          <a:xfrm>
            <a:off x="8033608" y="2591799"/>
            <a:ext cx="1053852" cy="827339"/>
            <a:chOff x="259" y="1752"/>
            <a:chExt cx="1137" cy="967"/>
          </a:xfrm>
        </p:grpSpPr>
        <p:sp>
          <p:nvSpPr>
            <p:cNvPr id="448" name="AutoShape 335"/>
            <p:cNvSpPr>
              <a:spLocks noChangeAspect="1" noChangeArrowheads="1" noTextEdit="1"/>
            </p:cNvSpPr>
            <p:nvPr/>
          </p:nvSpPr>
          <p:spPr bwMode="auto">
            <a:xfrm>
              <a:off x="259" y="1752"/>
              <a:ext cx="1137" cy="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449" name="Line 336"/>
            <p:cNvSpPr>
              <a:spLocks noChangeShapeType="1"/>
            </p:cNvSpPr>
            <p:nvPr/>
          </p:nvSpPr>
          <p:spPr bwMode="auto">
            <a:xfrm>
              <a:off x="325" y="2508"/>
              <a:ext cx="1005" cy="0"/>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50" name="Line 337"/>
            <p:cNvSpPr>
              <a:spLocks noChangeShapeType="1"/>
            </p:cNvSpPr>
            <p:nvPr/>
          </p:nvSpPr>
          <p:spPr bwMode="auto">
            <a:xfrm>
              <a:off x="325" y="2411"/>
              <a:ext cx="1005" cy="0"/>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51" name="Line 338"/>
            <p:cNvSpPr>
              <a:spLocks noChangeShapeType="1"/>
            </p:cNvSpPr>
            <p:nvPr/>
          </p:nvSpPr>
          <p:spPr bwMode="auto">
            <a:xfrm>
              <a:off x="325" y="2310"/>
              <a:ext cx="1005" cy="0"/>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52" name="Line 339"/>
            <p:cNvSpPr>
              <a:spLocks noChangeShapeType="1"/>
            </p:cNvSpPr>
            <p:nvPr/>
          </p:nvSpPr>
          <p:spPr bwMode="auto">
            <a:xfrm>
              <a:off x="325" y="2210"/>
              <a:ext cx="1005" cy="0"/>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53" name="Line 340"/>
            <p:cNvSpPr>
              <a:spLocks noChangeShapeType="1"/>
            </p:cNvSpPr>
            <p:nvPr/>
          </p:nvSpPr>
          <p:spPr bwMode="auto">
            <a:xfrm>
              <a:off x="325" y="2109"/>
              <a:ext cx="1005" cy="0"/>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54" name="Line 341"/>
            <p:cNvSpPr>
              <a:spLocks noChangeShapeType="1"/>
            </p:cNvSpPr>
            <p:nvPr/>
          </p:nvSpPr>
          <p:spPr bwMode="auto">
            <a:xfrm>
              <a:off x="325" y="2008"/>
              <a:ext cx="1005" cy="0"/>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55" name="Line 342"/>
            <p:cNvSpPr>
              <a:spLocks noChangeShapeType="1"/>
            </p:cNvSpPr>
            <p:nvPr/>
          </p:nvSpPr>
          <p:spPr bwMode="auto">
            <a:xfrm>
              <a:off x="325" y="1911"/>
              <a:ext cx="1005" cy="0"/>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56" name="Line 343"/>
            <p:cNvSpPr>
              <a:spLocks noChangeShapeType="1"/>
            </p:cNvSpPr>
            <p:nvPr/>
          </p:nvSpPr>
          <p:spPr bwMode="auto">
            <a:xfrm>
              <a:off x="325" y="1811"/>
              <a:ext cx="1005" cy="0"/>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57" name="Line 344"/>
            <p:cNvSpPr>
              <a:spLocks noChangeShapeType="1"/>
            </p:cNvSpPr>
            <p:nvPr/>
          </p:nvSpPr>
          <p:spPr bwMode="auto">
            <a:xfrm>
              <a:off x="325" y="1811"/>
              <a:ext cx="0" cy="797"/>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58" name="Line 345"/>
            <p:cNvSpPr>
              <a:spLocks noChangeShapeType="1"/>
            </p:cNvSpPr>
            <p:nvPr/>
          </p:nvSpPr>
          <p:spPr bwMode="auto">
            <a:xfrm>
              <a:off x="436" y="1811"/>
              <a:ext cx="0" cy="797"/>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59" name="Line 346"/>
            <p:cNvSpPr>
              <a:spLocks noChangeShapeType="1"/>
            </p:cNvSpPr>
            <p:nvPr/>
          </p:nvSpPr>
          <p:spPr bwMode="auto">
            <a:xfrm>
              <a:off x="548" y="1811"/>
              <a:ext cx="0" cy="797"/>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60" name="Line 347"/>
            <p:cNvSpPr>
              <a:spLocks noChangeShapeType="1"/>
            </p:cNvSpPr>
            <p:nvPr/>
          </p:nvSpPr>
          <p:spPr bwMode="auto">
            <a:xfrm>
              <a:off x="659" y="1811"/>
              <a:ext cx="0" cy="797"/>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61" name="Line 348"/>
            <p:cNvSpPr>
              <a:spLocks noChangeShapeType="1"/>
            </p:cNvSpPr>
            <p:nvPr/>
          </p:nvSpPr>
          <p:spPr bwMode="auto">
            <a:xfrm>
              <a:off x="770" y="1811"/>
              <a:ext cx="0" cy="797"/>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62" name="Line 349"/>
            <p:cNvSpPr>
              <a:spLocks noChangeShapeType="1"/>
            </p:cNvSpPr>
            <p:nvPr/>
          </p:nvSpPr>
          <p:spPr bwMode="auto">
            <a:xfrm>
              <a:off x="885" y="1811"/>
              <a:ext cx="0" cy="797"/>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63" name="Line 350"/>
            <p:cNvSpPr>
              <a:spLocks noChangeShapeType="1"/>
            </p:cNvSpPr>
            <p:nvPr/>
          </p:nvSpPr>
          <p:spPr bwMode="auto">
            <a:xfrm>
              <a:off x="996" y="1811"/>
              <a:ext cx="0" cy="797"/>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64" name="Line 351"/>
            <p:cNvSpPr>
              <a:spLocks noChangeShapeType="1"/>
            </p:cNvSpPr>
            <p:nvPr/>
          </p:nvSpPr>
          <p:spPr bwMode="auto">
            <a:xfrm>
              <a:off x="1107" y="1811"/>
              <a:ext cx="0" cy="797"/>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65" name="Line 352"/>
            <p:cNvSpPr>
              <a:spLocks noChangeShapeType="1"/>
            </p:cNvSpPr>
            <p:nvPr/>
          </p:nvSpPr>
          <p:spPr bwMode="auto">
            <a:xfrm>
              <a:off x="1219" y="1811"/>
              <a:ext cx="0" cy="797"/>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66" name="Line 353"/>
            <p:cNvSpPr>
              <a:spLocks noChangeShapeType="1"/>
            </p:cNvSpPr>
            <p:nvPr/>
          </p:nvSpPr>
          <p:spPr bwMode="auto">
            <a:xfrm>
              <a:off x="1330" y="1811"/>
              <a:ext cx="0" cy="797"/>
            </a:xfrm>
            <a:prstGeom prst="line">
              <a:avLst/>
            </a:prstGeom>
            <a:noFill/>
            <a:ln w="4763">
              <a:solidFill>
                <a:srgbClr val="C0C0C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67" name="Freeform 466"/>
            <p:cNvSpPr>
              <a:spLocks/>
            </p:cNvSpPr>
            <p:nvPr/>
          </p:nvSpPr>
          <p:spPr bwMode="auto">
            <a:xfrm>
              <a:off x="325" y="2549"/>
              <a:ext cx="1005" cy="59"/>
            </a:xfrm>
            <a:custGeom>
              <a:avLst/>
              <a:gdLst>
                <a:gd name="T0" fmla="*/ 0 w 1005"/>
                <a:gd name="T1" fmla="*/ 59 h 59"/>
                <a:gd name="T2" fmla="*/ 0 w 1005"/>
                <a:gd name="T3" fmla="*/ 45 h 59"/>
                <a:gd name="T4" fmla="*/ 111 w 1005"/>
                <a:gd name="T5" fmla="*/ 42 h 59"/>
                <a:gd name="T6" fmla="*/ 223 w 1005"/>
                <a:gd name="T7" fmla="*/ 38 h 59"/>
                <a:gd name="T8" fmla="*/ 334 w 1005"/>
                <a:gd name="T9" fmla="*/ 31 h 59"/>
                <a:gd name="T10" fmla="*/ 445 w 1005"/>
                <a:gd name="T11" fmla="*/ 28 h 59"/>
                <a:gd name="T12" fmla="*/ 560 w 1005"/>
                <a:gd name="T13" fmla="*/ 21 h 59"/>
                <a:gd name="T14" fmla="*/ 671 w 1005"/>
                <a:gd name="T15" fmla="*/ 14 h 59"/>
                <a:gd name="T16" fmla="*/ 782 w 1005"/>
                <a:gd name="T17" fmla="*/ 11 h 59"/>
                <a:gd name="T18" fmla="*/ 894 w 1005"/>
                <a:gd name="T19" fmla="*/ 4 h 59"/>
                <a:gd name="T20" fmla="*/ 1005 w 1005"/>
                <a:gd name="T21" fmla="*/ 0 h 59"/>
                <a:gd name="T22" fmla="*/ 1005 w 1005"/>
                <a:gd name="T23" fmla="*/ 59 h 59"/>
                <a:gd name="T24" fmla="*/ 894 w 1005"/>
                <a:gd name="T25" fmla="*/ 59 h 59"/>
                <a:gd name="T26" fmla="*/ 782 w 1005"/>
                <a:gd name="T27" fmla="*/ 59 h 59"/>
                <a:gd name="T28" fmla="*/ 671 w 1005"/>
                <a:gd name="T29" fmla="*/ 59 h 59"/>
                <a:gd name="T30" fmla="*/ 560 w 1005"/>
                <a:gd name="T31" fmla="*/ 59 h 59"/>
                <a:gd name="T32" fmla="*/ 445 w 1005"/>
                <a:gd name="T33" fmla="*/ 59 h 59"/>
                <a:gd name="T34" fmla="*/ 334 w 1005"/>
                <a:gd name="T35" fmla="*/ 59 h 59"/>
                <a:gd name="T36" fmla="*/ 223 w 1005"/>
                <a:gd name="T37" fmla="*/ 59 h 59"/>
                <a:gd name="T38" fmla="*/ 111 w 1005"/>
                <a:gd name="T39" fmla="*/ 59 h 59"/>
                <a:gd name="T40" fmla="*/ 0 w 1005"/>
                <a:gd name="T4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5" h="59">
                  <a:moveTo>
                    <a:pt x="0" y="59"/>
                  </a:moveTo>
                  <a:lnTo>
                    <a:pt x="0" y="45"/>
                  </a:lnTo>
                  <a:lnTo>
                    <a:pt x="111" y="42"/>
                  </a:lnTo>
                  <a:lnTo>
                    <a:pt x="223" y="38"/>
                  </a:lnTo>
                  <a:lnTo>
                    <a:pt x="334" y="31"/>
                  </a:lnTo>
                  <a:lnTo>
                    <a:pt x="445" y="28"/>
                  </a:lnTo>
                  <a:lnTo>
                    <a:pt x="560" y="21"/>
                  </a:lnTo>
                  <a:lnTo>
                    <a:pt x="671" y="14"/>
                  </a:lnTo>
                  <a:lnTo>
                    <a:pt x="782" y="11"/>
                  </a:lnTo>
                  <a:lnTo>
                    <a:pt x="894" y="4"/>
                  </a:lnTo>
                  <a:lnTo>
                    <a:pt x="1005" y="0"/>
                  </a:lnTo>
                  <a:lnTo>
                    <a:pt x="1005" y="59"/>
                  </a:lnTo>
                  <a:lnTo>
                    <a:pt x="894" y="59"/>
                  </a:lnTo>
                  <a:lnTo>
                    <a:pt x="782" y="59"/>
                  </a:lnTo>
                  <a:lnTo>
                    <a:pt x="671" y="59"/>
                  </a:lnTo>
                  <a:lnTo>
                    <a:pt x="560" y="59"/>
                  </a:lnTo>
                  <a:lnTo>
                    <a:pt x="445" y="59"/>
                  </a:lnTo>
                  <a:lnTo>
                    <a:pt x="334" y="59"/>
                  </a:lnTo>
                  <a:lnTo>
                    <a:pt x="223" y="59"/>
                  </a:lnTo>
                  <a:lnTo>
                    <a:pt x="111" y="59"/>
                  </a:lnTo>
                  <a:lnTo>
                    <a:pt x="0" y="59"/>
                  </a:lnTo>
                  <a:close/>
                </a:path>
              </a:pathLst>
            </a:custGeom>
            <a:solidFill>
              <a:srgbClr val="B8CAD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468" name="Freeform 467"/>
            <p:cNvSpPr>
              <a:spLocks/>
            </p:cNvSpPr>
            <p:nvPr/>
          </p:nvSpPr>
          <p:spPr bwMode="auto">
            <a:xfrm>
              <a:off x="325" y="2161"/>
              <a:ext cx="1005" cy="433"/>
            </a:xfrm>
            <a:custGeom>
              <a:avLst/>
              <a:gdLst>
                <a:gd name="T0" fmla="*/ 0 w 1005"/>
                <a:gd name="T1" fmla="*/ 433 h 433"/>
                <a:gd name="T2" fmla="*/ 0 w 1005"/>
                <a:gd name="T3" fmla="*/ 381 h 433"/>
                <a:gd name="T4" fmla="*/ 111 w 1005"/>
                <a:gd name="T5" fmla="*/ 340 h 433"/>
                <a:gd name="T6" fmla="*/ 223 w 1005"/>
                <a:gd name="T7" fmla="*/ 298 h 433"/>
                <a:gd name="T8" fmla="*/ 334 w 1005"/>
                <a:gd name="T9" fmla="*/ 260 h 433"/>
                <a:gd name="T10" fmla="*/ 445 w 1005"/>
                <a:gd name="T11" fmla="*/ 218 h 433"/>
                <a:gd name="T12" fmla="*/ 560 w 1005"/>
                <a:gd name="T13" fmla="*/ 173 h 433"/>
                <a:gd name="T14" fmla="*/ 671 w 1005"/>
                <a:gd name="T15" fmla="*/ 132 h 433"/>
                <a:gd name="T16" fmla="*/ 782 w 1005"/>
                <a:gd name="T17" fmla="*/ 87 h 433"/>
                <a:gd name="T18" fmla="*/ 894 w 1005"/>
                <a:gd name="T19" fmla="*/ 42 h 433"/>
                <a:gd name="T20" fmla="*/ 1005 w 1005"/>
                <a:gd name="T21" fmla="*/ 0 h 433"/>
                <a:gd name="T22" fmla="*/ 1005 w 1005"/>
                <a:gd name="T23" fmla="*/ 388 h 433"/>
                <a:gd name="T24" fmla="*/ 894 w 1005"/>
                <a:gd name="T25" fmla="*/ 392 h 433"/>
                <a:gd name="T26" fmla="*/ 782 w 1005"/>
                <a:gd name="T27" fmla="*/ 399 h 433"/>
                <a:gd name="T28" fmla="*/ 671 w 1005"/>
                <a:gd name="T29" fmla="*/ 402 h 433"/>
                <a:gd name="T30" fmla="*/ 560 w 1005"/>
                <a:gd name="T31" fmla="*/ 409 h 433"/>
                <a:gd name="T32" fmla="*/ 445 w 1005"/>
                <a:gd name="T33" fmla="*/ 416 h 433"/>
                <a:gd name="T34" fmla="*/ 334 w 1005"/>
                <a:gd name="T35" fmla="*/ 419 h 433"/>
                <a:gd name="T36" fmla="*/ 223 w 1005"/>
                <a:gd name="T37" fmla="*/ 426 h 433"/>
                <a:gd name="T38" fmla="*/ 111 w 1005"/>
                <a:gd name="T39" fmla="*/ 430 h 433"/>
                <a:gd name="T40" fmla="*/ 0 w 1005"/>
                <a:gd name="T41" fmla="*/ 43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5" h="433">
                  <a:moveTo>
                    <a:pt x="0" y="433"/>
                  </a:moveTo>
                  <a:lnTo>
                    <a:pt x="0" y="381"/>
                  </a:lnTo>
                  <a:lnTo>
                    <a:pt x="111" y="340"/>
                  </a:lnTo>
                  <a:lnTo>
                    <a:pt x="223" y="298"/>
                  </a:lnTo>
                  <a:lnTo>
                    <a:pt x="334" y="260"/>
                  </a:lnTo>
                  <a:lnTo>
                    <a:pt x="445" y="218"/>
                  </a:lnTo>
                  <a:lnTo>
                    <a:pt x="560" y="173"/>
                  </a:lnTo>
                  <a:lnTo>
                    <a:pt x="671" y="132"/>
                  </a:lnTo>
                  <a:lnTo>
                    <a:pt x="782" y="87"/>
                  </a:lnTo>
                  <a:lnTo>
                    <a:pt x="894" y="42"/>
                  </a:lnTo>
                  <a:lnTo>
                    <a:pt x="1005" y="0"/>
                  </a:lnTo>
                  <a:lnTo>
                    <a:pt x="1005" y="388"/>
                  </a:lnTo>
                  <a:lnTo>
                    <a:pt x="894" y="392"/>
                  </a:lnTo>
                  <a:lnTo>
                    <a:pt x="782" y="399"/>
                  </a:lnTo>
                  <a:lnTo>
                    <a:pt x="671" y="402"/>
                  </a:lnTo>
                  <a:lnTo>
                    <a:pt x="560" y="409"/>
                  </a:lnTo>
                  <a:lnTo>
                    <a:pt x="445" y="416"/>
                  </a:lnTo>
                  <a:lnTo>
                    <a:pt x="334" y="419"/>
                  </a:lnTo>
                  <a:lnTo>
                    <a:pt x="223" y="426"/>
                  </a:lnTo>
                  <a:lnTo>
                    <a:pt x="111" y="430"/>
                  </a:lnTo>
                  <a:lnTo>
                    <a:pt x="0" y="433"/>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469" name="Freeform 468"/>
            <p:cNvSpPr>
              <a:spLocks/>
            </p:cNvSpPr>
            <p:nvPr/>
          </p:nvSpPr>
          <p:spPr bwMode="auto">
            <a:xfrm>
              <a:off x="325" y="1901"/>
              <a:ext cx="1005" cy="641"/>
            </a:xfrm>
            <a:custGeom>
              <a:avLst/>
              <a:gdLst>
                <a:gd name="T0" fmla="*/ 0 w 1005"/>
                <a:gd name="T1" fmla="*/ 641 h 641"/>
                <a:gd name="T2" fmla="*/ 0 w 1005"/>
                <a:gd name="T3" fmla="*/ 631 h 641"/>
                <a:gd name="T4" fmla="*/ 111 w 1005"/>
                <a:gd name="T5" fmla="*/ 582 h 641"/>
                <a:gd name="T6" fmla="*/ 223 w 1005"/>
                <a:gd name="T7" fmla="*/ 527 h 641"/>
                <a:gd name="T8" fmla="*/ 334 w 1005"/>
                <a:gd name="T9" fmla="*/ 471 h 641"/>
                <a:gd name="T10" fmla="*/ 445 w 1005"/>
                <a:gd name="T11" fmla="*/ 409 h 641"/>
                <a:gd name="T12" fmla="*/ 560 w 1005"/>
                <a:gd name="T13" fmla="*/ 340 h 641"/>
                <a:gd name="T14" fmla="*/ 671 w 1005"/>
                <a:gd name="T15" fmla="*/ 263 h 641"/>
                <a:gd name="T16" fmla="*/ 782 w 1005"/>
                <a:gd name="T17" fmla="*/ 180 h 641"/>
                <a:gd name="T18" fmla="*/ 894 w 1005"/>
                <a:gd name="T19" fmla="*/ 94 h 641"/>
                <a:gd name="T20" fmla="*/ 1005 w 1005"/>
                <a:gd name="T21" fmla="*/ 0 h 641"/>
                <a:gd name="T22" fmla="*/ 1005 w 1005"/>
                <a:gd name="T23" fmla="*/ 260 h 641"/>
                <a:gd name="T24" fmla="*/ 894 w 1005"/>
                <a:gd name="T25" fmla="*/ 302 h 641"/>
                <a:gd name="T26" fmla="*/ 782 w 1005"/>
                <a:gd name="T27" fmla="*/ 347 h 641"/>
                <a:gd name="T28" fmla="*/ 671 w 1005"/>
                <a:gd name="T29" fmla="*/ 392 h 641"/>
                <a:gd name="T30" fmla="*/ 560 w 1005"/>
                <a:gd name="T31" fmla="*/ 433 h 641"/>
                <a:gd name="T32" fmla="*/ 445 w 1005"/>
                <a:gd name="T33" fmla="*/ 478 h 641"/>
                <a:gd name="T34" fmla="*/ 334 w 1005"/>
                <a:gd name="T35" fmla="*/ 520 h 641"/>
                <a:gd name="T36" fmla="*/ 223 w 1005"/>
                <a:gd name="T37" fmla="*/ 558 h 641"/>
                <a:gd name="T38" fmla="*/ 111 w 1005"/>
                <a:gd name="T39" fmla="*/ 600 h 641"/>
                <a:gd name="T40" fmla="*/ 0 w 1005"/>
                <a:gd name="T41" fmla="*/ 641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5" h="641">
                  <a:moveTo>
                    <a:pt x="0" y="641"/>
                  </a:moveTo>
                  <a:lnTo>
                    <a:pt x="0" y="631"/>
                  </a:lnTo>
                  <a:lnTo>
                    <a:pt x="111" y="582"/>
                  </a:lnTo>
                  <a:lnTo>
                    <a:pt x="223" y="527"/>
                  </a:lnTo>
                  <a:lnTo>
                    <a:pt x="334" y="471"/>
                  </a:lnTo>
                  <a:lnTo>
                    <a:pt x="445" y="409"/>
                  </a:lnTo>
                  <a:lnTo>
                    <a:pt x="560" y="340"/>
                  </a:lnTo>
                  <a:lnTo>
                    <a:pt x="671" y="263"/>
                  </a:lnTo>
                  <a:lnTo>
                    <a:pt x="782" y="180"/>
                  </a:lnTo>
                  <a:lnTo>
                    <a:pt x="894" y="94"/>
                  </a:lnTo>
                  <a:lnTo>
                    <a:pt x="1005" y="0"/>
                  </a:lnTo>
                  <a:lnTo>
                    <a:pt x="1005" y="260"/>
                  </a:lnTo>
                  <a:lnTo>
                    <a:pt x="894" y="302"/>
                  </a:lnTo>
                  <a:lnTo>
                    <a:pt x="782" y="347"/>
                  </a:lnTo>
                  <a:lnTo>
                    <a:pt x="671" y="392"/>
                  </a:lnTo>
                  <a:lnTo>
                    <a:pt x="560" y="433"/>
                  </a:lnTo>
                  <a:lnTo>
                    <a:pt x="445" y="478"/>
                  </a:lnTo>
                  <a:lnTo>
                    <a:pt x="334" y="520"/>
                  </a:lnTo>
                  <a:lnTo>
                    <a:pt x="223" y="558"/>
                  </a:lnTo>
                  <a:lnTo>
                    <a:pt x="111" y="600"/>
                  </a:lnTo>
                  <a:lnTo>
                    <a:pt x="0" y="64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470" name="Line 357"/>
            <p:cNvSpPr>
              <a:spLocks noChangeShapeType="1"/>
            </p:cNvSpPr>
            <p:nvPr/>
          </p:nvSpPr>
          <p:spPr bwMode="auto">
            <a:xfrm>
              <a:off x="325" y="2608"/>
              <a:ext cx="1005" cy="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71" name="Line 358"/>
            <p:cNvSpPr>
              <a:spLocks noChangeShapeType="1"/>
            </p:cNvSpPr>
            <p:nvPr/>
          </p:nvSpPr>
          <p:spPr bwMode="auto">
            <a:xfrm flipV="1">
              <a:off x="325" y="2594"/>
              <a:ext cx="0" cy="28"/>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72" name="Line 359"/>
            <p:cNvSpPr>
              <a:spLocks noChangeShapeType="1"/>
            </p:cNvSpPr>
            <p:nvPr/>
          </p:nvSpPr>
          <p:spPr bwMode="auto">
            <a:xfrm flipV="1">
              <a:off x="436" y="2594"/>
              <a:ext cx="0" cy="28"/>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73" name="Line 360"/>
            <p:cNvSpPr>
              <a:spLocks noChangeShapeType="1"/>
            </p:cNvSpPr>
            <p:nvPr/>
          </p:nvSpPr>
          <p:spPr bwMode="auto">
            <a:xfrm flipV="1">
              <a:off x="548" y="2594"/>
              <a:ext cx="0" cy="28"/>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74" name="Line 361"/>
            <p:cNvSpPr>
              <a:spLocks noChangeShapeType="1"/>
            </p:cNvSpPr>
            <p:nvPr/>
          </p:nvSpPr>
          <p:spPr bwMode="auto">
            <a:xfrm flipV="1">
              <a:off x="659" y="2594"/>
              <a:ext cx="0" cy="28"/>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75" name="Line 362"/>
            <p:cNvSpPr>
              <a:spLocks noChangeShapeType="1"/>
            </p:cNvSpPr>
            <p:nvPr/>
          </p:nvSpPr>
          <p:spPr bwMode="auto">
            <a:xfrm flipV="1">
              <a:off x="770" y="2594"/>
              <a:ext cx="0" cy="28"/>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76" name="Line 363"/>
            <p:cNvSpPr>
              <a:spLocks noChangeShapeType="1"/>
            </p:cNvSpPr>
            <p:nvPr/>
          </p:nvSpPr>
          <p:spPr bwMode="auto">
            <a:xfrm flipV="1">
              <a:off x="885" y="2594"/>
              <a:ext cx="0" cy="28"/>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77" name="Line 364"/>
            <p:cNvSpPr>
              <a:spLocks noChangeShapeType="1"/>
            </p:cNvSpPr>
            <p:nvPr/>
          </p:nvSpPr>
          <p:spPr bwMode="auto">
            <a:xfrm flipV="1">
              <a:off x="996" y="2594"/>
              <a:ext cx="0" cy="28"/>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78" name="Line 365"/>
            <p:cNvSpPr>
              <a:spLocks noChangeShapeType="1"/>
            </p:cNvSpPr>
            <p:nvPr/>
          </p:nvSpPr>
          <p:spPr bwMode="auto">
            <a:xfrm flipV="1">
              <a:off x="1107" y="2594"/>
              <a:ext cx="0" cy="28"/>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79" name="Line 366"/>
            <p:cNvSpPr>
              <a:spLocks noChangeShapeType="1"/>
            </p:cNvSpPr>
            <p:nvPr/>
          </p:nvSpPr>
          <p:spPr bwMode="auto">
            <a:xfrm flipV="1">
              <a:off x="1219" y="2594"/>
              <a:ext cx="0" cy="28"/>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sp>
          <p:nvSpPr>
            <p:cNvPr id="480" name="Line 367"/>
            <p:cNvSpPr>
              <a:spLocks noChangeShapeType="1"/>
            </p:cNvSpPr>
            <p:nvPr/>
          </p:nvSpPr>
          <p:spPr bwMode="auto">
            <a:xfrm flipV="1">
              <a:off x="1330" y="2594"/>
              <a:ext cx="0" cy="28"/>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en-GB">
                <a:solidFill>
                  <a:srgbClr val="000000"/>
                </a:solidFill>
              </a:endParaRPr>
            </a:p>
          </p:txBody>
        </p:sp>
      </p:grpSp>
      <p:cxnSp>
        <p:nvCxnSpPr>
          <p:cNvPr id="485" name="Straight Arrow Connector 484"/>
          <p:cNvCxnSpPr/>
          <p:nvPr/>
        </p:nvCxnSpPr>
        <p:spPr bwMode="auto">
          <a:xfrm>
            <a:off x="4947766" y="5090049"/>
            <a:ext cx="69997" cy="331089"/>
          </a:xfrm>
          <a:prstGeom prst="straightConnector1">
            <a:avLst/>
          </a:prstGeom>
          <a:solidFill>
            <a:schemeClr val="bg2"/>
          </a:solidFill>
          <a:ln w="12700" cap="flat" cmpd="sng" algn="ctr">
            <a:solidFill>
              <a:schemeClr val="bg2"/>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15" name="Picture 8"/>
          <p:cNvPicPr>
            <a:picLocks noChangeAspect="1" noChangeArrowheads="1"/>
          </p:cNvPicPr>
          <p:nvPr/>
        </p:nvPicPr>
        <p:blipFill rotWithShape="1">
          <a:blip r:embed="rId278" cstate="print">
            <a:extLst>
              <a:ext uri="{28A0092B-C50C-407E-A947-70E740481C1C}">
                <a14:useLocalDpi xmlns:a14="http://schemas.microsoft.com/office/drawing/2010/main" val="0"/>
              </a:ext>
            </a:extLst>
          </a:blip>
          <a:srcRect l="6727" t="10131" r="3753" b="7871"/>
          <a:stretch/>
        </p:blipFill>
        <p:spPr bwMode="auto">
          <a:xfrm>
            <a:off x="2300706" y="5421138"/>
            <a:ext cx="1406061" cy="796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6" name="Right Triangle 415"/>
          <p:cNvSpPr/>
          <p:nvPr/>
        </p:nvSpPr>
        <p:spPr bwMode="auto">
          <a:xfrm rot="16200000">
            <a:off x="2252590" y="6137341"/>
            <a:ext cx="195780" cy="131425"/>
          </a:xfrm>
          <a:prstGeom prst="rtTriangle">
            <a:avLst/>
          </a:prstGeom>
          <a:solidFill>
            <a:schemeClr val="accent5">
              <a:lumMod val="40000"/>
              <a:lumOff val="60000"/>
            </a:schemeClr>
          </a:solidFill>
          <a:ln w="12700" cap="flat" cmpd="sng" algn="ctr">
            <a:noFill/>
            <a:prstDash val="solid"/>
            <a:round/>
            <a:headEnd type="none" w="med" len="med"/>
            <a:tailEnd type="none" w="med" len="med"/>
          </a:ln>
          <a:effectLst/>
          <a:extLst/>
        </p:spPr>
        <p:txBody>
          <a:bodyPr vert="horz" wrap="square" lIns="54000" tIns="46800" rIns="54000" bIns="46800" numCol="1" rtlCol="0" anchor="ctr" anchorCtr="0" compatLnSpc="1">
            <a:prstTxWarp prst="textNoShape">
              <a:avLst/>
            </a:prstTxWarp>
          </a:bodyPr>
          <a:lstStyle/>
          <a:p>
            <a:pPr algn="ctr"/>
            <a:endParaRPr lang="en-GB" smtClean="0">
              <a:solidFill>
                <a:srgbClr val="000000"/>
              </a:solidFill>
            </a:endParaRPr>
          </a:p>
        </p:txBody>
      </p:sp>
      <p:sp>
        <p:nvSpPr>
          <p:cNvPr id="421" name="Rectangle 420"/>
          <p:cNvSpPr/>
          <p:nvPr/>
        </p:nvSpPr>
        <p:spPr bwMode="auto">
          <a:xfrm>
            <a:off x="2286103" y="6294968"/>
            <a:ext cx="130090" cy="118099"/>
          </a:xfrm>
          <a:prstGeom prst="rect">
            <a:avLst/>
          </a:prstGeom>
          <a:solidFill>
            <a:schemeClr val="accent5">
              <a:lumMod val="40000"/>
              <a:lumOff val="60000"/>
            </a:schemeClr>
          </a:solidFill>
          <a:ln w="12700" cap="flat" cmpd="sng" algn="ctr">
            <a:noFill/>
            <a:prstDash val="solid"/>
            <a:round/>
            <a:headEnd type="none" w="med" len="med"/>
            <a:tailEnd type="none" w="med" len="med"/>
          </a:ln>
          <a:effectLst/>
          <a:extLst/>
        </p:spPr>
        <p:txBody>
          <a:bodyPr vert="horz" wrap="square" lIns="54000" tIns="46800" rIns="54000" bIns="46800" numCol="1" rtlCol="0" anchor="ctr" anchorCtr="0" compatLnSpc="1">
            <a:prstTxWarp prst="textNoShape">
              <a:avLst/>
            </a:prstTxWarp>
          </a:bodyPr>
          <a:lstStyle/>
          <a:p>
            <a:pPr algn="ctr"/>
            <a:endParaRPr lang="en-GB" sz="800" smtClean="0">
              <a:solidFill>
                <a:srgbClr val="000000"/>
              </a:solidFill>
            </a:endParaRPr>
          </a:p>
        </p:txBody>
      </p:sp>
      <p:sp>
        <p:nvSpPr>
          <p:cNvPr id="492" name="Right Triangle 491"/>
          <p:cNvSpPr/>
          <p:nvPr/>
        </p:nvSpPr>
        <p:spPr bwMode="auto">
          <a:xfrm rot="16200000">
            <a:off x="2461312" y="5805879"/>
            <a:ext cx="277310" cy="367299"/>
          </a:xfrm>
          <a:prstGeom prst="rtTriangle">
            <a:avLst/>
          </a:prstGeom>
          <a:solidFill>
            <a:srgbClr val="7A9FB6"/>
          </a:solidFill>
          <a:ln w="12700" cap="flat" cmpd="sng" algn="ctr">
            <a:noFill/>
            <a:prstDash val="solid"/>
            <a:round/>
            <a:headEnd type="none" w="med" len="med"/>
            <a:tailEnd type="none" w="med" len="med"/>
          </a:ln>
          <a:effectLst/>
          <a:extLst/>
        </p:spPr>
        <p:txBody>
          <a:bodyPr vert="horz" wrap="square" lIns="54000" tIns="46800" rIns="54000" bIns="46800" numCol="1" rtlCol="0" anchor="ctr" anchorCtr="0" compatLnSpc="1">
            <a:prstTxWarp prst="textNoShape">
              <a:avLst/>
            </a:prstTxWarp>
          </a:bodyPr>
          <a:lstStyle/>
          <a:p>
            <a:pPr algn="ctr"/>
            <a:endParaRPr lang="en-GB" smtClean="0">
              <a:solidFill>
                <a:srgbClr val="000000"/>
              </a:solidFill>
            </a:endParaRPr>
          </a:p>
        </p:txBody>
      </p:sp>
      <p:sp>
        <p:nvSpPr>
          <p:cNvPr id="493" name="Right Triangle 492"/>
          <p:cNvSpPr/>
          <p:nvPr/>
        </p:nvSpPr>
        <p:spPr bwMode="auto">
          <a:xfrm rot="16200000">
            <a:off x="3049068" y="5491822"/>
            <a:ext cx="95900" cy="618415"/>
          </a:xfrm>
          <a:prstGeom prst="rtTriangle">
            <a:avLst/>
          </a:prstGeom>
          <a:solidFill>
            <a:srgbClr val="E3CAB3"/>
          </a:solidFill>
          <a:ln w="12700" cap="flat" cmpd="sng" algn="ctr">
            <a:noFill/>
            <a:prstDash val="solid"/>
            <a:round/>
            <a:headEnd type="none" w="med" len="med"/>
            <a:tailEnd type="none" w="med" len="med"/>
          </a:ln>
          <a:effectLst/>
          <a:extLst/>
        </p:spPr>
        <p:txBody>
          <a:bodyPr vert="horz" wrap="square" lIns="54000" tIns="46800" rIns="54000" bIns="46800" numCol="1" rtlCol="0" anchor="ctr" anchorCtr="0" compatLnSpc="1">
            <a:prstTxWarp prst="textNoShape">
              <a:avLst/>
            </a:prstTxWarp>
          </a:bodyPr>
          <a:lstStyle/>
          <a:p>
            <a:pPr algn="ctr"/>
            <a:endParaRPr lang="en-GB" smtClean="0">
              <a:solidFill>
                <a:srgbClr val="000000"/>
              </a:solidFill>
            </a:endParaRPr>
          </a:p>
        </p:txBody>
      </p:sp>
      <p:sp>
        <p:nvSpPr>
          <p:cNvPr id="494" name="Right Triangle 493"/>
          <p:cNvSpPr/>
          <p:nvPr/>
        </p:nvSpPr>
        <p:spPr bwMode="auto">
          <a:xfrm rot="16200000">
            <a:off x="3512873" y="5635250"/>
            <a:ext cx="13281" cy="238425"/>
          </a:xfrm>
          <a:prstGeom prst="rtTriangle">
            <a:avLst/>
          </a:prstGeom>
          <a:solidFill>
            <a:schemeClr val="accent3">
              <a:lumMod val="50000"/>
            </a:schemeClr>
          </a:solidFill>
          <a:ln w="12700" cap="flat" cmpd="sng" algn="ctr">
            <a:noFill/>
            <a:prstDash val="solid"/>
            <a:round/>
            <a:headEnd type="none" w="med" len="med"/>
            <a:tailEnd type="none" w="med" len="med"/>
          </a:ln>
          <a:effectLst/>
          <a:extLst/>
        </p:spPr>
        <p:txBody>
          <a:bodyPr vert="horz" wrap="square" lIns="54000" tIns="46800" rIns="54000" bIns="46800" numCol="1" rtlCol="0" anchor="ctr" anchorCtr="0" compatLnSpc="1">
            <a:prstTxWarp prst="textNoShape">
              <a:avLst/>
            </a:prstTxWarp>
          </a:bodyPr>
          <a:lstStyle/>
          <a:p>
            <a:pPr algn="ctr"/>
            <a:endParaRPr lang="en-GB" smtClean="0">
              <a:solidFill>
                <a:srgbClr val="000000"/>
              </a:solidFill>
            </a:endParaRPr>
          </a:p>
        </p:txBody>
      </p:sp>
      <p:sp>
        <p:nvSpPr>
          <p:cNvPr id="424" name="Flowchart: Terminator 423"/>
          <p:cNvSpPr/>
          <p:nvPr/>
        </p:nvSpPr>
        <p:spPr bwMode="auto">
          <a:xfrm rot="19517116">
            <a:off x="2372959" y="5957293"/>
            <a:ext cx="443822" cy="68095"/>
          </a:xfrm>
          <a:prstGeom prst="flowChartTerminator">
            <a:avLst/>
          </a:prstGeom>
          <a:solidFill>
            <a:srgbClr val="7A9FB6"/>
          </a:solidFill>
          <a:ln w="12700" cap="flat" cmpd="sng" algn="ctr">
            <a:noFill/>
            <a:prstDash val="solid"/>
            <a:round/>
            <a:headEnd type="none" w="med" len="med"/>
            <a:tailEnd type="none" w="med" len="med"/>
          </a:ln>
          <a:effectLst/>
          <a:extLst/>
        </p:spPr>
        <p:txBody>
          <a:bodyPr vert="horz" wrap="square" lIns="54000" tIns="46800" rIns="54000" bIns="46800" numCol="1" rtlCol="0" anchor="ctr" anchorCtr="0" compatLnSpc="1">
            <a:prstTxWarp prst="textNoShape">
              <a:avLst/>
            </a:prstTxWarp>
          </a:bodyPr>
          <a:lstStyle/>
          <a:p>
            <a:pPr algn="ctr"/>
            <a:endParaRPr lang="en-GB">
              <a:solidFill>
                <a:srgbClr val="000000"/>
              </a:solidFill>
            </a:endParaRPr>
          </a:p>
        </p:txBody>
      </p:sp>
      <p:sp>
        <p:nvSpPr>
          <p:cNvPr id="496" name="Flowchart: Terminator 495"/>
          <p:cNvSpPr/>
          <p:nvPr/>
        </p:nvSpPr>
        <p:spPr bwMode="auto">
          <a:xfrm rot="19517116">
            <a:off x="2503356" y="5946346"/>
            <a:ext cx="167504" cy="25882"/>
          </a:xfrm>
          <a:prstGeom prst="flowChartTerminator">
            <a:avLst/>
          </a:prstGeom>
          <a:solidFill>
            <a:srgbClr val="7A9FB6"/>
          </a:solidFill>
          <a:ln w="12700" cap="flat" cmpd="sng" algn="ctr">
            <a:noFill/>
            <a:prstDash val="solid"/>
            <a:round/>
            <a:headEnd type="none" w="med" len="med"/>
            <a:tailEnd type="none" w="med" len="med"/>
          </a:ln>
          <a:effectLst/>
          <a:extLst/>
        </p:spPr>
        <p:txBody>
          <a:bodyPr vert="horz" wrap="square" lIns="54000" tIns="46800" rIns="54000" bIns="46800" numCol="1" rtlCol="0" anchor="ctr" anchorCtr="0" compatLnSpc="1">
            <a:prstTxWarp prst="textNoShape">
              <a:avLst/>
            </a:prstTxWarp>
          </a:bodyPr>
          <a:lstStyle/>
          <a:p>
            <a:pPr algn="ctr"/>
            <a:endParaRPr lang="en-GB">
              <a:solidFill>
                <a:srgbClr val="000000"/>
              </a:solidFill>
            </a:endParaRPr>
          </a:p>
        </p:txBody>
      </p:sp>
      <p:sp>
        <p:nvSpPr>
          <p:cNvPr id="497" name="Flowchart: Terminator 496"/>
          <p:cNvSpPr/>
          <p:nvPr/>
        </p:nvSpPr>
        <p:spPr bwMode="auto">
          <a:xfrm rot="19517116">
            <a:off x="2546342" y="5922973"/>
            <a:ext cx="167504" cy="25882"/>
          </a:xfrm>
          <a:prstGeom prst="flowChartTerminator">
            <a:avLst/>
          </a:prstGeom>
          <a:solidFill>
            <a:srgbClr val="7A9FB6"/>
          </a:solidFill>
          <a:ln w="12700" cap="flat" cmpd="sng" algn="ctr">
            <a:noFill/>
            <a:prstDash val="solid"/>
            <a:round/>
            <a:headEnd type="none" w="med" len="med"/>
            <a:tailEnd type="none" w="med" len="med"/>
          </a:ln>
          <a:effectLst/>
          <a:extLst/>
        </p:spPr>
        <p:txBody>
          <a:bodyPr vert="horz" wrap="square" lIns="54000" tIns="46800" rIns="54000" bIns="46800" numCol="1" rtlCol="0" anchor="ctr" anchorCtr="0" compatLnSpc="1">
            <a:prstTxWarp prst="textNoShape">
              <a:avLst/>
            </a:prstTxWarp>
          </a:bodyPr>
          <a:lstStyle/>
          <a:p>
            <a:pPr algn="ctr"/>
            <a:endParaRPr lang="en-GB">
              <a:solidFill>
                <a:srgbClr val="000000"/>
              </a:solidFill>
            </a:endParaRPr>
          </a:p>
        </p:txBody>
      </p:sp>
      <p:sp>
        <p:nvSpPr>
          <p:cNvPr id="498" name="Flowchart: Terminator 497"/>
          <p:cNvSpPr/>
          <p:nvPr/>
        </p:nvSpPr>
        <p:spPr bwMode="auto">
          <a:xfrm rot="19517116">
            <a:off x="2485564" y="5965896"/>
            <a:ext cx="167504" cy="25882"/>
          </a:xfrm>
          <a:prstGeom prst="flowChartTerminator">
            <a:avLst/>
          </a:prstGeom>
          <a:solidFill>
            <a:srgbClr val="7A9FB6"/>
          </a:solidFill>
          <a:ln w="12700" cap="flat" cmpd="sng" algn="ctr">
            <a:noFill/>
            <a:prstDash val="solid"/>
            <a:round/>
            <a:headEnd type="none" w="med" len="med"/>
            <a:tailEnd type="none" w="med" len="med"/>
          </a:ln>
          <a:effectLst/>
          <a:extLst/>
        </p:spPr>
        <p:txBody>
          <a:bodyPr vert="horz" wrap="square" lIns="54000" tIns="46800" rIns="54000" bIns="46800" numCol="1" rtlCol="0" anchor="ctr" anchorCtr="0" compatLnSpc="1">
            <a:prstTxWarp prst="textNoShape">
              <a:avLst/>
            </a:prstTxWarp>
          </a:bodyPr>
          <a:lstStyle/>
          <a:p>
            <a:pPr algn="ctr"/>
            <a:endParaRPr lang="en-GB">
              <a:solidFill>
                <a:srgbClr val="000000"/>
              </a:solidFill>
            </a:endParaRPr>
          </a:p>
        </p:txBody>
      </p:sp>
      <p:sp>
        <p:nvSpPr>
          <p:cNvPr id="499" name="Flowchart: Terminator 498"/>
          <p:cNvSpPr/>
          <p:nvPr/>
        </p:nvSpPr>
        <p:spPr bwMode="auto">
          <a:xfrm rot="21156501">
            <a:off x="2803988" y="5793134"/>
            <a:ext cx="525702" cy="28470"/>
          </a:xfrm>
          <a:prstGeom prst="flowChartTerminator">
            <a:avLst/>
          </a:prstGeom>
          <a:solidFill>
            <a:srgbClr val="E3CAB3"/>
          </a:solidFill>
          <a:ln w="12700" cap="flat" cmpd="sng" algn="ctr">
            <a:noFill/>
            <a:prstDash val="solid"/>
            <a:round/>
            <a:headEnd type="none" w="med" len="med"/>
            <a:tailEnd type="none" w="med" len="med"/>
          </a:ln>
          <a:effectLst/>
          <a:extLst/>
        </p:spPr>
        <p:txBody>
          <a:bodyPr vert="horz" wrap="square" lIns="54000" tIns="46800" rIns="54000" bIns="46800" numCol="1" rtlCol="0" anchor="ctr" anchorCtr="0" compatLnSpc="1">
            <a:prstTxWarp prst="textNoShape">
              <a:avLst/>
            </a:prstTxWarp>
          </a:bodyPr>
          <a:lstStyle/>
          <a:p>
            <a:pPr algn="ctr"/>
            <a:endParaRPr lang="en-GB">
              <a:solidFill>
                <a:srgbClr val="000000"/>
              </a:solidFill>
            </a:endParaRPr>
          </a:p>
        </p:txBody>
      </p:sp>
      <p:sp>
        <p:nvSpPr>
          <p:cNvPr id="500" name="Flowchart: Terminator 499"/>
          <p:cNvSpPr/>
          <p:nvPr/>
        </p:nvSpPr>
        <p:spPr bwMode="auto">
          <a:xfrm rot="21241705">
            <a:off x="2997325" y="5773788"/>
            <a:ext cx="326419" cy="28470"/>
          </a:xfrm>
          <a:prstGeom prst="flowChartTerminator">
            <a:avLst/>
          </a:prstGeom>
          <a:solidFill>
            <a:srgbClr val="E3CAB3"/>
          </a:solidFill>
          <a:ln w="12700" cap="flat" cmpd="sng" algn="ctr">
            <a:noFill/>
            <a:prstDash val="solid"/>
            <a:round/>
            <a:headEnd type="none" w="med" len="med"/>
            <a:tailEnd type="none" w="med" len="med"/>
          </a:ln>
          <a:effectLst/>
          <a:extLst/>
        </p:spPr>
        <p:txBody>
          <a:bodyPr vert="horz" wrap="square" lIns="54000" tIns="46800" rIns="54000" bIns="46800" numCol="1" rtlCol="0" anchor="ctr" anchorCtr="0" compatLnSpc="1">
            <a:prstTxWarp prst="textNoShape">
              <a:avLst/>
            </a:prstTxWarp>
          </a:bodyPr>
          <a:lstStyle/>
          <a:p>
            <a:pPr algn="ctr"/>
            <a:endParaRPr lang="en-GB">
              <a:solidFill>
                <a:srgbClr val="000000"/>
              </a:solidFill>
            </a:endParaRPr>
          </a:p>
        </p:txBody>
      </p:sp>
      <p:sp>
        <p:nvSpPr>
          <p:cNvPr id="426" name="TextBox 425"/>
          <p:cNvSpPr txBox="1"/>
          <p:nvPr/>
        </p:nvSpPr>
        <p:spPr>
          <a:xfrm>
            <a:off x="2055599" y="6227407"/>
            <a:ext cx="580086" cy="215444"/>
          </a:xfrm>
          <a:prstGeom prst="rect">
            <a:avLst/>
          </a:prstGeom>
          <a:noFill/>
        </p:spPr>
        <p:txBody>
          <a:bodyPr wrap="square" rtlCol="0">
            <a:spAutoFit/>
          </a:bodyPr>
          <a:lstStyle/>
          <a:p>
            <a:r>
              <a:rPr lang="en-GB" sz="800" b="1" dirty="0" smtClean="0">
                <a:solidFill>
                  <a:srgbClr val="000000"/>
                </a:solidFill>
              </a:rPr>
              <a:t>ADSL</a:t>
            </a:r>
            <a:endParaRPr lang="en-GB" sz="800" b="1" dirty="0">
              <a:solidFill>
                <a:srgbClr val="000000"/>
              </a:solidFill>
            </a:endParaRPr>
          </a:p>
        </p:txBody>
      </p:sp>
      <p:sp>
        <p:nvSpPr>
          <p:cNvPr id="503" name="TextBox 502"/>
          <p:cNvSpPr txBox="1"/>
          <p:nvPr/>
        </p:nvSpPr>
        <p:spPr>
          <a:xfrm>
            <a:off x="2423865" y="6231796"/>
            <a:ext cx="614791" cy="215444"/>
          </a:xfrm>
          <a:prstGeom prst="rect">
            <a:avLst/>
          </a:prstGeom>
          <a:noFill/>
        </p:spPr>
        <p:txBody>
          <a:bodyPr wrap="square" rtlCol="0">
            <a:spAutoFit/>
          </a:bodyPr>
          <a:lstStyle/>
          <a:p>
            <a:r>
              <a:rPr lang="en-GB" sz="800" b="1" dirty="0" smtClean="0">
                <a:solidFill>
                  <a:srgbClr val="000000"/>
                </a:solidFill>
              </a:rPr>
              <a:t>LTE</a:t>
            </a:r>
            <a:endParaRPr lang="en-GB" sz="800" b="1" dirty="0">
              <a:solidFill>
                <a:srgbClr val="000000"/>
              </a:solidFill>
            </a:endParaRPr>
          </a:p>
        </p:txBody>
      </p:sp>
      <p:sp>
        <p:nvSpPr>
          <p:cNvPr id="504" name="TextBox 503"/>
          <p:cNvSpPr txBox="1"/>
          <p:nvPr/>
        </p:nvSpPr>
        <p:spPr>
          <a:xfrm>
            <a:off x="2825857" y="6170241"/>
            <a:ext cx="630875" cy="338554"/>
          </a:xfrm>
          <a:prstGeom prst="rect">
            <a:avLst/>
          </a:prstGeom>
          <a:noFill/>
        </p:spPr>
        <p:txBody>
          <a:bodyPr wrap="square" rtlCol="0">
            <a:spAutoFit/>
          </a:bodyPr>
          <a:lstStyle/>
          <a:p>
            <a:r>
              <a:rPr lang="en-GB" sz="800" b="1" dirty="0" smtClean="0">
                <a:solidFill>
                  <a:srgbClr val="000000"/>
                </a:solidFill>
              </a:rPr>
              <a:t>3G/</a:t>
            </a:r>
            <a:br>
              <a:rPr lang="en-GB" sz="800" b="1" dirty="0" smtClean="0">
                <a:solidFill>
                  <a:srgbClr val="000000"/>
                </a:solidFill>
              </a:rPr>
            </a:br>
            <a:r>
              <a:rPr lang="en-GB" sz="800" b="1" dirty="0" smtClean="0">
                <a:solidFill>
                  <a:srgbClr val="000000"/>
                </a:solidFill>
              </a:rPr>
              <a:t>HSPA</a:t>
            </a:r>
            <a:endParaRPr lang="en-GB" sz="800" b="1" dirty="0">
              <a:solidFill>
                <a:srgbClr val="000000"/>
              </a:solidFill>
            </a:endParaRPr>
          </a:p>
        </p:txBody>
      </p:sp>
      <p:sp>
        <p:nvSpPr>
          <p:cNvPr id="505" name="TextBox 504"/>
          <p:cNvSpPr txBox="1"/>
          <p:nvPr/>
        </p:nvSpPr>
        <p:spPr>
          <a:xfrm>
            <a:off x="3241357" y="6266757"/>
            <a:ext cx="697530" cy="215444"/>
          </a:xfrm>
          <a:prstGeom prst="rect">
            <a:avLst/>
          </a:prstGeom>
          <a:noFill/>
        </p:spPr>
        <p:txBody>
          <a:bodyPr wrap="square" rtlCol="0">
            <a:spAutoFit/>
          </a:bodyPr>
          <a:lstStyle/>
          <a:p>
            <a:pPr algn="ctr"/>
            <a:r>
              <a:rPr lang="en-GB" sz="800" b="1" dirty="0" smtClean="0">
                <a:solidFill>
                  <a:srgbClr val="000000"/>
                </a:solidFill>
              </a:rPr>
              <a:t>Satellite</a:t>
            </a:r>
            <a:endParaRPr lang="en-GB" sz="800" b="1" dirty="0">
              <a:solidFill>
                <a:srgbClr val="000000"/>
              </a:solidFill>
            </a:endParaRPr>
          </a:p>
        </p:txBody>
      </p:sp>
      <p:cxnSp>
        <p:nvCxnSpPr>
          <p:cNvPr id="429" name="Straight Connector 428"/>
          <p:cNvCxnSpPr/>
          <p:nvPr/>
        </p:nvCxnSpPr>
        <p:spPr bwMode="auto">
          <a:xfrm>
            <a:off x="2776527" y="5879795"/>
            <a:ext cx="0" cy="537135"/>
          </a:xfrm>
          <a:prstGeom prst="line">
            <a:avLst/>
          </a:prstGeom>
          <a:solidFill>
            <a:schemeClr val="bg2"/>
          </a:solidFill>
          <a:ln w="12700" cap="flat" cmpd="sng" algn="ctr">
            <a:solidFill>
              <a:schemeClr val="bg2"/>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9" name="Straight Connector 508"/>
          <p:cNvCxnSpPr/>
          <p:nvPr/>
        </p:nvCxnSpPr>
        <p:spPr bwMode="auto">
          <a:xfrm>
            <a:off x="3419951" y="5743232"/>
            <a:ext cx="0" cy="649934"/>
          </a:xfrm>
          <a:prstGeom prst="line">
            <a:avLst/>
          </a:prstGeom>
          <a:solidFill>
            <a:schemeClr val="bg2"/>
          </a:solidFill>
          <a:ln w="12700" cap="flat" cmpd="sng" algn="ctr">
            <a:solidFill>
              <a:schemeClr val="bg2"/>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0" name="Straight Connector 509"/>
          <p:cNvCxnSpPr/>
          <p:nvPr/>
        </p:nvCxnSpPr>
        <p:spPr bwMode="auto">
          <a:xfrm>
            <a:off x="3615337" y="5743002"/>
            <a:ext cx="0" cy="649934"/>
          </a:xfrm>
          <a:prstGeom prst="line">
            <a:avLst/>
          </a:prstGeom>
          <a:solidFill>
            <a:schemeClr val="bg2"/>
          </a:solidFill>
          <a:ln w="12700" cap="flat" cmpd="sng" algn="ctr">
            <a:solidFill>
              <a:schemeClr val="bg2"/>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1" name="Straight Connector 510"/>
          <p:cNvCxnSpPr/>
          <p:nvPr/>
        </p:nvCxnSpPr>
        <p:spPr bwMode="auto">
          <a:xfrm>
            <a:off x="2419864" y="6116899"/>
            <a:ext cx="0" cy="303198"/>
          </a:xfrm>
          <a:prstGeom prst="line">
            <a:avLst/>
          </a:prstGeom>
          <a:solidFill>
            <a:schemeClr val="bg2"/>
          </a:solidFill>
          <a:ln w="12700" cap="flat" cmpd="sng" algn="ctr">
            <a:solidFill>
              <a:schemeClr val="bg2"/>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14" name="AutoShape 4"/>
          <p:cNvSpPr>
            <a:spLocks noChangeArrowheads="1"/>
          </p:cNvSpPr>
          <p:nvPr/>
        </p:nvSpPr>
        <p:spPr bwMode="auto">
          <a:xfrm rot="16200000">
            <a:off x="2065246" y="1109461"/>
            <a:ext cx="929552" cy="1968233"/>
          </a:xfrm>
          <a:prstGeom prst="rightArrowCallout">
            <a:avLst>
              <a:gd name="adj1" fmla="val 0"/>
              <a:gd name="adj2" fmla="val 0"/>
              <a:gd name="adj3" fmla="val 0"/>
              <a:gd name="adj4" fmla="val 100000"/>
            </a:avLst>
          </a:prstGeom>
          <a:solidFill>
            <a:srgbClr val="B8CAD8"/>
          </a:solidFill>
          <a:ln w="12700">
            <a:noFill/>
            <a:miter lim="800000"/>
            <a:headEnd/>
            <a:tailEnd/>
          </a:ln>
          <a:effectLst/>
        </p:spPr>
        <p:txBody>
          <a:bodyPr vert="vert" lIns="18000" tIns="46800" rIns="126000" bIns="46800" anchor="ctr"/>
          <a:lstStyle/>
          <a:p>
            <a:pPr algn="ctr"/>
            <a:r>
              <a:rPr lang="en-GB" sz="1300" dirty="0" smtClean="0">
                <a:solidFill>
                  <a:srgbClr val="000000"/>
                </a:solidFill>
              </a:rPr>
              <a:t>Definition of relevant </a:t>
            </a:r>
            <a:r>
              <a:rPr lang="en-GB" sz="1300" dirty="0" err="1" smtClean="0">
                <a:solidFill>
                  <a:srgbClr val="000000"/>
                </a:solidFill>
              </a:rPr>
              <a:t>geotypes</a:t>
            </a:r>
            <a:endParaRPr lang="en-GB" sz="1300" dirty="0">
              <a:solidFill>
                <a:srgbClr val="000000"/>
              </a:solidFill>
            </a:endParaRPr>
          </a:p>
        </p:txBody>
      </p:sp>
      <p:grpSp>
        <p:nvGrpSpPr>
          <p:cNvPr id="522" name="Group 521"/>
          <p:cNvGrpSpPr/>
          <p:nvPr/>
        </p:nvGrpSpPr>
        <p:grpSpPr>
          <a:xfrm>
            <a:off x="2222697" y="4210207"/>
            <a:ext cx="1623860" cy="1008280"/>
            <a:chOff x="5645728" y="1733932"/>
            <a:chExt cx="3905266" cy="4431535"/>
          </a:xfrm>
        </p:grpSpPr>
        <p:pic>
          <p:nvPicPr>
            <p:cNvPr id="523" name="Picture 2"/>
            <p:cNvPicPr>
              <a:picLocks noChangeAspect="1" noChangeArrowheads="1"/>
            </p:cNvPicPr>
            <p:nvPr/>
          </p:nvPicPr>
          <p:blipFill rotWithShape="1">
            <a:blip r:embed="rId279" cstate="print">
              <a:extLst>
                <a:ext uri="{28A0092B-C50C-407E-A947-70E740481C1C}">
                  <a14:useLocalDpi xmlns:a14="http://schemas.microsoft.com/office/drawing/2010/main" val="0"/>
                </a:ext>
              </a:extLst>
            </a:blip>
            <a:srcRect l="7265"/>
            <a:stretch/>
          </p:blipFill>
          <p:spPr bwMode="auto">
            <a:xfrm>
              <a:off x="5645728" y="1733932"/>
              <a:ext cx="3905266" cy="4431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4" name="Rectangle 523"/>
            <p:cNvSpPr/>
            <p:nvPr/>
          </p:nvSpPr>
          <p:spPr bwMode="auto">
            <a:xfrm>
              <a:off x="6446232" y="5510305"/>
              <a:ext cx="2539215" cy="216024"/>
            </a:xfrm>
            <a:prstGeom prst="rect">
              <a:avLst/>
            </a:prstGeom>
            <a:solidFill>
              <a:srgbClr val="FFFFFF"/>
            </a:solidFill>
            <a:ln w="12700" cap="flat" cmpd="sng" algn="ctr">
              <a:noFill/>
              <a:prstDash val="solid"/>
              <a:round/>
              <a:headEnd type="none" w="med" len="med"/>
              <a:tailEnd type="none" w="med" len="med"/>
            </a:ln>
            <a:effectLst/>
            <a:extLst/>
          </p:spPr>
          <p:txBody>
            <a:bodyPr vert="horz" wrap="square" lIns="54000" tIns="46800" rIns="54000" bIns="46800" numCol="1" rtlCol="0" anchor="ctr" anchorCtr="0" compatLnSpc="1">
              <a:prstTxWarp prst="textNoShape">
                <a:avLst/>
              </a:prstTxWarp>
            </a:bodyPr>
            <a:lstStyle/>
            <a:p>
              <a:pPr algn="ctr"/>
              <a:endParaRPr lang="en-GB" dirty="0" err="1" smtClean="0">
                <a:solidFill>
                  <a:srgbClr val="000000"/>
                </a:solidFill>
              </a:endParaRPr>
            </a:p>
          </p:txBody>
        </p:sp>
        <p:sp>
          <p:nvSpPr>
            <p:cNvPr id="525" name="TextBox 524"/>
            <p:cNvSpPr txBox="1"/>
            <p:nvPr/>
          </p:nvSpPr>
          <p:spPr>
            <a:xfrm rot="17827333">
              <a:off x="6064720" y="2446802"/>
              <a:ext cx="1747131" cy="518127"/>
            </a:xfrm>
            <a:prstGeom prst="rect">
              <a:avLst/>
            </a:prstGeom>
            <a:noFill/>
          </p:spPr>
          <p:txBody>
            <a:bodyPr wrap="square" rtlCol="0">
              <a:spAutoFit/>
            </a:bodyPr>
            <a:lstStyle/>
            <a:p>
              <a:pPr algn="ctr"/>
              <a:r>
                <a:rPr lang="en-GB" sz="400" b="1" dirty="0" smtClean="0">
                  <a:solidFill>
                    <a:srgbClr val="FF0000"/>
                  </a:solidFill>
                </a:rPr>
                <a:t>ILLUSTRATIVE</a:t>
              </a:r>
              <a:endParaRPr lang="en-GB" sz="1400" b="1" dirty="0">
                <a:solidFill>
                  <a:srgbClr val="FF0000"/>
                </a:solidFill>
              </a:endParaRPr>
            </a:p>
          </p:txBody>
        </p:sp>
      </p:grpSp>
      <p:grpSp>
        <p:nvGrpSpPr>
          <p:cNvPr id="527" name="Group 526"/>
          <p:cNvGrpSpPr>
            <a:grpSpLocks/>
          </p:cNvGrpSpPr>
          <p:nvPr/>
        </p:nvGrpSpPr>
        <p:grpSpPr bwMode="auto">
          <a:xfrm>
            <a:off x="5397087" y="2591799"/>
            <a:ext cx="1126730" cy="706879"/>
            <a:chOff x="1124" y="1752"/>
            <a:chExt cx="1379" cy="726"/>
          </a:xfrm>
        </p:grpSpPr>
        <p:sp>
          <p:nvSpPr>
            <p:cNvPr id="528" name="AutoShape 9"/>
            <p:cNvSpPr>
              <a:spLocks noChangeArrowheads="1"/>
            </p:cNvSpPr>
            <p:nvPr>
              <p:custDataLst>
                <p:tags r:id="rId1"/>
              </p:custDataLst>
            </p:nvPr>
          </p:nvSpPr>
          <p:spPr bwMode="auto">
            <a:xfrm>
              <a:off x="1124" y="2185"/>
              <a:ext cx="532" cy="293"/>
            </a:xfrm>
            <a:prstGeom prst="roundRect">
              <a:avLst>
                <a:gd name="adj" fmla="val 12065"/>
              </a:avLst>
            </a:prstGeom>
            <a:solidFill>
              <a:srgbClr val="B8CAD8">
                <a:alpha val="50000"/>
              </a:srgbClr>
            </a:solidFill>
            <a:ln w="19050">
              <a:solidFill>
                <a:srgbClr val="B8CAD8"/>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0" rIns="54000" bIns="46800" anchor="ctr"/>
            <a:lstStyle/>
            <a:p>
              <a:pPr algn="ctr"/>
              <a:endParaRPr lang="fr-FR" sz="1100">
                <a:solidFill>
                  <a:srgbClr val="000000"/>
                </a:solidFill>
              </a:endParaRPr>
            </a:p>
          </p:txBody>
        </p:sp>
        <p:sp>
          <p:nvSpPr>
            <p:cNvPr id="529" name="AutoShape 10"/>
            <p:cNvSpPr>
              <a:spLocks noChangeArrowheads="1"/>
            </p:cNvSpPr>
            <p:nvPr>
              <p:custDataLst>
                <p:tags r:id="rId2"/>
              </p:custDataLst>
            </p:nvPr>
          </p:nvSpPr>
          <p:spPr bwMode="auto">
            <a:xfrm>
              <a:off x="1124" y="1752"/>
              <a:ext cx="532" cy="402"/>
            </a:xfrm>
            <a:prstGeom prst="roundRect">
              <a:avLst>
                <a:gd name="adj" fmla="val 9560"/>
              </a:avLst>
            </a:prstGeom>
            <a:solidFill>
              <a:srgbClr val="B8CAD8">
                <a:alpha val="50000"/>
              </a:srgbClr>
            </a:solidFill>
            <a:ln w="19050">
              <a:solidFill>
                <a:srgbClr val="B8CAD8"/>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0" rIns="54000" bIns="46800" anchor="ctr"/>
            <a:lstStyle/>
            <a:p>
              <a:pPr algn="ctr"/>
              <a:endParaRPr lang="fr-FR" sz="1100">
                <a:solidFill>
                  <a:srgbClr val="000000"/>
                </a:solidFill>
              </a:endParaRPr>
            </a:p>
          </p:txBody>
        </p:sp>
        <p:sp>
          <p:nvSpPr>
            <p:cNvPr id="530" name="Oval 529"/>
            <p:cNvSpPr>
              <a:spLocks noChangeArrowheads="1"/>
            </p:cNvSpPr>
            <p:nvPr>
              <p:custDataLst>
                <p:tags r:id="rId3"/>
              </p:custDataLst>
            </p:nvPr>
          </p:nvSpPr>
          <p:spPr bwMode="auto">
            <a:xfrm>
              <a:off x="1169" y="1914"/>
              <a:ext cx="428" cy="183"/>
            </a:xfrm>
            <a:prstGeom prst="ellipse">
              <a:avLst/>
            </a:prstGeom>
            <a:noFill/>
            <a:ln w="25400">
              <a:solidFill>
                <a:srgbClr val="3F6075"/>
              </a:solidFill>
              <a:round/>
              <a:headEnd/>
              <a:tailEnd/>
            </a:ln>
            <a:effectLst/>
            <a:extLst>
              <a:ext uri="{909E8E84-426E-40DD-AFC4-6F175D3DCCD1}">
                <a14:hiddenFill xmlns:a14="http://schemas.microsoft.com/office/drawing/2010/main">
                  <a:solidFill>
                    <a:schemeClr val="bg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US">
                <a:solidFill>
                  <a:srgbClr val="000000"/>
                </a:solidFill>
              </a:endParaRPr>
            </a:p>
          </p:txBody>
        </p:sp>
        <p:grpSp>
          <p:nvGrpSpPr>
            <p:cNvPr id="531" name="Group 530"/>
            <p:cNvGrpSpPr>
              <a:grpSpLocks/>
            </p:cNvGrpSpPr>
            <p:nvPr>
              <p:custDataLst>
                <p:tags r:id="rId4"/>
              </p:custDataLst>
            </p:nvPr>
          </p:nvGrpSpPr>
          <p:grpSpPr bwMode="auto">
            <a:xfrm>
              <a:off x="1806" y="1906"/>
              <a:ext cx="606" cy="433"/>
              <a:chOff x="4080" y="1752"/>
              <a:chExt cx="1056" cy="912"/>
            </a:xfrm>
          </p:grpSpPr>
          <p:sp>
            <p:nvSpPr>
              <p:cNvPr id="832" name="AutoShape 13"/>
              <p:cNvSpPr>
                <a:spLocks noChangeArrowheads="1"/>
              </p:cNvSpPr>
              <p:nvPr/>
            </p:nvSpPr>
            <p:spPr bwMode="auto">
              <a:xfrm>
                <a:off x="4080" y="1752"/>
                <a:ext cx="1056" cy="912"/>
              </a:xfrm>
              <a:prstGeom prst="cloudCallout">
                <a:avLst>
                  <a:gd name="adj1" fmla="val -2273"/>
                  <a:gd name="adj2" fmla="val -546"/>
                </a:avLst>
              </a:prstGeom>
              <a:solidFill>
                <a:srgbClr val="D4DFE8"/>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46800" rIns="54000" bIns="46800"/>
              <a:lstStyle/>
              <a:p>
                <a:pPr algn="ctr"/>
                <a:endParaRPr lang="en-US" sz="1100">
                  <a:solidFill>
                    <a:srgbClr val="000000"/>
                  </a:solidFill>
                </a:endParaRPr>
              </a:p>
            </p:txBody>
          </p:sp>
          <p:sp>
            <p:nvSpPr>
              <p:cNvPr id="833" name="Text Box 14"/>
              <p:cNvSpPr txBox="1">
                <a:spLocks noChangeArrowheads="1"/>
              </p:cNvSpPr>
              <p:nvPr/>
            </p:nvSpPr>
            <p:spPr bwMode="auto">
              <a:xfrm>
                <a:off x="4152" y="2061"/>
                <a:ext cx="912" cy="571"/>
              </a:xfrm>
              <a:prstGeom prst="rect">
                <a:avLst/>
              </a:prstGeom>
              <a:noFill/>
              <a:ln>
                <a:noFill/>
              </a:ln>
              <a:effectLst/>
              <a:extLst>
                <a:ext uri="{909E8E84-426E-40DD-AFC4-6F175D3DCCD1}">
                  <a14:hiddenFill xmlns:a14="http://schemas.microsoft.com/office/drawing/2010/main">
                    <a:solidFill>
                      <a:srgbClr val="3F6075"/>
                    </a:solidFill>
                  </a14:hiddenFill>
                </a:ext>
                <a:ext uri="{91240B29-F687-4F45-9708-019B960494DF}">
                  <a14:hiddenLine xmlns:a14="http://schemas.microsoft.com/office/drawing/2010/main" w="12700">
                    <a:solidFill>
                      <a:srgbClr val="3F607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46800" rIns="54000" bIns="46800">
                <a:spAutoFit/>
              </a:bodyPr>
              <a:lstStyle/>
              <a:p>
                <a:pPr algn="ctr"/>
                <a:endParaRPr lang="en-US" sz="1100">
                  <a:solidFill>
                    <a:srgbClr val="000000"/>
                  </a:solidFill>
                </a:endParaRPr>
              </a:p>
            </p:txBody>
          </p:sp>
        </p:grpSp>
        <p:grpSp>
          <p:nvGrpSpPr>
            <p:cNvPr id="532" name="Group 15"/>
            <p:cNvGrpSpPr>
              <a:grpSpLocks/>
            </p:cNvGrpSpPr>
            <p:nvPr>
              <p:custDataLst>
                <p:tags r:id="rId5"/>
              </p:custDataLst>
            </p:nvPr>
          </p:nvGrpSpPr>
          <p:grpSpPr bwMode="auto">
            <a:xfrm>
              <a:off x="2336" y="2043"/>
              <a:ext cx="167" cy="95"/>
              <a:chOff x="369" y="3354"/>
              <a:chExt cx="717" cy="390"/>
            </a:xfrm>
          </p:grpSpPr>
          <p:sp>
            <p:nvSpPr>
              <p:cNvPr id="810" name="AutoShape 16"/>
              <p:cNvSpPr>
                <a:spLocks noChangeAspect="1" noChangeArrowheads="1" noTextEdit="1"/>
              </p:cNvSpPr>
              <p:nvPr>
                <p:custDataLst>
                  <p:tags r:id="rId253"/>
                </p:custDataLst>
              </p:nvPr>
            </p:nvSpPr>
            <p:spPr bwMode="auto">
              <a:xfrm>
                <a:off x="369" y="3354"/>
                <a:ext cx="717"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811" name="Freeform 17"/>
              <p:cNvSpPr>
                <a:spLocks/>
              </p:cNvSpPr>
              <p:nvPr>
                <p:custDataLst>
                  <p:tags r:id="rId254"/>
                </p:custDataLst>
              </p:nvPr>
            </p:nvSpPr>
            <p:spPr bwMode="auto">
              <a:xfrm>
                <a:off x="371" y="3517"/>
                <a:ext cx="713" cy="225"/>
              </a:xfrm>
              <a:custGeom>
                <a:avLst/>
                <a:gdLst>
                  <a:gd name="T0" fmla="*/ 16347 w 16389"/>
                  <a:gd name="T1" fmla="*/ 3102 h 5628"/>
                  <a:gd name="T2" fmla="*/ 16132 w 16389"/>
                  <a:gd name="T3" fmla="*/ 3518 h 5628"/>
                  <a:gd name="T4" fmla="*/ 15745 w 16389"/>
                  <a:gd name="T5" fmla="*/ 3909 h 5628"/>
                  <a:gd name="T6" fmla="*/ 15203 w 16389"/>
                  <a:gd name="T7" fmla="*/ 4273 h 5628"/>
                  <a:gd name="T8" fmla="*/ 14518 w 16389"/>
                  <a:gd name="T9" fmla="*/ 4605 h 5628"/>
                  <a:gd name="T10" fmla="*/ 13704 w 16389"/>
                  <a:gd name="T11" fmla="*/ 4898 h 5628"/>
                  <a:gd name="T12" fmla="*/ 12776 w 16389"/>
                  <a:gd name="T13" fmla="*/ 5148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8 h 5628"/>
                  <a:gd name="T30" fmla="*/ 2685 w 16389"/>
                  <a:gd name="T31" fmla="*/ 4898 h 5628"/>
                  <a:gd name="T32" fmla="*/ 1871 w 16389"/>
                  <a:gd name="T33" fmla="*/ 4605 h 5628"/>
                  <a:gd name="T34" fmla="*/ 1186 w 16389"/>
                  <a:gd name="T35" fmla="*/ 4273 h 5628"/>
                  <a:gd name="T36" fmla="*/ 644 w 16389"/>
                  <a:gd name="T37" fmla="*/ 3909 h 5628"/>
                  <a:gd name="T38" fmla="*/ 257 w 16389"/>
                  <a:gd name="T39" fmla="*/ 3518 h 5628"/>
                  <a:gd name="T40" fmla="*/ 42 w 16389"/>
                  <a:gd name="T41" fmla="*/ 3102 h 5628"/>
                  <a:gd name="T42" fmla="*/ 10 w 16389"/>
                  <a:gd name="T43" fmla="*/ 2669 h 5628"/>
                  <a:gd name="T44" fmla="*/ 165 w 16389"/>
                  <a:gd name="T45" fmla="*/ 2247 h 5628"/>
                  <a:gd name="T46" fmla="*/ 496 w 16389"/>
                  <a:gd name="T47" fmla="*/ 1847 h 5628"/>
                  <a:gd name="T48" fmla="*/ 989 w 16389"/>
                  <a:gd name="T49" fmla="*/ 1474 h 5628"/>
                  <a:gd name="T50" fmla="*/ 1628 w 16389"/>
                  <a:gd name="T51" fmla="*/ 1131 h 5628"/>
                  <a:gd name="T52" fmla="*/ 2400 w 16389"/>
                  <a:gd name="T53" fmla="*/ 825 h 5628"/>
                  <a:gd name="T54" fmla="*/ 3292 w 16389"/>
                  <a:gd name="T55" fmla="*/ 560 h 5628"/>
                  <a:gd name="T56" fmla="*/ 4289 w 16389"/>
                  <a:gd name="T57" fmla="*/ 340 h 5628"/>
                  <a:gd name="T58" fmla="*/ 5378 w 16389"/>
                  <a:gd name="T59" fmla="*/ 171 h 5628"/>
                  <a:gd name="T60" fmla="*/ 6543 w 16389"/>
                  <a:gd name="T61" fmla="*/ 57 h 5628"/>
                  <a:gd name="T62" fmla="*/ 7773 w 16389"/>
                  <a:gd name="T63" fmla="*/ 4 h 5628"/>
                  <a:gd name="T64" fmla="*/ 9032 w 16389"/>
                  <a:gd name="T65" fmla="*/ 14 h 5628"/>
                  <a:gd name="T66" fmla="*/ 10241 w 16389"/>
                  <a:gd name="T67" fmla="*/ 89 h 5628"/>
                  <a:gd name="T68" fmla="*/ 11383 w 16389"/>
                  <a:gd name="T69" fmla="*/ 221 h 5628"/>
                  <a:gd name="T70" fmla="*/ 12443 w 16389"/>
                  <a:gd name="T71" fmla="*/ 408 h 5628"/>
                  <a:gd name="T72" fmla="*/ 13407 w 16389"/>
                  <a:gd name="T73" fmla="*/ 643 h 5628"/>
                  <a:gd name="T74" fmla="*/ 14260 w 16389"/>
                  <a:gd name="T75" fmla="*/ 922 h 5628"/>
                  <a:gd name="T76" fmla="*/ 14990 w 16389"/>
                  <a:gd name="T77" fmla="*/ 1241 h 5628"/>
                  <a:gd name="T78" fmla="*/ 15581 w 16389"/>
                  <a:gd name="T79" fmla="*/ 1595 h 5628"/>
                  <a:gd name="T80" fmla="*/ 16022 w 16389"/>
                  <a:gd name="T81" fmla="*/ 1978 h 5628"/>
                  <a:gd name="T82" fmla="*/ 16296 w 16389"/>
                  <a:gd name="T83" fmla="*/ 2386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3"/>
                    </a:lnTo>
                    <a:lnTo>
                      <a:pt x="16224" y="3381"/>
                    </a:lnTo>
                    <a:lnTo>
                      <a:pt x="16132" y="3518"/>
                    </a:lnTo>
                    <a:lnTo>
                      <a:pt x="16022" y="3651"/>
                    </a:lnTo>
                    <a:lnTo>
                      <a:pt x="15893" y="3782"/>
                    </a:lnTo>
                    <a:lnTo>
                      <a:pt x="15745" y="3909"/>
                    </a:lnTo>
                    <a:lnTo>
                      <a:pt x="15581" y="4034"/>
                    </a:lnTo>
                    <a:lnTo>
                      <a:pt x="15400" y="4155"/>
                    </a:lnTo>
                    <a:lnTo>
                      <a:pt x="15203" y="4273"/>
                    </a:lnTo>
                    <a:lnTo>
                      <a:pt x="14990" y="4387"/>
                    </a:lnTo>
                    <a:lnTo>
                      <a:pt x="14761" y="4498"/>
                    </a:lnTo>
                    <a:lnTo>
                      <a:pt x="14518" y="4605"/>
                    </a:lnTo>
                    <a:lnTo>
                      <a:pt x="14260" y="4706"/>
                    </a:lnTo>
                    <a:lnTo>
                      <a:pt x="13989" y="4804"/>
                    </a:lnTo>
                    <a:lnTo>
                      <a:pt x="13704" y="4898"/>
                    </a:lnTo>
                    <a:lnTo>
                      <a:pt x="13407" y="4986"/>
                    </a:lnTo>
                    <a:lnTo>
                      <a:pt x="13096" y="5069"/>
                    </a:lnTo>
                    <a:lnTo>
                      <a:pt x="12776" y="5148"/>
                    </a:lnTo>
                    <a:lnTo>
                      <a:pt x="12443" y="5222"/>
                    </a:lnTo>
                    <a:lnTo>
                      <a:pt x="12100" y="5289"/>
                    </a:lnTo>
                    <a:lnTo>
                      <a:pt x="11746" y="5351"/>
                    </a:lnTo>
                    <a:lnTo>
                      <a:pt x="11383" y="5408"/>
                    </a:lnTo>
                    <a:lnTo>
                      <a:pt x="11011" y="5458"/>
                    </a:lnTo>
                    <a:lnTo>
                      <a:pt x="10631" y="5502"/>
                    </a:lnTo>
                    <a:lnTo>
                      <a:pt x="10241" y="5540"/>
                    </a:lnTo>
                    <a:lnTo>
                      <a:pt x="9846" y="5571"/>
                    </a:lnTo>
                    <a:lnTo>
                      <a:pt x="9442" y="5596"/>
                    </a:lnTo>
                    <a:lnTo>
                      <a:pt x="9032" y="5614"/>
                    </a:lnTo>
                    <a:lnTo>
                      <a:pt x="8616" y="5625"/>
                    </a:lnTo>
                    <a:lnTo>
                      <a:pt x="8195" y="5628"/>
                    </a:lnTo>
                    <a:lnTo>
                      <a:pt x="7773" y="5625"/>
                    </a:lnTo>
                    <a:lnTo>
                      <a:pt x="7357" y="5614"/>
                    </a:lnTo>
                    <a:lnTo>
                      <a:pt x="6947" y="5596"/>
                    </a:lnTo>
                    <a:lnTo>
                      <a:pt x="6543" y="5571"/>
                    </a:lnTo>
                    <a:lnTo>
                      <a:pt x="6148" y="5540"/>
                    </a:lnTo>
                    <a:lnTo>
                      <a:pt x="5758" y="5502"/>
                    </a:lnTo>
                    <a:lnTo>
                      <a:pt x="5378" y="5458"/>
                    </a:lnTo>
                    <a:lnTo>
                      <a:pt x="5006" y="5408"/>
                    </a:lnTo>
                    <a:lnTo>
                      <a:pt x="4643" y="5351"/>
                    </a:lnTo>
                    <a:lnTo>
                      <a:pt x="4289" y="5289"/>
                    </a:lnTo>
                    <a:lnTo>
                      <a:pt x="3946" y="5222"/>
                    </a:lnTo>
                    <a:lnTo>
                      <a:pt x="3613" y="5148"/>
                    </a:lnTo>
                    <a:lnTo>
                      <a:pt x="3292" y="5069"/>
                    </a:lnTo>
                    <a:lnTo>
                      <a:pt x="2982" y="4986"/>
                    </a:lnTo>
                    <a:lnTo>
                      <a:pt x="2685" y="4898"/>
                    </a:lnTo>
                    <a:lnTo>
                      <a:pt x="2400" y="4804"/>
                    </a:lnTo>
                    <a:lnTo>
                      <a:pt x="2129" y="4706"/>
                    </a:lnTo>
                    <a:lnTo>
                      <a:pt x="1871" y="4605"/>
                    </a:lnTo>
                    <a:lnTo>
                      <a:pt x="1628" y="4498"/>
                    </a:lnTo>
                    <a:lnTo>
                      <a:pt x="1399" y="4387"/>
                    </a:lnTo>
                    <a:lnTo>
                      <a:pt x="1186" y="4273"/>
                    </a:lnTo>
                    <a:lnTo>
                      <a:pt x="989" y="4155"/>
                    </a:lnTo>
                    <a:lnTo>
                      <a:pt x="808" y="4034"/>
                    </a:lnTo>
                    <a:lnTo>
                      <a:pt x="644" y="3909"/>
                    </a:lnTo>
                    <a:lnTo>
                      <a:pt x="496" y="3782"/>
                    </a:lnTo>
                    <a:lnTo>
                      <a:pt x="367" y="3651"/>
                    </a:lnTo>
                    <a:lnTo>
                      <a:pt x="257" y="3518"/>
                    </a:lnTo>
                    <a:lnTo>
                      <a:pt x="165" y="3381"/>
                    </a:lnTo>
                    <a:lnTo>
                      <a:pt x="93" y="3243"/>
                    </a:lnTo>
                    <a:lnTo>
                      <a:pt x="42" y="3102"/>
                    </a:lnTo>
                    <a:lnTo>
                      <a:pt x="10" y="2959"/>
                    </a:lnTo>
                    <a:lnTo>
                      <a:pt x="0" y="2814"/>
                    </a:lnTo>
                    <a:lnTo>
                      <a:pt x="10" y="2669"/>
                    </a:lnTo>
                    <a:lnTo>
                      <a:pt x="42" y="2526"/>
                    </a:lnTo>
                    <a:lnTo>
                      <a:pt x="93" y="2386"/>
                    </a:lnTo>
                    <a:lnTo>
                      <a:pt x="165" y="2247"/>
                    </a:lnTo>
                    <a:lnTo>
                      <a:pt x="257" y="2111"/>
                    </a:lnTo>
                    <a:lnTo>
                      <a:pt x="367" y="1978"/>
                    </a:lnTo>
                    <a:lnTo>
                      <a:pt x="496" y="1847"/>
                    </a:lnTo>
                    <a:lnTo>
                      <a:pt x="644" y="1719"/>
                    </a:lnTo>
                    <a:lnTo>
                      <a:pt x="808" y="1595"/>
                    </a:lnTo>
                    <a:lnTo>
                      <a:pt x="989" y="1474"/>
                    </a:lnTo>
                    <a:lnTo>
                      <a:pt x="1186" y="1356"/>
                    </a:lnTo>
                    <a:lnTo>
                      <a:pt x="1399" y="1241"/>
                    </a:lnTo>
                    <a:lnTo>
                      <a:pt x="1628" y="1131"/>
                    </a:lnTo>
                    <a:lnTo>
                      <a:pt x="1871" y="1024"/>
                    </a:lnTo>
                    <a:lnTo>
                      <a:pt x="2129" y="922"/>
                    </a:lnTo>
                    <a:lnTo>
                      <a:pt x="2400" y="825"/>
                    </a:lnTo>
                    <a:lnTo>
                      <a:pt x="2685" y="732"/>
                    </a:lnTo>
                    <a:lnTo>
                      <a:pt x="2982" y="643"/>
                    </a:lnTo>
                    <a:lnTo>
                      <a:pt x="3292" y="560"/>
                    </a:lnTo>
                    <a:lnTo>
                      <a:pt x="3613" y="481"/>
                    </a:lnTo>
                    <a:lnTo>
                      <a:pt x="3946" y="408"/>
                    </a:lnTo>
                    <a:lnTo>
                      <a:pt x="4289" y="340"/>
                    </a:lnTo>
                    <a:lnTo>
                      <a:pt x="4643" y="277"/>
                    </a:lnTo>
                    <a:lnTo>
                      <a:pt x="5006" y="221"/>
                    </a:lnTo>
                    <a:lnTo>
                      <a:pt x="5378" y="171"/>
                    </a:lnTo>
                    <a:lnTo>
                      <a:pt x="5758" y="126"/>
                    </a:lnTo>
                    <a:lnTo>
                      <a:pt x="6148" y="89"/>
                    </a:lnTo>
                    <a:lnTo>
                      <a:pt x="6543" y="57"/>
                    </a:lnTo>
                    <a:lnTo>
                      <a:pt x="6947" y="32"/>
                    </a:lnTo>
                    <a:lnTo>
                      <a:pt x="7357" y="14"/>
                    </a:lnTo>
                    <a:lnTo>
                      <a:pt x="7773" y="4"/>
                    </a:lnTo>
                    <a:lnTo>
                      <a:pt x="8195" y="0"/>
                    </a:lnTo>
                    <a:lnTo>
                      <a:pt x="8616" y="4"/>
                    </a:lnTo>
                    <a:lnTo>
                      <a:pt x="9032" y="14"/>
                    </a:lnTo>
                    <a:lnTo>
                      <a:pt x="9442" y="32"/>
                    </a:lnTo>
                    <a:lnTo>
                      <a:pt x="9846" y="57"/>
                    </a:lnTo>
                    <a:lnTo>
                      <a:pt x="10241" y="89"/>
                    </a:lnTo>
                    <a:lnTo>
                      <a:pt x="10631" y="126"/>
                    </a:lnTo>
                    <a:lnTo>
                      <a:pt x="11011" y="171"/>
                    </a:lnTo>
                    <a:lnTo>
                      <a:pt x="11383" y="221"/>
                    </a:lnTo>
                    <a:lnTo>
                      <a:pt x="11746" y="277"/>
                    </a:lnTo>
                    <a:lnTo>
                      <a:pt x="12100" y="340"/>
                    </a:lnTo>
                    <a:lnTo>
                      <a:pt x="12443" y="408"/>
                    </a:lnTo>
                    <a:lnTo>
                      <a:pt x="12776" y="481"/>
                    </a:lnTo>
                    <a:lnTo>
                      <a:pt x="13096" y="560"/>
                    </a:lnTo>
                    <a:lnTo>
                      <a:pt x="13407" y="643"/>
                    </a:lnTo>
                    <a:lnTo>
                      <a:pt x="13704" y="732"/>
                    </a:lnTo>
                    <a:lnTo>
                      <a:pt x="13989" y="825"/>
                    </a:lnTo>
                    <a:lnTo>
                      <a:pt x="14260" y="922"/>
                    </a:lnTo>
                    <a:lnTo>
                      <a:pt x="14518" y="1024"/>
                    </a:lnTo>
                    <a:lnTo>
                      <a:pt x="14761" y="1131"/>
                    </a:lnTo>
                    <a:lnTo>
                      <a:pt x="14990" y="1241"/>
                    </a:lnTo>
                    <a:lnTo>
                      <a:pt x="15203" y="1356"/>
                    </a:lnTo>
                    <a:lnTo>
                      <a:pt x="15400" y="1474"/>
                    </a:lnTo>
                    <a:lnTo>
                      <a:pt x="15581" y="1595"/>
                    </a:lnTo>
                    <a:lnTo>
                      <a:pt x="15745" y="1719"/>
                    </a:lnTo>
                    <a:lnTo>
                      <a:pt x="15893" y="1847"/>
                    </a:lnTo>
                    <a:lnTo>
                      <a:pt x="16022" y="1978"/>
                    </a:lnTo>
                    <a:lnTo>
                      <a:pt x="16132" y="2111"/>
                    </a:lnTo>
                    <a:lnTo>
                      <a:pt x="16224" y="2247"/>
                    </a:lnTo>
                    <a:lnTo>
                      <a:pt x="16296" y="2386"/>
                    </a:lnTo>
                    <a:lnTo>
                      <a:pt x="16347" y="2526"/>
                    </a:lnTo>
                    <a:lnTo>
                      <a:pt x="16379" y="2669"/>
                    </a:lnTo>
                    <a:lnTo>
                      <a:pt x="16389" y="2814"/>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12" name="Freeform 18"/>
              <p:cNvSpPr>
                <a:spLocks/>
              </p:cNvSpPr>
              <p:nvPr>
                <p:custDataLst>
                  <p:tags r:id="rId255"/>
                </p:custDataLst>
              </p:nvPr>
            </p:nvSpPr>
            <p:spPr bwMode="auto">
              <a:xfrm>
                <a:off x="725" y="3629"/>
                <a:ext cx="361" cy="115"/>
              </a:xfrm>
              <a:custGeom>
                <a:avLst/>
                <a:gdLst>
                  <a:gd name="T0" fmla="*/ 472 w 8295"/>
                  <a:gd name="T1" fmla="*/ 2861 h 2865"/>
                  <a:gd name="T2" fmla="*/ 1300 w 8295"/>
                  <a:gd name="T3" fmla="*/ 2832 h 2865"/>
                  <a:gd name="T4" fmla="*/ 2102 w 8295"/>
                  <a:gd name="T5" fmla="*/ 2776 h 2865"/>
                  <a:gd name="T6" fmla="*/ 2873 w 8295"/>
                  <a:gd name="T7" fmla="*/ 2694 h 2865"/>
                  <a:gd name="T8" fmla="*/ 3609 w 8295"/>
                  <a:gd name="T9" fmla="*/ 2587 h 2865"/>
                  <a:gd name="T10" fmla="*/ 4308 w 8295"/>
                  <a:gd name="T11" fmla="*/ 2456 h 2865"/>
                  <a:gd name="T12" fmla="*/ 4964 w 8295"/>
                  <a:gd name="T13" fmla="*/ 2304 h 2865"/>
                  <a:gd name="T14" fmla="*/ 5426 w 8295"/>
                  <a:gd name="T15" fmla="*/ 2177 h 2865"/>
                  <a:gd name="T16" fmla="*/ 5718 w 8295"/>
                  <a:gd name="T17" fmla="*/ 2085 h 2865"/>
                  <a:gd name="T18" fmla="*/ 5998 w 8295"/>
                  <a:gd name="T19" fmla="*/ 1989 h 2865"/>
                  <a:gd name="T20" fmla="*/ 6264 w 8295"/>
                  <a:gd name="T21" fmla="*/ 1889 h 2865"/>
                  <a:gd name="T22" fmla="*/ 6516 w 8295"/>
                  <a:gd name="T23" fmla="*/ 1783 h 2865"/>
                  <a:gd name="T24" fmla="*/ 6754 w 8295"/>
                  <a:gd name="T25" fmla="*/ 1675 h 2865"/>
                  <a:gd name="T26" fmla="*/ 6977 w 8295"/>
                  <a:gd name="T27" fmla="*/ 1561 h 2865"/>
                  <a:gd name="T28" fmla="*/ 7184 w 8295"/>
                  <a:gd name="T29" fmla="*/ 1444 h 2865"/>
                  <a:gd name="T30" fmla="*/ 7376 w 8295"/>
                  <a:gd name="T31" fmla="*/ 1323 h 2865"/>
                  <a:gd name="T32" fmla="*/ 7551 w 8295"/>
                  <a:gd name="T33" fmla="*/ 1199 h 2865"/>
                  <a:gd name="T34" fmla="*/ 7709 w 8295"/>
                  <a:gd name="T35" fmla="*/ 1070 h 2865"/>
                  <a:gd name="T36" fmla="*/ 7850 w 8295"/>
                  <a:gd name="T37" fmla="*/ 938 h 2865"/>
                  <a:gd name="T38" fmla="*/ 7972 w 8295"/>
                  <a:gd name="T39" fmla="*/ 802 h 2865"/>
                  <a:gd name="T40" fmla="*/ 8076 w 8295"/>
                  <a:gd name="T41" fmla="*/ 663 h 2865"/>
                  <a:gd name="T42" fmla="*/ 8161 w 8295"/>
                  <a:gd name="T43" fmla="*/ 522 h 2865"/>
                  <a:gd name="T44" fmla="*/ 8226 w 8295"/>
                  <a:gd name="T45" fmla="*/ 376 h 2865"/>
                  <a:gd name="T46" fmla="*/ 8269 w 8295"/>
                  <a:gd name="T47" fmla="*/ 228 h 2865"/>
                  <a:gd name="T48" fmla="*/ 8292 w 8295"/>
                  <a:gd name="T49" fmla="*/ 77 h 2865"/>
                  <a:gd name="T50" fmla="*/ 8194 w 8295"/>
                  <a:gd name="T51" fmla="*/ 35 h 2865"/>
                  <a:gd name="T52" fmla="*/ 8180 w 8295"/>
                  <a:gd name="T53" fmla="*/ 172 h 2865"/>
                  <a:gd name="T54" fmla="*/ 8145 w 8295"/>
                  <a:gd name="T55" fmla="*/ 307 h 2865"/>
                  <a:gd name="T56" fmla="*/ 8089 w 8295"/>
                  <a:gd name="T57" fmla="*/ 442 h 2865"/>
                  <a:gd name="T58" fmla="*/ 8016 w 8295"/>
                  <a:gd name="T59" fmla="*/ 574 h 2865"/>
                  <a:gd name="T60" fmla="*/ 7922 w 8295"/>
                  <a:gd name="T61" fmla="*/ 706 h 2865"/>
                  <a:gd name="T62" fmla="*/ 7810 w 8295"/>
                  <a:gd name="T63" fmla="*/ 835 h 2865"/>
                  <a:gd name="T64" fmla="*/ 7679 w 8295"/>
                  <a:gd name="T65" fmla="*/ 963 h 2865"/>
                  <a:gd name="T66" fmla="*/ 7530 w 8295"/>
                  <a:gd name="T67" fmla="*/ 1088 h 2865"/>
                  <a:gd name="T68" fmla="*/ 7364 w 8295"/>
                  <a:gd name="T69" fmla="*/ 1210 h 2865"/>
                  <a:gd name="T70" fmla="*/ 7182 w 8295"/>
                  <a:gd name="T71" fmla="*/ 1329 h 2865"/>
                  <a:gd name="T72" fmla="*/ 6982 w 8295"/>
                  <a:gd name="T73" fmla="*/ 1444 h 2865"/>
                  <a:gd name="T74" fmla="*/ 6766 w 8295"/>
                  <a:gd name="T75" fmla="*/ 1557 h 2865"/>
                  <a:gd name="T76" fmla="*/ 6537 w 8295"/>
                  <a:gd name="T77" fmla="*/ 1665 h 2865"/>
                  <a:gd name="T78" fmla="*/ 6290 w 8295"/>
                  <a:gd name="T79" fmla="*/ 1770 h 2865"/>
                  <a:gd name="T80" fmla="*/ 6032 w 8295"/>
                  <a:gd name="T81" fmla="*/ 1870 h 2865"/>
                  <a:gd name="T82" fmla="*/ 5757 w 8295"/>
                  <a:gd name="T83" fmla="*/ 1967 h 2865"/>
                  <a:gd name="T84" fmla="*/ 5471 w 8295"/>
                  <a:gd name="T85" fmla="*/ 2058 h 2865"/>
                  <a:gd name="T86" fmla="*/ 5096 w 8295"/>
                  <a:gd name="T87" fmla="*/ 2165 h 2865"/>
                  <a:gd name="T88" fmla="*/ 4455 w 8295"/>
                  <a:gd name="T89" fmla="*/ 2323 h 2865"/>
                  <a:gd name="T90" fmla="*/ 3771 w 8295"/>
                  <a:gd name="T91" fmla="*/ 2457 h 2865"/>
                  <a:gd name="T92" fmla="*/ 3047 w 8295"/>
                  <a:gd name="T93" fmla="*/ 2570 h 2865"/>
                  <a:gd name="T94" fmla="*/ 2287 w 8295"/>
                  <a:gd name="T95" fmla="*/ 2658 h 2865"/>
                  <a:gd name="T96" fmla="*/ 1497 w 8295"/>
                  <a:gd name="T97" fmla="*/ 2721 h 2865"/>
                  <a:gd name="T98" fmla="*/ 678 w 8295"/>
                  <a:gd name="T99" fmla="*/ 2756 h 2865"/>
                  <a:gd name="T100" fmla="*/ 50 w 8295"/>
                  <a:gd name="T101" fmla="*/ 2765 h 2865"/>
                  <a:gd name="T102" fmla="*/ 33 w 8295"/>
                  <a:gd name="T103" fmla="*/ 2767 h 2865"/>
                  <a:gd name="T104" fmla="*/ 15 w 8295"/>
                  <a:gd name="T105" fmla="*/ 2777 h 2865"/>
                  <a:gd name="T106" fmla="*/ 0 w 8295"/>
                  <a:gd name="T107" fmla="*/ 2805 h 2865"/>
                  <a:gd name="T108" fmla="*/ 6 w 8295"/>
                  <a:gd name="T109" fmla="*/ 2842 h 2865"/>
                  <a:gd name="T110" fmla="*/ 23 w 8295"/>
                  <a:gd name="T111" fmla="*/ 2859 h 2865"/>
                  <a:gd name="T112" fmla="*/ 43 w 8295"/>
                  <a:gd name="T113" fmla="*/ 2865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5">
                    <a:moveTo>
                      <a:pt x="50" y="2865"/>
                    </a:moveTo>
                    <a:lnTo>
                      <a:pt x="50" y="2865"/>
                    </a:lnTo>
                    <a:lnTo>
                      <a:pt x="262" y="2864"/>
                    </a:lnTo>
                    <a:lnTo>
                      <a:pt x="472" y="2861"/>
                    </a:lnTo>
                    <a:lnTo>
                      <a:pt x="681" y="2857"/>
                    </a:lnTo>
                    <a:lnTo>
                      <a:pt x="888" y="2851"/>
                    </a:lnTo>
                    <a:lnTo>
                      <a:pt x="1095" y="2842"/>
                    </a:lnTo>
                    <a:lnTo>
                      <a:pt x="1300" y="2832"/>
                    </a:lnTo>
                    <a:lnTo>
                      <a:pt x="1503" y="2820"/>
                    </a:lnTo>
                    <a:lnTo>
                      <a:pt x="1704" y="2808"/>
                    </a:lnTo>
                    <a:lnTo>
                      <a:pt x="1904" y="2793"/>
                    </a:lnTo>
                    <a:lnTo>
                      <a:pt x="2102" y="2776"/>
                    </a:lnTo>
                    <a:lnTo>
                      <a:pt x="2296" y="2757"/>
                    </a:lnTo>
                    <a:lnTo>
                      <a:pt x="2491" y="2738"/>
                    </a:lnTo>
                    <a:lnTo>
                      <a:pt x="2683" y="2717"/>
                    </a:lnTo>
                    <a:lnTo>
                      <a:pt x="2873" y="2694"/>
                    </a:lnTo>
                    <a:lnTo>
                      <a:pt x="3060" y="2669"/>
                    </a:lnTo>
                    <a:lnTo>
                      <a:pt x="3246" y="2644"/>
                    </a:lnTo>
                    <a:lnTo>
                      <a:pt x="3429" y="2616"/>
                    </a:lnTo>
                    <a:lnTo>
                      <a:pt x="3609" y="2587"/>
                    </a:lnTo>
                    <a:lnTo>
                      <a:pt x="3788" y="2557"/>
                    </a:lnTo>
                    <a:lnTo>
                      <a:pt x="3964" y="2524"/>
                    </a:lnTo>
                    <a:lnTo>
                      <a:pt x="4137" y="2491"/>
                    </a:lnTo>
                    <a:lnTo>
                      <a:pt x="4308" y="2456"/>
                    </a:lnTo>
                    <a:lnTo>
                      <a:pt x="4476" y="2420"/>
                    </a:lnTo>
                    <a:lnTo>
                      <a:pt x="4642" y="2383"/>
                    </a:lnTo>
                    <a:lnTo>
                      <a:pt x="4804" y="2344"/>
                    </a:lnTo>
                    <a:lnTo>
                      <a:pt x="4964" y="2304"/>
                    </a:lnTo>
                    <a:lnTo>
                      <a:pt x="5122" y="2263"/>
                    </a:lnTo>
                    <a:lnTo>
                      <a:pt x="5275" y="2220"/>
                    </a:lnTo>
                    <a:lnTo>
                      <a:pt x="5351" y="2198"/>
                    </a:lnTo>
                    <a:lnTo>
                      <a:pt x="5426" y="2177"/>
                    </a:lnTo>
                    <a:lnTo>
                      <a:pt x="5500" y="2154"/>
                    </a:lnTo>
                    <a:lnTo>
                      <a:pt x="5574" y="2131"/>
                    </a:lnTo>
                    <a:lnTo>
                      <a:pt x="5646" y="2108"/>
                    </a:lnTo>
                    <a:lnTo>
                      <a:pt x="5718" y="2085"/>
                    </a:lnTo>
                    <a:lnTo>
                      <a:pt x="5789" y="2062"/>
                    </a:lnTo>
                    <a:lnTo>
                      <a:pt x="5859" y="2038"/>
                    </a:lnTo>
                    <a:lnTo>
                      <a:pt x="5930" y="2013"/>
                    </a:lnTo>
                    <a:lnTo>
                      <a:pt x="5998" y="1989"/>
                    </a:lnTo>
                    <a:lnTo>
                      <a:pt x="6066" y="1965"/>
                    </a:lnTo>
                    <a:lnTo>
                      <a:pt x="6133" y="1940"/>
                    </a:lnTo>
                    <a:lnTo>
                      <a:pt x="6199" y="1914"/>
                    </a:lnTo>
                    <a:lnTo>
                      <a:pt x="6264" y="1889"/>
                    </a:lnTo>
                    <a:lnTo>
                      <a:pt x="6328" y="1863"/>
                    </a:lnTo>
                    <a:lnTo>
                      <a:pt x="6391" y="1836"/>
                    </a:lnTo>
                    <a:lnTo>
                      <a:pt x="6454" y="1810"/>
                    </a:lnTo>
                    <a:lnTo>
                      <a:pt x="6516" y="1783"/>
                    </a:lnTo>
                    <a:lnTo>
                      <a:pt x="6577" y="1756"/>
                    </a:lnTo>
                    <a:lnTo>
                      <a:pt x="6637" y="1730"/>
                    </a:lnTo>
                    <a:lnTo>
                      <a:pt x="6695" y="1702"/>
                    </a:lnTo>
                    <a:lnTo>
                      <a:pt x="6754" y="1675"/>
                    </a:lnTo>
                    <a:lnTo>
                      <a:pt x="6811" y="1647"/>
                    </a:lnTo>
                    <a:lnTo>
                      <a:pt x="6867" y="1619"/>
                    </a:lnTo>
                    <a:lnTo>
                      <a:pt x="6922" y="1590"/>
                    </a:lnTo>
                    <a:lnTo>
                      <a:pt x="6977" y="1561"/>
                    </a:lnTo>
                    <a:lnTo>
                      <a:pt x="7030" y="1532"/>
                    </a:lnTo>
                    <a:lnTo>
                      <a:pt x="7082" y="1503"/>
                    </a:lnTo>
                    <a:lnTo>
                      <a:pt x="7133" y="1474"/>
                    </a:lnTo>
                    <a:lnTo>
                      <a:pt x="7184" y="1444"/>
                    </a:lnTo>
                    <a:lnTo>
                      <a:pt x="7233" y="1414"/>
                    </a:lnTo>
                    <a:lnTo>
                      <a:pt x="7282" y="1384"/>
                    </a:lnTo>
                    <a:lnTo>
                      <a:pt x="7329" y="1354"/>
                    </a:lnTo>
                    <a:lnTo>
                      <a:pt x="7376" y="1323"/>
                    </a:lnTo>
                    <a:lnTo>
                      <a:pt x="7421" y="1292"/>
                    </a:lnTo>
                    <a:lnTo>
                      <a:pt x="7465" y="1261"/>
                    </a:lnTo>
                    <a:lnTo>
                      <a:pt x="7509" y="1230"/>
                    </a:lnTo>
                    <a:lnTo>
                      <a:pt x="7551" y="1199"/>
                    </a:lnTo>
                    <a:lnTo>
                      <a:pt x="7592" y="1167"/>
                    </a:lnTo>
                    <a:lnTo>
                      <a:pt x="7632" y="1134"/>
                    </a:lnTo>
                    <a:lnTo>
                      <a:pt x="7670" y="1102"/>
                    </a:lnTo>
                    <a:lnTo>
                      <a:pt x="7709" y="1070"/>
                    </a:lnTo>
                    <a:lnTo>
                      <a:pt x="7746" y="1037"/>
                    </a:lnTo>
                    <a:lnTo>
                      <a:pt x="7782" y="1004"/>
                    </a:lnTo>
                    <a:lnTo>
                      <a:pt x="7816" y="971"/>
                    </a:lnTo>
                    <a:lnTo>
                      <a:pt x="7850" y="938"/>
                    </a:lnTo>
                    <a:lnTo>
                      <a:pt x="7882" y="905"/>
                    </a:lnTo>
                    <a:lnTo>
                      <a:pt x="7914" y="870"/>
                    </a:lnTo>
                    <a:lnTo>
                      <a:pt x="7944" y="837"/>
                    </a:lnTo>
                    <a:lnTo>
                      <a:pt x="7972" y="802"/>
                    </a:lnTo>
                    <a:lnTo>
                      <a:pt x="8000" y="768"/>
                    </a:lnTo>
                    <a:lnTo>
                      <a:pt x="8027" y="734"/>
                    </a:lnTo>
                    <a:lnTo>
                      <a:pt x="8052" y="699"/>
                    </a:lnTo>
                    <a:lnTo>
                      <a:pt x="8076" y="663"/>
                    </a:lnTo>
                    <a:lnTo>
                      <a:pt x="8099" y="628"/>
                    </a:lnTo>
                    <a:lnTo>
                      <a:pt x="8121" y="593"/>
                    </a:lnTo>
                    <a:lnTo>
                      <a:pt x="8141" y="558"/>
                    </a:lnTo>
                    <a:lnTo>
                      <a:pt x="8161" y="522"/>
                    </a:lnTo>
                    <a:lnTo>
                      <a:pt x="8180" y="485"/>
                    </a:lnTo>
                    <a:lnTo>
                      <a:pt x="8196" y="449"/>
                    </a:lnTo>
                    <a:lnTo>
                      <a:pt x="8212" y="413"/>
                    </a:lnTo>
                    <a:lnTo>
                      <a:pt x="8226" y="376"/>
                    </a:lnTo>
                    <a:lnTo>
                      <a:pt x="8238" y="340"/>
                    </a:lnTo>
                    <a:lnTo>
                      <a:pt x="8251" y="302"/>
                    </a:lnTo>
                    <a:lnTo>
                      <a:pt x="8261" y="265"/>
                    </a:lnTo>
                    <a:lnTo>
                      <a:pt x="8269" y="228"/>
                    </a:lnTo>
                    <a:lnTo>
                      <a:pt x="8277" y="190"/>
                    </a:lnTo>
                    <a:lnTo>
                      <a:pt x="8284" y="152"/>
                    </a:lnTo>
                    <a:lnTo>
                      <a:pt x="8289" y="115"/>
                    </a:lnTo>
                    <a:lnTo>
                      <a:pt x="8292" y="77"/>
                    </a:lnTo>
                    <a:lnTo>
                      <a:pt x="8294" y="38"/>
                    </a:lnTo>
                    <a:lnTo>
                      <a:pt x="8295" y="0"/>
                    </a:lnTo>
                    <a:lnTo>
                      <a:pt x="8195" y="0"/>
                    </a:lnTo>
                    <a:lnTo>
                      <a:pt x="8194" y="35"/>
                    </a:lnTo>
                    <a:lnTo>
                      <a:pt x="8192" y="69"/>
                    </a:lnTo>
                    <a:lnTo>
                      <a:pt x="8189" y="104"/>
                    </a:lnTo>
                    <a:lnTo>
                      <a:pt x="8185" y="138"/>
                    </a:lnTo>
                    <a:lnTo>
                      <a:pt x="8180" y="172"/>
                    </a:lnTo>
                    <a:lnTo>
                      <a:pt x="8172" y="206"/>
                    </a:lnTo>
                    <a:lnTo>
                      <a:pt x="8164" y="240"/>
                    </a:lnTo>
                    <a:lnTo>
                      <a:pt x="8155" y="274"/>
                    </a:lnTo>
                    <a:lnTo>
                      <a:pt x="8145" y="307"/>
                    </a:lnTo>
                    <a:lnTo>
                      <a:pt x="8132" y="342"/>
                    </a:lnTo>
                    <a:lnTo>
                      <a:pt x="8119" y="375"/>
                    </a:lnTo>
                    <a:lnTo>
                      <a:pt x="8105" y="409"/>
                    </a:lnTo>
                    <a:lnTo>
                      <a:pt x="8089" y="442"/>
                    </a:lnTo>
                    <a:lnTo>
                      <a:pt x="8072" y="475"/>
                    </a:lnTo>
                    <a:lnTo>
                      <a:pt x="8055" y="508"/>
                    </a:lnTo>
                    <a:lnTo>
                      <a:pt x="8035" y="541"/>
                    </a:lnTo>
                    <a:lnTo>
                      <a:pt x="8016" y="574"/>
                    </a:lnTo>
                    <a:lnTo>
                      <a:pt x="7993" y="608"/>
                    </a:lnTo>
                    <a:lnTo>
                      <a:pt x="7970" y="641"/>
                    </a:lnTo>
                    <a:lnTo>
                      <a:pt x="7947" y="673"/>
                    </a:lnTo>
                    <a:lnTo>
                      <a:pt x="7922" y="706"/>
                    </a:lnTo>
                    <a:lnTo>
                      <a:pt x="7895" y="739"/>
                    </a:lnTo>
                    <a:lnTo>
                      <a:pt x="7868" y="771"/>
                    </a:lnTo>
                    <a:lnTo>
                      <a:pt x="7839" y="803"/>
                    </a:lnTo>
                    <a:lnTo>
                      <a:pt x="7810" y="835"/>
                    </a:lnTo>
                    <a:lnTo>
                      <a:pt x="7779" y="867"/>
                    </a:lnTo>
                    <a:lnTo>
                      <a:pt x="7747" y="899"/>
                    </a:lnTo>
                    <a:lnTo>
                      <a:pt x="7714" y="931"/>
                    </a:lnTo>
                    <a:lnTo>
                      <a:pt x="7679" y="963"/>
                    </a:lnTo>
                    <a:lnTo>
                      <a:pt x="7644" y="994"/>
                    </a:lnTo>
                    <a:lnTo>
                      <a:pt x="7607" y="1026"/>
                    </a:lnTo>
                    <a:lnTo>
                      <a:pt x="7569" y="1057"/>
                    </a:lnTo>
                    <a:lnTo>
                      <a:pt x="7530" y="1088"/>
                    </a:lnTo>
                    <a:lnTo>
                      <a:pt x="7490" y="1118"/>
                    </a:lnTo>
                    <a:lnTo>
                      <a:pt x="7450" y="1149"/>
                    </a:lnTo>
                    <a:lnTo>
                      <a:pt x="7408" y="1179"/>
                    </a:lnTo>
                    <a:lnTo>
                      <a:pt x="7364" y="1210"/>
                    </a:lnTo>
                    <a:lnTo>
                      <a:pt x="7320" y="1240"/>
                    </a:lnTo>
                    <a:lnTo>
                      <a:pt x="7275" y="1270"/>
                    </a:lnTo>
                    <a:lnTo>
                      <a:pt x="7228" y="1299"/>
                    </a:lnTo>
                    <a:lnTo>
                      <a:pt x="7182" y="1329"/>
                    </a:lnTo>
                    <a:lnTo>
                      <a:pt x="7133" y="1358"/>
                    </a:lnTo>
                    <a:lnTo>
                      <a:pt x="7084" y="1387"/>
                    </a:lnTo>
                    <a:lnTo>
                      <a:pt x="7033" y="1416"/>
                    </a:lnTo>
                    <a:lnTo>
                      <a:pt x="6982" y="1444"/>
                    </a:lnTo>
                    <a:lnTo>
                      <a:pt x="6929" y="1473"/>
                    </a:lnTo>
                    <a:lnTo>
                      <a:pt x="6877" y="1501"/>
                    </a:lnTo>
                    <a:lnTo>
                      <a:pt x="6822" y="1529"/>
                    </a:lnTo>
                    <a:lnTo>
                      <a:pt x="6766" y="1557"/>
                    </a:lnTo>
                    <a:lnTo>
                      <a:pt x="6711" y="1584"/>
                    </a:lnTo>
                    <a:lnTo>
                      <a:pt x="6653" y="1612"/>
                    </a:lnTo>
                    <a:lnTo>
                      <a:pt x="6595" y="1638"/>
                    </a:lnTo>
                    <a:lnTo>
                      <a:pt x="6537" y="1665"/>
                    </a:lnTo>
                    <a:lnTo>
                      <a:pt x="6476" y="1691"/>
                    </a:lnTo>
                    <a:lnTo>
                      <a:pt x="6415" y="1718"/>
                    </a:lnTo>
                    <a:lnTo>
                      <a:pt x="6354" y="1744"/>
                    </a:lnTo>
                    <a:lnTo>
                      <a:pt x="6290" y="1770"/>
                    </a:lnTo>
                    <a:lnTo>
                      <a:pt x="6227" y="1795"/>
                    </a:lnTo>
                    <a:lnTo>
                      <a:pt x="6163" y="1821"/>
                    </a:lnTo>
                    <a:lnTo>
                      <a:pt x="6098" y="1845"/>
                    </a:lnTo>
                    <a:lnTo>
                      <a:pt x="6032" y="1870"/>
                    </a:lnTo>
                    <a:lnTo>
                      <a:pt x="5965" y="1895"/>
                    </a:lnTo>
                    <a:lnTo>
                      <a:pt x="5897" y="1919"/>
                    </a:lnTo>
                    <a:lnTo>
                      <a:pt x="5828" y="1943"/>
                    </a:lnTo>
                    <a:lnTo>
                      <a:pt x="5757" y="1967"/>
                    </a:lnTo>
                    <a:lnTo>
                      <a:pt x="5687" y="1989"/>
                    </a:lnTo>
                    <a:lnTo>
                      <a:pt x="5616" y="2013"/>
                    </a:lnTo>
                    <a:lnTo>
                      <a:pt x="5544" y="2036"/>
                    </a:lnTo>
                    <a:lnTo>
                      <a:pt x="5471" y="2058"/>
                    </a:lnTo>
                    <a:lnTo>
                      <a:pt x="5398" y="2080"/>
                    </a:lnTo>
                    <a:lnTo>
                      <a:pt x="5324" y="2102"/>
                    </a:lnTo>
                    <a:lnTo>
                      <a:pt x="5248" y="2124"/>
                    </a:lnTo>
                    <a:lnTo>
                      <a:pt x="5096" y="2165"/>
                    </a:lnTo>
                    <a:lnTo>
                      <a:pt x="4940" y="2207"/>
                    </a:lnTo>
                    <a:lnTo>
                      <a:pt x="4781" y="2247"/>
                    </a:lnTo>
                    <a:lnTo>
                      <a:pt x="4620" y="2285"/>
                    </a:lnTo>
                    <a:lnTo>
                      <a:pt x="4455" y="2323"/>
                    </a:lnTo>
                    <a:lnTo>
                      <a:pt x="4288" y="2358"/>
                    </a:lnTo>
                    <a:lnTo>
                      <a:pt x="4119" y="2392"/>
                    </a:lnTo>
                    <a:lnTo>
                      <a:pt x="3945" y="2426"/>
                    </a:lnTo>
                    <a:lnTo>
                      <a:pt x="3771" y="2457"/>
                    </a:lnTo>
                    <a:lnTo>
                      <a:pt x="3593" y="2487"/>
                    </a:lnTo>
                    <a:lnTo>
                      <a:pt x="3414" y="2516"/>
                    </a:lnTo>
                    <a:lnTo>
                      <a:pt x="3231" y="2544"/>
                    </a:lnTo>
                    <a:lnTo>
                      <a:pt x="3047" y="2570"/>
                    </a:lnTo>
                    <a:lnTo>
                      <a:pt x="2860" y="2594"/>
                    </a:lnTo>
                    <a:lnTo>
                      <a:pt x="2672" y="2617"/>
                    </a:lnTo>
                    <a:lnTo>
                      <a:pt x="2481" y="2638"/>
                    </a:lnTo>
                    <a:lnTo>
                      <a:pt x="2287" y="2658"/>
                    </a:lnTo>
                    <a:lnTo>
                      <a:pt x="2092" y="2676"/>
                    </a:lnTo>
                    <a:lnTo>
                      <a:pt x="1895" y="2692"/>
                    </a:lnTo>
                    <a:lnTo>
                      <a:pt x="1698" y="2708"/>
                    </a:lnTo>
                    <a:lnTo>
                      <a:pt x="1497" y="2721"/>
                    </a:lnTo>
                    <a:lnTo>
                      <a:pt x="1295" y="2733"/>
                    </a:lnTo>
                    <a:lnTo>
                      <a:pt x="1090" y="2742"/>
                    </a:lnTo>
                    <a:lnTo>
                      <a:pt x="885" y="2750"/>
                    </a:lnTo>
                    <a:lnTo>
                      <a:pt x="678" y="2756"/>
                    </a:lnTo>
                    <a:lnTo>
                      <a:pt x="470" y="2761"/>
                    </a:lnTo>
                    <a:lnTo>
                      <a:pt x="261" y="2764"/>
                    </a:lnTo>
                    <a:lnTo>
                      <a:pt x="50" y="2765"/>
                    </a:lnTo>
                    <a:lnTo>
                      <a:pt x="50" y="2765"/>
                    </a:lnTo>
                    <a:lnTo>
                      <a:pt x="50" y="2765"/>
                    </a:lnTo>
                    <a:lnTo>
                      <a:pt x="43" y="2765"/>
                    </a:lnTo>
                    <a:lnTo>
                      <a:pt x="38" y="2766"/>
                    </a:lnTo>
                    <a:lnTo>
                      <a:pt x="33" y="2767"/>
                    </a:lnTo>
                    <a:lnTo>
                      <a:pt x="28" y="2769"/>
                    </a:lnTo>
                    <a:lnTo>
                      <a:pt x="23" y="2771"/>
                    </a:lnTo>
                    <a:lnTo>
                      <a:pt x="19" y="2774"/>
                    </a:lnTo>
                    <a:lnTo>
                      <a:pt x="15" y="2777"/>
                    </a:lnTo>
                    <a:lnTo>
                      <a:pt x="12" y="2780"/>
                    </a:lnTo>
                    <a:lnTo>
                      <a:pt x="6" y="2787"/>
                    </a:lnTo>
                    <a:lnTo>
                      <a:pt x="3" y="2797"/>
                    </a:lnTo>
                    <a:lnTo>
                      <a:pt x="0" y="2805"/>
                    </a:lnTo>
                    <a:lnTo>
                      <a:pt x="0" y="2814"/>
                    </a:lnTo>
                    <a:lnTo>
                      <a:pt x="0" y="2825"/>
                    </a:lnTo>
                    <a:lnTo>
                      <a:pt x="3" y="2833"/>
                    </a:lnTo>
                    <a:lnTo>
                      <a:pt x="6" y="2842"/>
                    </a:lnTo>
                    <a:lnTo>
                      <a:pt x="12" y="2849"/>
                    </a:lnTo>
                    <a:lnTo>
                      <a:pt x="15" y="2853"/>
                    </a:lnTo>
                    <a:lnTo>
                      <a:pt x="19" y="2856"/>
                    </a:lnTo>
                    <a:lnTo>
                      <a:pt x="23" y="2859"/>
                    </a:lnTo>
                    <a:lnTo>
                      <a:pt x="28" y="2861"/>
                    </a:lnTo>
                    <a:lnTo>
                      <a:pt x="33" y="2863"/>
                    </a:lnTo>
                    <a:lnTo>
                      <a:pt x="38" y="2864"/>
                    </a:lnTo>
                    <a:lnTo>
                      <a:pt x="43" y="2865"/>
                    </a:lnTo>
                    <a:lnTo>
                      <a:pt x="50"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13" name="Freeform 19"/>
              <p:cNvSpPr>
                <a:spLocks/>
              </p:cNvSpPr>
              <p:nvPr>
                <p:custDataLst>
                  <p:tags r:id="rId256"/>
                </p:custDataLst>
              </p:nvPr>
            </p:nvSpPr>
            <p:spPr bwMode="auto">
              <a:xfrm>
                <a:off x="369" y="3627"/>
                <a:ext cx="359" cy="117"/>
              </a:xfrm>
              <a:custGeom>
                <a:avLst/>
                <a:gdLst>
                  <a:gd name="T0" fmla="*/ 3 w 8246"/>
                  <a:gd name="T1" fmla="*/ 127 h 2915"/>
                  <a:gd name="T2" fmla="*/ 25 w 8246"/>
                  <a:gd name="T3" fmla="*/ 278 h 2915"/>
                  <a:gd name="T4" fmla="*/ 69 w 8246"/>
                  <a:gd name="T5" fmla="*/ 426 h 2915"/>
                  <a:gd name="T6" fmla="*/ 134 w 8246"/>
                  <a:gd name="T7" fmla="*/ 572 h 2915"/>
                  <a:gd name="T8" fmla="*/ 219 w 8246"/>
                  <a:gd name="T9" fmla="*/ 713 h 2915"/>
                  <a:gd name="T10" fmla="*/ 323 w 8246"/>
                  <a:gd name="T11" fmla="*/ 852 h 2915"/>
                  <a:gd name="T12" fmla="*/ 445 w 8246"/>
                  <a:gd name="T13" fmla="*/ 988 h 2915"/>
                  <a:gd name="T14" fmla="*/ 586 w 8246"/>
                  <a:gd name="T15" fmla="*/ 1120 h 2915"/>
                  <a:gd name="T16" fmla="*/ 744 w 8246"/>
                  <a:gd name="T17" fmla="*/ 1249 h 2915"/>
                  <a:gd name="T18" fmla="*/ 919 w 8246"/>
                  <a:gd name="T19" fmla="*/ 1373 h 2915"/>
                  <a:gd name="T20" fmla="*/ 1111 w 8246"/>
                  <a:gd name="T21" fmla="*/ 1494 h 2915"/>
                  <a:gd name="T22" fmla="*/ 1318 w 8246"/>
                  <a:gd name="T23" fmla="*/ 1611 h 2915"/>
                  <a:gd name="T24" fmla="*/ 1541 w 8246"/>
                  <a:gd name="T25" fmla="*/ 1725 h 2915"/>
                  <a:gd name="T26" fmla="*/ 1779 w 8246"/>
                  <a:gd name="T27" fmla="*/ 1833 h 2915"/>
                  <a:gd name="T28" fmla="*/ 2030 w 8246"/>
                  <a:gd name="T29" fmla="*/ 1939 h 2915"/>
                  <a:gd name="T30" fmla="*/ 2297 w 8246"/>
                  <a:gd name="T31" fmla="*/ 2039 h 2915"/>
                  <a:gd name="T32" fmla="*/ 2577 w 8246"/>
                  <a:gd name="T33" fmla="*/ 2135 h 2915"/>
                  <a:gd name="T34" fmla="*/ 2869 w 8246"/>
                  <a:gd name="T35" fmla="*/ 2227 h 2915"/>
                  <a:gd name="T36" fmla="*/ 3331 w 8246"/>
                  <a:gd name="T37" fmla="*/ 2354 h 2915"/>
                  <a:gd name="T38" fmla="*/ 3987 w 8246"/>
                  <a:gd name="T39" fmla="*/ 2506 h 2915"/>
                  <a:gd name="T40" fmla="*/ 4686 w 8246"/>
                  <a:gd name="T41" fmla="*/ 2637 h 2915"/>
                  <a:gd name="T42" fmla="*/ 5422 w 8246"/>
                  <a:gd name="T43" fmla="*/ 2744 h 2915"/>
                  <a:gd name="T44" fmla="*/ 6193 w 8246"/>
                  <a:gd name="T45" fmla="*/ 2826 h 2915"/>
                  <a:gd name="T46" fmla="*/ 6995 w 8246"/>
                  <a:gd name="T47" fmla="*/ 2882 h 2915"/>
                  <a:gd name="T48" fmla="*/ 7823 w 8246"/>
                  <a:gd name="T49" fmla="*/ 2911 h 2915"/>
                  <a:gd name="T50" fmla="*/ 8034 w 8246"/>
                  <a:gd name="T51" fmla="*/ 2814 h 2915"/>
                  <a:gd name="T52" fmla="*/ 7205 w 8246"/>
                  <a:gd name="T53" fmla="*/ 2792 h 2915"/>
                  <a:gd name="T54" fmla="*/ 6400 w 8246"/>
                  <a:gd name="T55" fmla="*/ 2742 h 2915"/>
                  <a:gd name="T56" fmla="*/ 5623 w 8246"/>
                  <a:gd name="T57" fmla="*/ 2667 h 2915"/>
                  <a:gd name="T58" fmla="*/ 4881 w 8246"/>
                  <a:gd name="T59" fmla="*/ 2566 h 2915"/>
                  <a:gd name="T60" fmla="*/ 4176 w 8246"/>
                  <a:gd name="T61" fmla="*/ 2442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2 h 2915"/>
                  <a:gd name="T76" fmla="*/ 1418 w 8246"/>
                  <a:gd name="T77" fmla="*/ 1551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8 h 2915"/>
                  <a:gd name="T94" fmla="*/ 175 w 8246"/>
                  <a:gd name="T95" fmla="*/ 425 h 2915"/>
                  <a:gd name="T96" fmla="*/ 131 w 8246"/>
                  <a:gd name="T97" fmla="*/ 290 h 2915"/>
                  <a:gd name="T98" fmla="*/ 106 w 8246"/>
                  <a:gd name="T99" fmla="*/ 154 h 2915"/>
                  <a:gd name="T100" fmla="*/ 100 w 8246"/>
                  <a:gd name="T101" fmla="*/ 50 h 2915"/>
                  <a:gd name="T102" fmla="*/ 98 w 8246"/>
                  <a:gd name="T103" fmla="*/ 33 h 2915"/>
                  <a:gd name="T104" fmla="*/ 88 w 8246"/>
                  <a:gd name="T105" fmla="*/ 16 h 2915"/>
                  <a:gd name="T106" fmla="*/ 60 w 8246"/>
                  <a:gd name="T107" fmla="*/ 0 h 2915"/>
                  <a:gd name="T108" fmla="*/ 23 w 8246"/>
                  <a:gd name="T109" fmla="*/ 8 h 2915"/>
                  <a:gd name="T110" fmla="*/ 6 w 8246"/>
                  <a:gd name="T111" fmla="*/ 24 h 2915"/>
                  <a:gd name="T112" fmla="*/ 0 w 8246"/>
                  <a:gd name="T113" fmla="*/ 44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0"/>
                    </a:moveTo>
                    <a:lnTo>
                      <a:pt x="0" y="50"/>
                    </a:lnTo>
                    <a:lnTo>
                      <a:pt x="1" y="88"/>
                    </a:lnTo>
                    <a:lnTo>
                      <a:pt x="3" y="127"/>
                    </a:lnTo>
                    <a:lnTo>
                      <a:pt x="6" y="165"/>
                    </a:lnTo>
                    <a:lnTo>
                      <a:pt x="11" y="202"/>
                    </a:lnTo>
                    <a:lnTo>
                      <a:pt x="18" y="240"/>
                    </a:lnTo>
                    <a:lnTo>
                      <a:pt x="25" y="278"/>
                    </a:lnTo>
                    <a:lnTo>
                      <a:pt x="34" y="315"/>
                    </a:lnTo>
                    <a:lnTo>
                      <a:pt x="44" y="352"/>
                    </a:lnTo>
                    <a:lnTo>
                      <a:pt x="56" y="390"/>
                    </a:lnTo>
                    <a:lnTo>
                      <a:pt x="69" y="426"/>
                    </a:lnTo>
                    <a:lnTo>
                      <a:pt x="83" y="463"/>
                    </a:lnTo>
                    <a:lnTo>
                      <a:pt x="99" y="499"/>
                    </a:lnTo>
                    <a:lnTo>
                      <a:pt x="115" y="535"/>
                    </a:lnTo>
                    <a:lnTo>
                      <a:pt x="134" y="572"/>
                    </a:lnTo>
                    <a:lnTo>
                      <a:pt x="154" y="608"/>
                    </a:lnTo>
                    <a:lnTo>
                      <a:pt x="174" y="643"/>
                    </a:lnTo>
                    <a:lnTo>
                      <a:pt x="196" y="678"/>
                    </a:lnTo>
                    <a:lnTo>
                      <a:pt x="219" y="713"/>
                    </a:lnTo>
                    <a:lnTo>
                      <a:pt x="243" y="749"/>
                    </a:lnTo>
                    <a:lnTo>
                      <a:pt x="268" y="784"/>
                    </a:lnTo>
                    <a:lnTo>
                      <a:pt x="295" y="818"/>
                    </a:lnTo>
                    <a:lnTo>
                      <a:pt x="323" y="852"/>
                    </a:lnTo>
                    <a:lnTo>
                      <a:pt x="351" y="887"/>
                    </a:lnTo>
                    <a:lnTo>
                      <a:pt x="381" y="920"/>
                    </a:lnTo>
                    <a:lnTo>
                      <a:pt x="413" y="955"/>
                    </a:lnTo>
                    <a:lnTo>
                      <a:pt x="445" y="988"/>
                    </a:lnTo>
                    <a:lnTo>
                      <a:pt x="479" y="1021"/>
                    </a:lnTo>
                    <a:lnTo>
                      <a:pt x="513" y="1054"/>
                    </a:lnTo>
                    <a:lnTo>
                      <a:pt x="549" y="1087"/>
                    </a:lnTo>
                    <a:lnTo>
                      <a:pt x="586" y="1120"/>
                    </a:lnTo>
                    <a:lnTo>
                      <a:pt x="624" y="1152"/>
                    </a:lnTo>
                    <a:lnTo>
                      <a:pt x="663" y="1184"/>
                    </a:lnTo>
                    <a:lnTo>
                      <a:pt x="703" y="1217"/>
                    </a:lnTo>
                    <a:lnTo>
                      <a:pt x="744" y="1249"/>
                    </a:lnTo>
                    <a:lnTo>
                      <a:pt x="786" y="1280"/>
                    </a:lnTo>
                    <a:lnTo>
                      <a:pt x="830" y="1311"/>
                    </a:lnTo>
                    <a:lnTo>
                      <a:pt x="874" y="1342"/>
                    </a:lnTo>
                    <a:lnTo>
                      <a:pt x="919" y="1373"/>
                    </a:lnTo>
                    <a:lnTo>
                      <a:pt x="966" y="1404"/>
                    </a:lnTo>
                    <a:lnTo>
                      <a:pt x="1013" y="1434"/>
                    </a:lnTo>
                    <a:lnTo>
                      <a:pt x="1062" y="1464"/>
                    </a:lnTo>
                    <a:lnTo>
                      <a:pt x="1111" y="1494"/>
                    </a:lnTo>
                    <a:lnTo>
                      <a:pt x="1162" y="1524"/>
                    </a:lnTo>
                    <a:lnTo>
                      <a:pt x="1212" y="1553"/>
                    </a:lnTo>
                    <a:lnTo>
                      <a:pt x="1265" y="1582"/>
                    </a:lnTo>
                    <a:lnTo>
                      <a:pt x="1318" y="1611"/>
                    </a:lnTo>
                    <a:lnTo>
                      <a:pt x="1373" y="1640"/>
                    </a:lnTo>
                    <a:lnTo>
                      <a:pt x="1428" y="1669"/>
                    </a:lnTo>
                    <a:lnTo>
                      <a:pt x="1484" y="1697"/>
                    </a:lnTo>
                    <a:lnTo>
                      <a:pt x="1541" y="1725"/>
                    </a:lnTo>
                    <a:lnTo>
                      <a:pt x="1600" y="1752"/>
                    </a:lnTo>
                    <a:lnTo>
                      <a:pt x="1658" y="1780"/>
                    </a:lnTo>
                    <a:lnTo>
                      <a:pt x="1718" y="1806"/>
                    </a:lnTo>
                    <a:lnTo>
                      <a:pt x="1779" y="1833"/>
                    </a:lnTo>
                    <a:lnTo>
                      <a:pt x="1841" y="1860"/>
                    </a:lnTo>
                    <a:lnTo>
                      <a:pt x="1904" y="1886"/>
                    </a:lnTo>
                    <a:lnTo>
                      <a:pt x="1967" y="1913"/>
                    </a:lnTo>
                    <a:lnTo>
                      <a:pt x="2030" y="1939"/>
                    </a:lnTo>
                    <a:lnTo>
                      <a:pt x="2096" y="1964"/>
                    </a:lnTo>
                    <a:lnTo>
                      <a:pt x="2162" y="1990"/>
                    </a:lnTo>
                    <a:lnTo>
                      <a:pt x="2229" y="2015"/>
                    </a:lnTo>
                    <a:lnTo>
                      <a:pt x="2297" y="2039"/>
                    </a:lnTo>
                    <a:lnTo>
                      <a:pt x="2365" y="2063"/>
                    </a:lnTo>
                    <a:lnTo>
                      <a:pt x="2436" y="2088"/>
                    </a:lnTo>
                    <a:lnTo>
                      <a:pt x="2506" y="2112"/>
                    </a:lnTo>
                    <a:lnTo>
                      <a:pt x="2577" y="2135"/>
                    </a:lnTo>
                    <a:lnTo>
                      <a:pt x="2649" y="2158"/>
                    </a:lnTo>
                    <a:lnTo>
                      <a:pt x="2721" y="2181"/>
                    </a:lnTo>
                    <a:lnTo>
                      <a:pt x="2794" y="2204"/>
                    </a:lnTo>
                    <a:lnTo>
                      <a:pt x="2869" y="2227"/>
                    </a:lnTo>
                    <a:lnTo>
                      <a:pt x="2944" y="2248"/>
                    </a:lnTo>
                    <a:lnTo>
                      <a:pt x="3020" y="2270"/>
                    </a:lnTo>
                    <a:lnTo>
                      <a:pt x="3173" y="2313"/>
                    </a:lnTo>
                    <a:lnTo>
                      <a:pt x="3331" y="2354"/>
                    </a:lnTo>
                    <a:lnTo>
                      <a:pt x="3491" y="2394"/>
                    </a:lnTo>
                    <a:lnTo>
                      <a:pt x="3653" y="2433"/>
                    </a:lnTo>
                    <a:lnTo>
                      <a:pt x="3819" y="2470"/>
                    </a:lnTo>
                    <a:lnTo>
                      <a:pt x="3987" y="2506"/>
                    </a:lnTo>
                    <a:lnTo>
                      <a:pt x="4158" y="2541"/>
                    </a:lnTo>
                    <a:lnTo>
                      <a:pt x="4331" y="2574"/>
                    </a:lnTo>
                    <a:lnTo>
                      <a:pt x="4507" y="2607"/>
                    </a:lnTo>
                    <a:lnTo>
                      <a:pt x="4686" y="2637"/>
                    </a:lnTo>
                    <a:lnTo>
                      <a:pt x="4866" y="2666"/>
                    </a:lnTo>
                    <a:lnTo>
                      <a:pt x="5049" y="2694"/>
                    </a:lnTo>
                    <a:lnTo>
                      <a:pt x="5235" y="2719"/>
                    </a:lnTo>
                    <a:lnTo>
                      <a:pt x="5422" y="2744"/>
                    </a:lnTo>
                    <a:lnTo>
                      <a:pt x="5612" y="2767"/>
                    </a:lnTo>
                    <a:lnTo>
                      <a:pt x="5804" y="2788"/>
                    </a:lnTo>
                    <a:lnTo>
                      <a:pt x="5998" y="2807"/>
                    </a:lnTo>
                    <a:lnTo>
                      <a:pt x="6193" y="2826"/>
                    </a:lnTo>
                    <a:lnTo>
                      <a:pt x="6391" y="2843"/>
                    </a:lnTo>
                    <a:lnTo>
                      <a:pt x="6591" y="2858"/>
                    </a:lnTo>
                    <a:lnTo>
                      <a:pt x="6792" y="2870"/>
                    </a:lnTo>
                    <a:lnTo>
                      <a:pt x="6995" y="2882"/>
                    </a:lnTo>
                    <a:lnTo>
                      <a:pt x="7200" y="2892"/>
                    </a:lnTo>
                    <a:lnTo>
                      <a:pt x="7407" y="2901"/>
                    </a:lnTo>
                    <a:lnTo>
                      <a:pt x="7614" y="2907"/>
                    </a:lnTo>
                    <a:lnTo>
                      <a:pt x="7823" y="2911"/>
                    </a:lnTo>
                    <a:lnTo>
                      <a:pt x="8034" y="2914"/>
                    </a:lnTo>
                    <a:lnTo>
                      <a:pt x="8246" y="2915"/>
                    </a:lnTo>
                    <a:lnTo>
                      <a:pt x="8246" y="2815"/>
                    </a:lnTo>
                    <a:lnTo>
                      <a:pt x="8034" y="2814"/>
                    </a:lnTo>
                    <a:lnTo>
                      <a:pt x="7825" y="2811"/>
                    </a:lnTo>
                    <a:lnTo>
                      <a:pt x="7617" y="2806"/>
                    </a:lnTo>
                    <a:lnTo>
                      <a:pt x="7410" y="2800"/>
                    </a:lnTo>
                    <a:lnTo>
                      <a:pt x="7205" y="2792"/>
                    </a:lnTo>
                    <a:lnTo>
                      <a:pt x="7000" y="2783"/>
                    </a:lnTo>
                    <a:lnTo>
                      <a:pt x="6798" y="2771"/>
                    </a:lnTo>
                    <a:lnTo>
                      <a:pt x="6597" y="2758"/>
                    </a:lnTo>
                    <a:lnTo>
                      <a:pt x="6400" y="2742"/>
                    </a:lnTo>
                    <a:lnTo>
                      <a:pt x="6203" y="2726"/>
                    </a:lnTo>
                    <a:lnTo>
                      <a:pt x="6008" y="2708"/>
                    </a:lnTo>
                    <a:lnTo>
                      <a:pt x="5814" y="2688"/>
                    </a:lnTo>
                    <a:lnTo>
                      <a:pt x="5623" y="2667"/>
                    </a:lnTo>
                    <a:lnTo>
                      <a:pt x="5435" y="2644"/>
                    </a:lnTo>
                    <a:lnTo>
                      <a:pt x="5248" y="2620"/>
                    </a:lnTo>
                    <a:lnTo>
                      <a:pt x="5064" y="2594"/>
                    </a:lnTo>
                    <a:lnTo>
                      <a:pt x="4881" y="2566"/>
                    </a:lnTo>
                    <a:lnTo>
                      <a:pt x="4702" y="2537"/>
                    </a:lnTo>
                    <a:lnTo>
                      <a:pt x="4524" y="2507"/>
                    </a:lnTo>
                    <a:lnTo>
                      <a:pt x="4350" y="2476"/>
                    </a:lnTo>
                    <a:lnTo>
                      <a:pt x="4176" y="2442"/>
                    </a:lnTo>
                    <a:lnTo>
                      <a:pt x="4007" y="2408"/>
                    </a:lnTo>
                    <a:lnTo>
                      <a:pt x="3839" y="2373"/>
                    </a:lnTo>
                    <a:lnTo>
                      <a:pt x="3675" y="2335"/>
                    </a:lnTo>
                    <a:lnTo>
                      <a:pt x="3514" y="2297"/>
                    </a:lnTo>
                    <a:lnTo>
                      <a:pt x="3355" y="2257"/>
                    </a:lnTo>
                    <a:lnTo>
                      <a:pt x="3199" y="2215"/>
                    </a:lnTo>
                    <a:lnTo>
                      <a:pt x="3047" y="2174"/>
                    </a:lnTo>
                    <a:lnTo>
                      <a:pt x="2971" y="2152"/>
                    </a:lnTo>
                    <a:lnTo>
                      <a:pt x="2897" y="2130"/>
                    </a:lnTo>
                    <a:lnTo>
                      <a:pt x="2824" y="2108"/>
                    </a:lnTo>
                    <a:lnTo>
                      <a:pt x="2751" y="2086"/>
                    </a:lnTo>
                    <a:lnTo>
                      <a:pt x="2679" y="2063"/>
                    </a:lnTo>
                    <a:lnTo>
                      <a:pt x="2608" y="2039"/>
                    </a:lnTo>
                    <a:lnTo>
                      <a:pt x="2538" y="2017"/>
                    </a:lnTo>
                    <a:lnTo>
                      <a:pt x="2467" y="1993"/>
                    </a:lnTo>
                    <a:lnTo>
                      <a:pt x="2398" y="1969"/>
                    </a:lnTo>
                    <a:lnTo>
                      <a:pt x="2330" y="1945"/>
                    </a:lnTo>
                    <a:lnTo>
                      <a:pt x="2263" y="1920"/>
                    </a:lnTo>
                    <a:lnTo>
                      <a:pt x="2197" y="1895"/>
                    </a:lnTo>
                    <a:lnTo>
                      <a:pt x="2132" y="1871"/>
                    </a:lnTo>
                    <a:lnTo>
                      <a:pt x="2068" y="1845"/>
                    </a:lnTo>
                    <a:lnTo>
                      <a:pt x="2004" y="1820"/>
                    </a:lnTo>
                    <a:lnTo>
                      <a:pt x="1941" y="1794"/>
                    </a:lnTo>
                    <a:lnTo>
                      <a:pt x="1880" y="1768"/>
                    </a:lnTo>
                    <a:lnTo>
                      <a:pt x="1819" y="1741"/>
                    </a:lnTo>
                    <a:lnTo>
                      <a:pt x="1758" y="1715"/>
                    </a:lnTo>
                    <a:lnTo>
                      <a:pt x="1700" y="1688"/>
                    </a:lnTo>
                    <a:lnTo>
                      <a:pt x="1642" y="1662"/>
                    </a:lnTo>
                    <a:lnTo>
                      <a:pt x="1584" y="1634"/>
                    </a:lnTo>
                    <a:lnTo>
                      <a:pt x="1529" y="1607"/>
                    </a:lnTo>
                    <a:lnTo>
                      <a:pt x="1473" y="1579"/>
                    </a:lnTo>
                    <a:lnTo>
                      <a:pt x="1418" y="1551"/>
                    </a:lnTo>
                    <a:lnTo>
                      <a:pt x="1366" y="1523"/>
                    </a:lnTo>
                    <a:lnTo>
                      <a:pt x="1313" y="1494"/>
                    </a:lnTo>
                    <a:lnTo>
                      <a:pt x="1262" y="1466"/>
                    </a:lnTo>
                    <a:lnTo>
                      <a:pt x="1211" y="1437"/>
                    </a:lnTo>
                    <a:lnTo>
                      <a:pt x="1162" y="1408"/>
                    </a:lnTo>
                    <a:lnTo>
                      <a:pt x="1113" y="1379"/>
                    </a:lnTo>
                    <a:lnTo>
                      <a:pt x="1066" y="1349"/>
                    </a:lnTo>
                    <a:lnTo>
                      <a:pt x="1020" y="1320"/>
                    </a:lnTo>
                    <a:lnTo>
                      <a:pt x="975" y="1290"/>
                    </a:lnTo>
                    <a:lnTo>
                      <a:pt x="931" y="1260"/>
                    </a:lnTo>
                    <a:lnTo>
                      <a:pt x="887" y="1229"/>
                    </a:lnTo>
                    <a:lnTo>
                      <a:pt x="845" y="1199"/>
                    </a:lnTo>
                    <a:lnTo>
                      <a:pt x="804" y="1168"/>
                    </a:lnTo>
                    <a:lnTo>
                      <a:pt x="765" y="1138"/>
                    </a:lnTo>
                    <a:lnTo>
                      <a:pt x="726" y="1107"/>
                    </a:lnTo>
                    <a:lnTo>
                      <a:pt x="688" y="1076"/>
                    </a:lnTo>
                    <a:lnTo>
                      <a:pt x="651" y="1044"/>
                    </a:lnTo>
                    <a:lnTo>
                      <a:pt x="616" y="1013"/>
                    </a:lnTo>
                    <a:lnTo>
                      <a:pt x="581" y="981"/>
                    </a:lnTo>
                    <a:lnTo>
                      <a:pt x="548" y="949"/>
                    </a:lnTo>
                    <a:lnTo>
                      <a:pt x="516" y="917"/>
                    </a:lnTo>
                    <a:lnTo>
                      <a:pt x="485" y="885"/>
                    </a:lnTo>
                    <a:lnTo>
                      <a:pt x="456" y="853"/>
                    </a:lnTo>
                    <a:lnTo>
                      <a:pt x="427" y="821"/>
                    </a:lnTo>
                    <a:lnTo>
                      <a:pt x="400" y="789"/>
                    </a:lnTo>
                    <a:lnTo>
                      <a:pt x="373" y="756"/>
                    </a:lnTo>
                    <a:lnTo>
                      <a:pt x="348" y="724"/>
                    </a:lnTo>
                    <a:lnTo>
                      <a:pt x="324" y="691"/>
                    </a:lnTo>
                    <a:lnTo>
                      <a:pt x="301" y="658"/>
                    </a:lnTo>
                    <a:lnTo>
                      <a:pt x="280" y="624"/>
                    </a:lnTo>
                    <a:lnTo>
                      <a:pt x="260" y="591"/>
                    </a:lnTo>
                    <a:lnTo>
                      <a:pt x="240" y="558"/>
                    </a:lnTo>
                    <a:lnTo>
                      <a:pt x="223" y="525"/>
                    </a:lnTo>
                    <a:lnTo>
                      <a:pt x="205" y="492"/>
                    </a:lnTo>
                    <a:lnTo>
                      <a:pt x="190" y="459"/>
                    </a:lnTo>
                    <a:lnTo>
                      <a:pt x="175" y="425"/>
                    </a:lnTo>
                    <a:lnTo>
                      <a:pt x="163" y="392"/>
                    </a:lnTo>
                    <a:lnTo>
                      <a:pt x="150" y="357"/>
                    </a:lnTo>
                    <a:lnTo>
                      <a:pt x="140" y="324"/>
                    </a:lnTo>
                    <a:lnTo>
                      <a:pt x="131" y="290"/>
                    </a:lnTo>
                    <a:lnTo>
                      <a:pt x="123" y="256"/>
                    </a:lnTo>
                    <a:lnTo>
                      <a:pt x="115" y="222"/>
                    </a:lnTo>
                    <a:lnTo>
                      <a:pt x="110" y="188"/>
                    </a:lnTo>
                    <a:lnTo>
                      <a:pt x="106" y="154"/>
                    </a:lnTo>
                    <a:lnTo>
                      <a:pt x="102" y="119"/>
                    </a:lnTo>
                    <a:lnTo>
                      <a:pt x="101" y="85"/>
                    </a:lnTo>
                    <a:lnTo>
                      <a:pt x="100" y="50"/>
                    </a:lnTo>
                    <a:lnTo>
                      <a:pt x="100" y="50"/>
                    </a:lnTo>
                    <a:lnTo>
                      <a:pt x="100" y="50"/>
                    </a:lnTo>
                    <a:lnTo>
                      <a:pt x="100" y="44"/>
                    </a:lnTo>
                    <a:lnTo>
                      <a:pt x="99" y="39"/>
                    </a:lnTo>
                    <a:lnTo>
                      <a:pt x="98" y="33"/>
                    </a:lnTo>
                    <a:lnTo>
                      <a:pt x="96" y="28"/>
                    </a:lnTo>
                    <a:lnTo>
                      <a:pt x="94" y="24"/>
                    </a:lnTo>
                    <a:lnTo>
                      <a:pt x="91" y="20"/>
                    </a:lnTo>
                    <a:lnTo>
                      <a:pt x="88" y="16"/>
                    </a:lnTo>
                    <a:lnTo>
                      <a:pt x="85" y="13"/>
                    </a:lnTo>
                    <a:lnTo>
                      <a:pt x="77" y="8"/>
                    </a:lnTo>
                    <a:lnTo>
                      <a:pt x="68" y="3"/>
                    </a:lnTo>
                    <a:lnTo>
                      <a:pt x="60" y="0"/>
                    </a:lnTo>
                    <a:lnTo>
                      <a:pt x="51" y="0"/>
                    </a:lnTo>
                    <a:lnTo>
                      <a:pt x="40" y="0"/>
                    </a:lnTo>
                    <a:lnTo>
                      <a:pt x="32" y="3"/>
                    </a:lnTo>
                    <a:lnTo>
                      <a:pt x="23" y="8"/>
                    </a:lnTo>
                    <a:lnTo>
                      <a:pt x="15" y="13"/>
                    </a:lnTo>
                    <a:lnTo>
                      <a:pt x="12" y="16"/>
                    </a:lnTo>
                    <a:lnTo>
                      <a:pt x="9" y="20"/>
                    </a:lnTo>
                    <a:lnTo>
                      <a:pt x="6" y="24"/>
                    </a:lnTo>
                    <a:lnTo>
                      <a:pt x="4" y="28"/>
                    </a:lnTo>
                    <a:lnTo>
                      <a:pt x="2" y="33"/>
                    </a:lnTo>
                    <a:lnTo>
                      <a:pt x="1" y="39"/>
                    </a:lnTo>
                    <a:lnTo>
                      <a:pt x="0" y="44"/>
                    </a:lnTo>
                    <a:lnTo>
                      <a:pt x="0" y="5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14" name="Freeform 20"/>
              <p:cNvSpPr>
                <a:spLocks/>
              </p:cNvSpPr>
              <p:nvPr>
                <p:custDataLst>
                  <p:tags r:id="rId257"/>
                </p:custDataLst>
              </p:nvPr>
            </p:nvSpPr>
            <p:spPr bwMode="auto">
              <a:xfrm>
                <a:off x="369" y="3515"/>
                <a:ext cx="361" cy="114"/>
              </a:xfrm>
              <a:custGeom>
                <a:avLst/>
                <a:gdLst>
                  <a:gd name="T0" fmla="*/ 7823 w 8296"/>
                  <a:gd name="T1" fmla="*/ 3 h 2864"/>
                  <a:gd name="T2" fmla="*/ 6995 w 8296"/>
                  <a:gd name="T3" fmla="*/ 32 h 2864"/>
                  <a:gd name="T4" fmla="*/ 6193 w 8296"/>
                  <a:gd name="T5" fmla="*/ 88 h 2864"/>
                  <a:gd name="T6" fmla="*/ 5422 w 8296"/>
                  <a:gd name="T7" fmla="*/ 171 h 2864"/>
                  <a:gd name="T8" fmla="*/ 4686 w 8296"/>
                  <a:gd name="T9" fmla="*/ 279 h 2864"/>
                  <a:gd name="T10" fmla="*/ 3987 w 8296"/>
                  <a:gd name="T11" fmla="*/ 409 h 2864"/>
                  <a:gd name="T12" fmla="*/ 3331 w 8296"/>
                  <a:gd name="T13" fmla="*/ 561 h 2864"/>
                  <a:gd name="T14" fmla="*/ 2721 w 8296"/>
                  <a:gd name="T15" fmla="*/ 734 h 2864"/>
                  <a:gd name="T16" fmla="*/ 2436 w 8296"/>
                  <a:gd name="T17" fmla="*/ 827 h 2864"/>
                  <a:gd name="T18" fmla="*/ 2162 w 8296"/>
                  <a:gd name="T19" fmla="*/ 925 h 2864"/>
                  <a:gd name="T20" fmla="*/ 1904 w 8296"/>
                  <a:gd name="T21" fmla="*/ 1028 h 2864"/>
                  <a:gd name="T22" fmla="*/ 1658 w 8296"/>
                  <a:gd name="T23" fmla="*/ 1136 h 2864"/>
                  <a:gd name="T24" fmla="*/ 1428 w 8296"/>
                  <a:gd name="T25" fmla="*/ 1246 h 2864"/>
                  <a:gd name="T26" fmla="*/ 1212 w 8296"/>
                  <a:gd name="T27" fmla="*/ 1361 h 2864"/>
                  <a:gd name="T28" fmla="*/ 1013 w 8296"/>
                  <a:gd name="T29" fmla="*/ 1481 h 2864"/>
                  <a:gd name="T30" fmla="*/ 830 w 8296"/>
                  <a:gd name="T31" fmla="*/ 1603 h 2864"/>
                  <a:gd name="T32" fmla="*/ 663 w 8296"/>
                  <a:gd name="T33" fmla="*/ 1730 h 2864"/>
                  <a:gd name="T34" fmla="*/ 513 w 8296"/>
                  <a:gd name="T35" fmla="*/ 1860 h 2864"/>
                  <a:gd name="T36" fmla="*/ 381 w 8296"/>
                  <a:gd name="T37" fmla="*/ 1994 h 2864"/>
                  <a:gd name="T38" fmla="*/ 268 w 8296"/>
                  <a:gd name="T39" fmla="*/ 2131 h 2864"/>
                  <a:gd name="T40" fmla="*/ 174 w 8296"/>
                  <a:gd name="T41" fmla="*/ 2272 h 2864"/>
                  <a:gd name="T42" fmla="*/ 99 w 8296"/>
                  <a:gd name="T43" fmla="*/ 2416 h 2864"/>
                  <a:gd name="T44" fmla="*/ 44 w 8296"/>
                  <a:gd name="T45" fmla="*/ 2563 h 2864"/>
                  <a:gd name="T46" fmla="*/ 11 w 8296"/>
                  <a:gd name="T47" fmla="*/ 2712 h 2864"/>
                  <a:gd name="T48" fmla="*/ 0 w 8296"/>
                  <a:gd name="T49" fmla="*/ 2864 h 2864"/>
                  <a:gd name="T50" fmla="*/ 106 w 8296"/>
                  <a:gd name="T51" fmla="*/ 2762 h 2864"/>
                  <a:gd name="T52" fmla="*/ 131 w 8296"/>
                  <a:gd name="T53" fmla="*/ 2625 h 2864"/>
                  <a:gd name="T54" fmla="*/ 175 w 8296"/>
                  <a:gd name="T55" fmla="*/ 2490 h 2864"/>
                  <a:gd name="T56" fmla="*/ 240 w 8296"/>
                  <a:gd name="T57" fmla="*/ 2356 h 2864"/>
                  <a:gd name="T58" fmla="*/ 324 w 8296"/>
                  <a:gd name="T59" fmla="*/ 2224 h 2864"/>
                  <a:gd name="T60" fmla="*/ 427 w 8296"/>
                  <a:gd name="T61" fmla="*/ 2094 h 2864"/>
                  <a:gd name="T62" fmla="*/ 548 w 8296"/>
                  <a:gd name="T63" fmla="*/ 1966 h 2864"/>
                  <a:gd name="T64" fmla="*/ 688 w 8296"/>
                  <a:gd name="T65" fmla="*/ 1839 h 2864"/>
                  <a:gd name="T66" fmla="*/ 845 w 8296"/>
                  <a:gd name="T67" fmla="*/ 1716 h 2864"/>
                  <a:gd name="T68" fmla="*/ 1020 w 8296"/>
                  <a:gd name="T69" fmla="*/ 1595 h 2864"/>
                  <a:gd name="T70" fmla="*/ 1211 w 8296"/>
                  <a:gd name="T71" fmla="*/ 1478 h 2864"/>
                  <a:gd name="T72" fmla="*/ 1418 w 8296"/>
                  <a:gd name="T73" fmla="*/ 1364 h 2864"/>
                  <a:gd name="T74" fmla="*/ 1642 w 8296"/>
                  <a:gd name="T75" fmla="*/ 1254 h 2864"/>
                  <a:gd name="T76" fmla="*/ 1880 w 8296"/>
                  <a:gd name="T77" fmla="*/ 1147 h 2864"/>
                  <a:gd name="T78" fmla="*/ 2132 w 8296"/>
                  <a:gd name="T79" fmla="*/ 1044 h 2864"/>
                  <a:gd name="T80" fmla="*/ 2398 w 8296"/>
                  <a:gd name="T81" fmla="*/ 946 h 2864"/>
                  <a:gd name="T82" fmla="*/ 2679 w 8296"/>
                  <a:gd name="T83" fmla="*/ 852 h 2864"/>
                  <a:gd name="T84" fmla="*/ 3199 w 8296"/>
                  <a:gd name="T85" fmla="*/ 699 h 2864"/>
                  <a:gd name="T86" fmla="*/ 3839 w 8296"/>
                  <a:gd name="T87" fmla="*/ 542 h 2864"/>
                  <a:gd name="T88" fmla="*/ 4524 w 8296"/>
                  <a:gd name="T89" fmla="*/ 408 h 2864"/>
                  <a:gd name="T90" fmla="*/ 5248 w 8296"/>
                  <a:gd name="T91" fmla="*/ 295 h 2864"/>
                  <a:gd name="T92" fmla="*/ 6008 w 8296"/>
                  <a:gd name="T93" fmla="*/ 207 h 2864"/>
                  <a:gd name="T94" fmla="*/ 6798 w 8296"/>
                  <a:gd name="T95" fmla="*/ 144 h 2864"/>
                  <a:gd name="T96" fmla="*/ 7617 w 8296"/>
                  <a:gd name="T97" fmla="*/ 108 h 2864"/>
                  <a:gd name="T98" fmla="*/ 8246 w 8296"/>
                  <a:gd name="T99" fmla="*/ 100 h 2864"/>
                  <a:gd name="T100" fmla="*/ 8263 w 8296"/>
                  <a:gd name="T101" fmla="*/ 97 h 2864"/>
                  <a:gd name="T102" fmla="*/ 8280 w 8296"/>
                  <a:gd name="T103" fmla="*/ 88 h 2864"/>
                  <a:gd name="T104" fmla="*/ 8295 w 8296"/>
                  <a:gd name="T105" fmla="*/ 59 h 2864"/>
                  <a:gd name="T106" fmla="*/ 8289 w 8296"/>
                  <a:gd name="T107" fmla="*/ 23 h 2864"/>
                  <a:gd name="T108" fmla="*/ 8272 w 8296"/>
                  <a:gd name="T109" fmla="*/ 6 h 2864"/>
                  <a:gd name="T110" fmla="*/ 8252 w 8296"/>
                  <a:gd name="T111" fmla="*/ 0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4">
                    <a:moveTo>
                      <a:pt x="8246" y="0"/>
                    </a:moveTo>
                    <a:lnTo>
                      <a:pt x="8246" y="0"/>
                    </a:lnTo>
                    <a:lnTo>
                      <a:pt x="8034" y="0"/>
                    </a:lnTo>
                    <a:lnTo>
                      <a:pt x="7823" y="3"/>
                    </a:lnTo>
                    <a:lnTo>
                      <a:pt x="7614" y="8"/>
                    </a:lnTo>
                    <a:lnTo>
                      <a:pt x="7407" y="15"/>
                    </a:lnTo>
                    <a:lnTo>
                      <a:pt x="7200" y="23"/>
                    </a:lnTo>
                    <a:lnTo>
                      <a:pt x="6995" y="32"/>
                    </a:lnTo>
                    <a:lnTo>
                      <a:pt x="6792" y="44"/>
                    </a:lnTo>
                    <a:lnTo>
                      <a:pt x="6591" y="57"/>
                    </a:lnTo>
                    <a:lnTo>
                      <a:pt x="6391" y="72"/>
                    </a:lnTo>
                    <a:lnTo>
                      <a:pt x="6193" y="88"/>
                    </a:lnTo>
                    <a:lnTo>
                      <a:pt x="5998" y="107"/>
                    </a:lnTo>
                    <a:lnTo>
                      <a:pt x="5804" y="126"/>
                    </a:lnTo>
                    <a:lnTo>
                      <a:pt x="5612" y="148"/>
                    </a:lnTo>
                    <a:lnTo>
                      <a:pt x="5422" y="171"/>
                    </a:lnTo>
                    <a:lnTo>
                      <a:pt x="5235" y="196"/>
                    </a:lnTo>
                    <a:lnTo>
                      <a:pt x="5049" y="222"/>
                    </a:lnTo>
                    <a:lnTo>
                      <a:pt x="4866" y="250"/>
                    </a:lnTo>
                    <a:lnTo>
                      <a:pt x="4686" y="279"/>
                    </a:lnTo>
                    <a:lnTo>
                      <a:pt x="4507" y="309"/>
                    </a:lnTo>
                    <a:lnTo>
                      <a:pt x="4331" y="341"/>
                    </a:lnTo>
                    <a:lnTo>
                      <a:pt x="4158" y="374"/>
                    </a:lnTo>
                    <a:lnTo>
                      <a:pt x="3987" y="409"/>
                    </a:lnTo>
                    <a:lnTo>
                      <a:pt x="3819" y="444"/>
                    </a:lnTo>
                    <a:lnTo>
                      <a:pt x="3653" y="482"/>
                    </a:lnTo>
                    <a:lnTo>
                      <a:pt x="3491" y="521"/>
                    </a:lnTo>
                    <a:lnTo>
                      <a:pt x="3331" y="561"/>
                    </a:lnTo>
                    <a:lnTo>
                      <a:pt x="3173" y="602"/>
                    </a:lnTo>
                    <a:lnTo>
                      <a:pt x="3020" y="645"/>
                    </a:lnTo>
                    <a:lnTo>
                      <a:pt x="2869" y="688"/>
                    </a:lnTo>
                    <a:lnTo>
                      <a:pt x="2721" y="734"/>
                    </a:lnTo>
                    <a:lnTo>
                      <a:pt x="2649" y="757"/>
                    </a:lnTo>
                    <a:lnTo>
                      <a:pt x="2577" y="779"/>
                    </a:lnTo>
                    <a:lnTo>
                      <a:pt x="2506" y="803"/>
                    </a:lnTo>
                    <a:lnTo>
                      <a:pt x="2436" y="827"/>
                    </a:lnTo>
                    <a:lnTo>
                      <a:pt x="2365" y="851"/>
                    </a:lnTo>
                    <a:lnTo>
                      <a:pt x="2297" y="876"/>
                    </a:lnTo>
                    <a:lnTo>
                      <a:pt x="2229" y="901"/>
                    </a:lnTo>
                    <a:lnTo>
                      <a:pt x="2162" y="925"/>
                    </a:lnTo>
                    <a:lnTo>
                      <a:pt x="2096" y="950"/>
                    </a:lnTo>
                    <a:lnTo>
                      <a:pt x="2030" y="976"/>
                    </a:lnTo>
                    <a:lnTo>
                      <a:pt x="1967" y="1002"/>
                    </a:lnTo>
                    <a:lnTo>
                      <a:pt x="1904" y="1028"/>
                    </a:lnTo>
                    <a:lnTo>
                      <a:pt x="1841" y="1055"/>
                    </a:lnTo>
                    <a:lnTo>
                      <a:pt x="1779" y="1081"/>
                    </a:lnTo>
                    <a:lnTo>
                      <a:pt x="1718" y="1108"/>
                    </a:lnTo>
                    <a:lnTo>
                      <a:pt x="1658" y="1136"/>
                    </a:lnTo>
                    <a:lnTo>
                      <a:pt x="1600" y="1162"/>
                    </a:lnTo>
                    <a:lnTo>
                      <a:pt x="1541" y="1190"/>
                    </a:lnTo>
                    <a:lnTo>
                      <a:pt x="1484" y="1218"/>
                    </a:lnTo>
                    <a:lnTo>
                      <a:pt x="1428" y="1246"/>
                    </a:lnTo>
                    <a:lnTo>
                      <a:pt x="1373" y="1275"/>
                    </a:lnTo>
                    <a:lnTo>
                      <a:pt x="1318" y="1303"/>
                    </a:lnTo>
                    <a:lnTo>
                      <a:pt x="1265" y="1332"/>
                    </a:lnTo>
                    <a:lnTo>
                      <a:pt x="1212" y="1361"/>
                    </a:lnTo>
                    <a:lnTo>
                      <a:pt x="1162" y="1391"/>
                    </a:lnTo>
                    <a:lnTo>
                      <a:pt x="1111" y="1420"/>
                    </a:lnTo>
                    <a:lnTo>
                      <a:pt x="1062" y="1450"/>
                    </a:lnTo>
                    <a:lnTo>
                      <a:pt x="1013" y="1481"/>
                    </a:lnTo>
                    <a:lnTo>
                      <a:pt x="966" y="1511"/>
                    </a:lnTo>
                    <a:lnTo>
                      <a:pt x="919" y="1542"/>
                    </a:lnTo>
                    <a:lnTo>
                      <a:pt x="874" y="1572"/>
                    </a:lnTo>
                    <a:lnTo>
                      <a:pt x="830" y="1603"/>
                    </a:lnTo>
                    <a:lnTo>
                      <a:pt x="786" y="1635"/>
                    </a:lnTo>
                    <a:lnTo>
                      <a:pt x="744" y="1667"/>
                    </a:lnTo>
                    <a:lnTo>
                      <a:pt x="703" y="1699"/>
                    </a:lnTo>
                    <a:lnTo>
                      <a:pt x="663" y="1730"/>
                    </a:lnTo>
                    <a:lnTo>
                      <a:pt x="624" y="1763"/>
                    </a:lnTo>
                    <a:lnTo>
                      <a:pt x="586" y="1795"/>
                    </a:lnTo>
                    <a:lnTo>
                      <a:pt x="549" y="1828"/>
                    </a:lnTo>
                    <a:lnTo>
                      <a:pt x="513" y="1860"/>
                    </a:lnTo>
                    <a:lnTo>
                      <a:pt x="479" y="1893"/>
                    </a:lnTo>
                    <a:lnTo>
                      <a:pt x="445" y="1926"/>
                    </a:lnTo>
                    <a:lnTo>
                      <a:pt x="413" y="1960"/>
                    </a:lnTo>
                    <a:lnTo>
                      <a:pt x="381" y="1994"/>
                    </a:lnTo>
                    <a:lnTo>
                      <a:pt x="351" y="2028"/>
                    </a:lnTo>
                    <a:lnTo>
                      <a:pt x="323" y="2062"/>
                    </a:lnTo>
                    <a:lnTo>
                      <a:pt x="295" y="2097"/>
                    </a:lnTo>
                    <a:lnTo>
                      <a:pt x="268" y="2131"/>
                    </a:lnTo>
                    <a:lnTo>
                      <a:pt x="243" y="2166"/>
                    </a:lnTo>
                    <a:lnTo>
                      <a:pt x="219" y="2201"/>
                    </a:lnTo>
                    <a:lnTo>
                      <a:pt x="196" y="2236"/>
                    </a:lnTo>
                    <a:lnTo>
                      <a:pt x="174" y="2272"/>
                    </a:lnTo>
                    <a:lnTo>
                      <a:pt x="154" y="2307"/>
                    </a:lnTo>
                    <a:lnTo>
                      <a:pt x="134" y="2343"/>
                    </a:lnTo>
                    <a:lnTo>
                      <a:pt x="115" y="2380"/>
                    </a:lnTo>
                    <a:lnTo>
                      <a:pt x="99" y="2416"/>
                    </a:lnTo>
                    <a:lnTo>
                      <a:pt x="83" y="2452"/>
                    </a:lnTo>
                    <a:lnTo>
                      <a:pt x="69" y="2488"/>
                    </a:lnTo>
                    <a:lnTo>
                      <a:pt x="56" y="2526"/>
                    </a:lnTo>
                    <a:lnTo>
                      <a:pt x="44" y="2563"/>
                    </a:lnTo>
                    <a:lnTo>
                      <a:pt x="34" y="2600"/>
                    </a:lnTo>
                    <a:lnTo>
                      <a:pt x="25" y="2637"/>
                    </a:lnTo>
                    <a:lnTo>
                      <a:pt x="18" y="2675"/>
                    </a:lnTo>
                    <a:lnTo>
                      <a:pt x="11" y="2712"/>
                    </a:lnTo>
                    <a:lnTo>
                      <a:pt x="6" y="2750"/>
                    </a:lnTo>
                    <a:lnTo>
                      <a:pt x="3" y="2788"/>
                    </a:lnTo>
                    <a:lnTo>
                      <a:pt x="1" y="2826"/>
                    </a:lnTo>
                    <a:lnTo>
                      <a:pt x="0" y="2864"/>
                    </a:lnTo>
                    <a:lnTo>
                      <a:pt x="100" y="2864"/>
                    </a:lnTo>
                    <a:lnTo>
                      <a:pt x="101" y="2830"/>
                    </a:lnTo>
                    <a:lnTo>
                      <a:pt x="102" y="2796"/>
                    </a:lnTo>
                    <a:lnTo>
                      <a:pt x="106" y="2762"/>
                    </a:lnTo>
                    <a:lnTo>
                      <a:pt x="110" y="2726"/>
                    </a:lnTo>
                    <a:lnTo>
                      <a:pt x="115" y="2693"/>
                    </a:lnTo>
                    <a:lnTo>
                      <a:pt x="123" y="2659"/>
                    </a:lnTo>
                    <a:lnTo>
                      <a:pt x="131" y="2625"/>
                    </a:lnTo>
                    <a:lnTo>
                      <a:pt x="140" y="2591"/>
                    </a:lnTo>
                    <a:lnTo>
                      <a:pt x="150" y="2558"/>
                    </a:lnTo>
                    <a:lnTo>
                      <a:pt x="163" y="2524"/>
                    </a:lnTo>
                    <a:lnTo>
                      <a:pt x="175" y="2490"/>
                    </a:lnTo>
                    <a:lnTo>
                      <a:pt x="190" y="2456"/>
                    </a:lnTo>
                    <a:lnTo>
                      <a:pt x="205" y="2423"/>
                    </a:lnTo>
                    <a:lnTo>
                      <a:pt x="223" y="2390"/>
                    </a:lnTo>
                    <a:lnTo>
                      <a:pt x="240" y="2356"/>
                    </a:lnTo>
                    <a:lnTo>
                      <a:pt x="260" y="2323"/>
                    </a:lnTo>
                    <a:lnTo>
                      <a:pt x="279" y="2290"/>
                    </a:lnTo>
                    <a:lnTo>
                      <a:pt x="301" y="2258"/>
                    </a:lnTo>
                    <a:lnTo>
                      <a:pt x="324" y="2224"/>
                    </a:lnTo>
                    <a:lnTo>
                      <a:pt x="348" y="2191"/>
                    </a:lnTo>
                    <a:lnTo>
                      <a:pt x="373" y="2159"/>
                    </a:lnTo>
                    <a:lnTo>
                      <a:pt x="400" y="2126"/>
                    </a:lnTo>
                    <a:lnTo>
                      <a:pt x="427" y="2094"/>
                    </a:lnTo>
                    <a:lnTo>
                      <a:pt x="456" y="2062"/>
                    </a:lnTo>
                    <a:lnTo>
                      <a:pt x="485" y="2030"/>
                    </a:lnTo>
                    <a:lnTo>
                      <a:pt x="516" y="1998"/>
                    </a:lnTo>
                    <a:lnTo>
                      <a:pt x="548" y="1966"/>
                    </a:lnTo>
                    <a:lnTo>
                      <a:pt x="581" y="1934"/>
                    </a:lnTo>
                    <a:lnTo>
                      <a:pt x="616" y="1902"/>
                    </a:lnTo>
                    <a:lnTo>
                      <a:pt x="651" y="1870"/>
                    </a:lnTo>
                    <a:lnTo>
                      <a:pt x="688" y="1839"/>
                    </a:lnTo>
                    <a:lnTo>
                      <a:pt x="726" y="1808"/>
                    </a:lnTo>
                    <a:lnTo>
                      <a:pt x="765" y="1777"/>
                    </a:lnTo>
                    <a:lnTo>
                      <a:pt x="804" y="1746"/>
                    </a:lnTo>
                    <a:lnTo>
                      <a:pt x="845" y="1716"/>
                    </a:lnTo>
                    <a:lnTo>
                      <a:pt x="887" y="1685"/>
                    </a:lnTo>
                    <a:lnTo>
                      <a:pt x="931" y="1655"/>
                    </a:lnTo>
                    <a:lnTo>
                      <a:pt x="975" y="1625"/>
                    </a:lnTo>
                    <a:lnTo>
                      <a:pt x="1020" y="1595"/>
                    </a:lnTo>
                    <a:lnTo>
                      <a:pt x="1066" y="1565"/>
                    </a:lnTo>
                    <a:lnTo>
                      <a:pt x="1113" y="1536"/>
                    </a:lnTo>
                    <a:lnTo>
                      <a:pt x="1162" y="1507"/>
                    </a:lnTo>
                    <a:lnTo>
                      <a:pt x="1211" y="1478"/>
                    </a:lnTo>
                    <a:lnTo>
                      <a:pt x="1262" y="1449"/>
                    </a:lnTo>
                    <a:lnTo>
                      <a:pt x="1313" y="1420"/>
                    </a:lnTo>
                    <a:lnTo>
                      <a:pt x="1366" y="1392"/>
                    </a:lnTo>
                    <a:lnTo>
                      <a:pt x="1418" y="1364"/>
                    </a:lnTo>
                    <a:lnTo>
                      <a:pt x="1473" y="1336"/>
                    </a:lnTo>
                    <a:lnTo>
                      <a:pt x="1529" y="1308"/>
                    </a:lnTo>
                    <a:lnTo>
                      <a:pt x="1584" y="1280"/>
                    </a:lnTo>
                    <a:lnTo>
                      <a:pt x="1642" y="1254"/>
                    </a:lnTo>
                    <a:lnTo>
                      <a:pt x="1700" y="1227"/>
                    </a:lnTo>
                    <a:lnTo>
                      <a:pt x="1758" y="1200"/>
                    </a:lnTo>
                    <a:lnTo>
                      <a:pt x="1819" y="1173"/>
                    </a:lnTo>
                    <a:lnTo>
                      <a:pt x="1880" y="1147"/>
                    </a:lnTo>
                    <a:lnTo>
                      <a:pt x="1941" y="1121"/>
                    </a:lnTo>
                    <a:lnTo>
                      <a:pt x="2004" y="1095"/>
                    </a:lnTo>
                    <a:lnTo>
                      <a:pt x="2068" y="1069"/>
                    </a:lnTo>
                    <a:lnTo>
                      <a:pt x="2132" y="1044"/>
                    </a:lnTo>
                    <a:lnTo>
                      <a:pt x="2197" y="1020"/>
                    </a:lnTo>
                    <a:lnTo>
                      <a:pt x="2263" y="995"/>
                    </a:lnTo>
                    <a:lnTo>
                      <a:pt x="2330" y="970"/>
                    </a:lnTo>
                    <a:lnTo>
                      <a:pt x="2398" y="946"/>
                    </a:lnTo>
                    <a:lnTo>
                      <a:pt x="2467" y="922"/>
                    </a:lnTo>
                    <a:lnTo>
                      <a:pt x="2538" y="899"/>
                    </a:lnTo>
                    <a:lnTo>
                      <a:pt x="2608" y="875"/>
                    </a:lnTo>
                    <a:lnTo>
                      <a:pt x="2679" y="852"/>
                    </a:lnTo>
                    <a:lnTo>
                      <a:pt x="2751" y="829"/>
                    </a:lnTo>
                    <a:lnTo>
                      <a:pt x="2897" y="785"/>
                    </a:lnTo>
                    <a:lnTo>
                      <a:pt x="3047" y="741"/>
                    </a:lnTo>
                    <a:lnTo>
                      <a:pt x="3199" y="699"/>
                    </a:lnTo>
                    <a:lnTo>
                      <a:pt x="3355" y="658"/>
                    </a:lnTo>
                    <a:lnTo>
                      <a:pt x="3514" y="618"/>
                    </a:lnTo>
                    <a:lnTo>
                      <a:pt x="3675" y="580"/>
                    </a:lnTo>
                    <a:lnTo>
                      <a:pt x="3839" y="542"/>
                    </a:lnTo>
                    <a:lnTo>
                      <a:pt x="4007" y="506"/>
                    </a:lnTo>
                    <a:lnTo>
                      <a:pt x="4176" y="472"/>
                    </a:lnTo>
                    <a:lnTo>
                      <a:pt x="4350" y="439"/>
                    </a:lnTo>
                    <a:lnTo>
                      <a:pt x="4524" y="408"/>
                    </a:lnTo>
                    <a:lnTo>
                      <a:pt x="4702" y="377"/>
                    </a:lnTo>
                    <a:lnTo>
                      <a:pt x="4881" y="348"/>
                    </a:lnTo>
                    <a:lnTo>
                      <a:pt x="5064" y="321"/>
                    </a:lnTo>
                    <a:lnTo>
                      <a:pt x="5248" y="295"/>
                    </a:lnTo>
                    <a:lnTo>
                      <a:pt x="5435" y="270"/>
                    </a:lnTo>
                    <a:lnTo>
                      <a:pt x="5623" y="247"/>
                    </a:lnTo>
                    <a:lnTo>
                      <a:pt x="5814" y="227"/>
                    </a:lnTo>
                    <a:lnTo>
                      <a:pt x="6008" y="207"/>
                    </a:lnTo>
                    <a:lnTo>
                      <a:pt x="6203" y="188"/>
                    </a:lnTo>
                    <a:lnTo>
                      <a:pt x="6400" y="172"/>
                    </a:lnTo>
                    <a:lnTo>
                      <a:pt x="6597" y="157"/>
                    </a:lnTo>
                    <a:lnTo>
                      <a:pt x="6798" y="144"/>
                    </a:lnTo>
                    <a:lnTo>
                      <a:pt x="7000" y="133"/>
                    </a:lnTo>
                    <a:lnTo>
                      <a:pt x="7205" y="122"/>
                    </a:lnTo>
                    <a:lnTo>
                      <a:pt x="7410" y="115"/>
                    </a:lnTo>
                    <a:lnTo>
                      <a:pt x="7617" y="108"/>
                    </a:lnTo>
                    <a:lnTo>
                      <a:pt x="7825" y="104"/>
                    </a:lnTo>
                    <a:lnTo>
                      <a:pt x="8034" y="102"/>
                    </a:lnTo>
                    <a:lnTo>
                      <a:pt x="8246" y="100"/>
                    </a:lnTo>
                    <a:lnTo>
                      <a:pt x="8246" y="100"/>
                    </a:lnTo>
                    <a:lnTo>
                      <a:pt x="8246" y="100"/>
                    </a:lnTo>
                    <a:lnTo>
                      <a:pt x="8252" y="99"/>
                    </a:lnTo>
                    <a:lnTo>
                      <a:pt x="8257" y="99"/>
                    </a:lnTo>
                    <a:lnTo>
                      <a:pt x="8263" y="97"/>
                    </a:lnTo>
                    <a:lnTo>
                      <a:pt x="8267" y="96"/>
                    </a:lnTo>
                    <a:lnTo>
                      <a:pt x="8272" y="93"/>
                    </a:lnTo>
                    <a:lnTo>
                      <a:pt x="8276" y="91"/>
                    </a:lnTo>
                    <a:lnTo>
                      <a:pt x="8280" y="88"/>
                    </a:lnTo>
                    <a:lnTo>
                      <a:pt x="8284" y="84"/>
                    </a:lnTo>
                    <a:lnTo>
                      <a:pt x="8289" y="77"/>
                    </a:lnTo>
                    <a:lnTo>
                      <a:pt x="8293" y="68"/>
                    </a:lnTo>
                    <a:lnTo>
                      <a:pt x="8295" y="59"/>
                    </a:lnTo>
                    <a:lnTo>
                      <a:pt x="8296" y="50"/>
                    </a:lnTo>
                    <a:lnTo>
                      <a:pt x="8295" y="40"/>
                    </a:lnTo>
                    <a:lnTo>
                      <a:pt x="8293" y="31"/>
                    </a:lnTo>
                    <a:lnTo>
                      <a:pt x="8289" y="23"/>
                    </a:lnTo>
                    <a:lnTo>
                      <a:pt x="8284" y="16"/>
                    </a:lnTo>
                    <a:lnTo>
                      <a:pt x="8280" y="13"/>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15" name="Freeform 21"/>
              <p:cNvSpPr>
                <a:spLocks/>
              </p:cNvSpPr>
              <p:nvPr>
                <p:custDataLst>
                  <p:tags r:id="rId258"/>
                </p:custDataLst>
              </p:nvPr>
            </p:nvSpPr>
            <p:spPr bwMode="auto">
              <a:xfrm>
                <a:off x="728" y="3515"/>
                <a:ext cx="358" cy="114"/>
              </a:xfrm>
              <a:custGeom>
                <a:avLst/>
                <a:gdLst>
                  <a:gd name="T0" fmla="*/ 8239 w 8245"/>
                  <a:gd name="T1" fmla="*/ 2750 h 2864"/>
                  <a:gd name="T2" fmla="*/ 8211 w 8245"/>
                  <a:gd name="T3" fmla="*/ 2600 h 2864"/>
                  <a:gd name="T4" fmla="*/ 8162 w 8245"/>
                  <a:gd name="T5" fmla="*/ 2452 h 2864"/>
                  <a:gd name="T6" fmla="*/ 8091 w 8245"/>
                  <a:gd name="T7" fmla="*/ 2307 h 2864"/>
                  <a:gd name="T8" fmla="*/ 8002 w 8245"/>
                  <a:gd name="T9" fmla="*/ 2166 h 2864"/>
                  <a:gd name="T10" fmla="*/ 7894 w 8245"/>
                  <a:gd name="T11" fmla="*/ 2028 h 2864"/>
                  <a:gd name="T12" fmla="*/ 7766 w 8245"/>
                  <a:gd name="T13" fmla="*/ 1893 h 2864"/>
                  <a:gd name="T14" fmla="*/ 7620 w 8245"/>
                  <a:gd name="T15" fmla="*/ 1763 h 2864"/>
                  <a:gd name="T16" fmla="*/ 7459 w 8245"/>
                  <a:gd name="T17" fmla="*/ 1635 h 2864"/>
                  <a:gd name="T18" fmla="*/ 7279 w 8245"/>
                  <a:gd name="T19" fmla="*/ 1511 h 2864"/>
                  <a:gd name="T20" fmla="*/ 7083 w 8245"/>
                  <a:gd name="T21" fmla="*/ 1391 h 2864"/>
                  <a:gd name="T22" fmla="*/ 6872 w 8245"/>
                  <a:gd name="T23" fmla="*/ 1275 h 2864"/>
                  <a:gd name="T24" fmla="*/ 6645 w 8245"/>
                  <a:gd name="T25" fmla="*/ 1162 h 2864"/>
                  <a:gd name="T26" fmla="*/ 6404 w 8245"/>
                  <a:gd name="T27" fmla="*/ 1055 h 2864"/>
                  <a:gd name="T28" fmla="*/ 6149 w 8245"/>
                  <a:gd name="T29" fmla="*/ 950 h 2864"/>
                  <a:gd name="T30" fmla="*/ 5880 w 8245"/>
                  <a:gd name="T31" fmla="*/ 851 h 2864"/>
                  <a:gd name="T32" fmla="*/ 5596 w 8245"/>
                  <a:gd name="T33" fmla="*/ 757 h 2864"/>
                  <a:gd name="T34" fmla="*/ 5072 w 8245"/>
                  <a:gd name="T35" fmla="*/ 602 h 2864"/>
                  <a:gd name="T36" fmla="*/ 4426 w 8245"/>
                  <a:gd name="T37" fmla="*/ 444 h 2864"/>
                  <a:gd name="T38" fmla="*/ 3738 w 8245"/>
                  <a:gd name="T39" fmla="*/ 309 h 2864"/>
                  <a:gd name="T40" fmla="*/ 3010 w 8245"/>
                  <a:gd name="T41" fmla="*/ 196 h 2864"/>
                  <a:gd name="T42" fmla="*/ 2246 w 8245"/>
                  <a:gd name="T43" fmla="*/ 107 h 2864"/>
                  <a:gd name="T44" fmla="*/ 1453 w 8245"/>
                  <a:gd name="T45" fmla="*/ 44 h 2864"/>
                  <a:gd name="T46" fmla="*/ 631 w 8245"/>
                  <a:gd name="T47" fmla="*/ 8 h 2864"/>
                  <a:gd name="T48" fmla="*/ 0 w 8245"/>
                  <a:gd name="T49" fmla="*/ 100 h 2864"/>
                  <a:gd name="T50" fmla="*/ 835 w 8245"/>
                  <a:gd name="T51" fmla="*/ 115 h 2864"/>
                  <a:gd name="T52" fmla="*/ 1648 w 8245"/>
                  <a:gd name="T53" fmla="*/ 157 h 2864"/>
                  <a:gd name="T54" fmla="*/ 2431 w 8245"/>
                  <a:gd name="T55" fmla="*/ 227 h 2864"/>
                  <a:gd name="T56" fmla="*/ 3181 w 8245"/>
                  <a:gd name="T57" fmla="*/ 321 h 2864"/>
                  <a:gd name="T58" fmla="*/ 3895 w 8245"/>
                  <a:gd name="T59" fmla="*/ 439 h 2864"/>
                  <a:gd name="T60" fmla="*/ 4570 w 8245"/>
                  <a:gd name="T61" fmla="*/ 580 h 2864"/>
                  <a:gd name="T62" fmla="*/ 5198 w 8245"/>
                  <a:gd name="T63" fmla="*/ 741 h 2864"/>
                  <a:gd name="T64" fmla="*/ 5637 w 8245"/>
                  <a:gd name="T65" fmla="*/ 875 h 2864"/>
                  <a:gd name="T66" fmla="*/ 5915 w 8245"/>
                  <a:gd name="T67" fmla="*/ 970 h 2864"/>
                  <a:gd name="T68" fmla="*/ 6177 w 8245"/>
                  <a:gd name="T69" fmla="*/ 1069 h 2864"/>
                  <a:gd name="T70" fmla="*/ 6426 w 8245"/>
                  <a:gd name="T71" fmla="*/ 1173 h 2864"/>
                  <a:gd name="T72" fmla="*/ 6661 w 8245"/>
                  <a:gd name="T73" fmla="*/ 1280 h 2864"/>
                  <a:gd name="T74" fmla="*/ 6879 w 8245"/>
                  <a:gd name="T75" fmla="*/ 1392 h 2864"/>
                  <a:gd name="T76" fmla="*/ 7083 w 8245"/>
                  <a:gd name="T77" fmla="*/ 1507 h 2864"/>
                  <a:gd name="T78" fmla="*/ 7270 w 8245"/>
                  <a:gd name="T79" fmla="*/ 1625 h 2864"/>
                  <a:gd name="T80" fmla="*/ 7440 w 8245"/>
                  <a:gd name="T81" fmla="*/ 1746 h 2864"/>
                  <a:gd name="T82" fmla="*/ 7594 w 8245"/>
                  <a:gd name="T83" fmla="*/ 1870 h 2864"/>
                  <a:gd name="T84" fmla="*/ 7729 w 8245"/>
                  <a:gd name="T85" fmla="*/ 1998 h 2864"/>
                  <a:gd name="T86" fmla="*/ 7845 w 8245"/>
                  <a:gd name="T87" fmla="*/ 2126 h 2864"/>
                  <a:gd name="T88" fmla="*/ 7943 w 8245"/>
                  <a:gd name="T89" fmla="*/ 2258 h 2864"/>
                  <a:gd name="T90" fmla="*/ 8022 w 8245"/>
                  <a:gd name="T91" fmla="*/ 2390 h 2864"/>
                  <a:gd name="T92" fmla="*/ 8082 w 8245"/>
                  <a:gd name="T93" fmla="*/ 2524 h 2864"/>
                  <a:gd name="T94" fmla="*/ 8122 w 8245"/>
                  <a:gd name="T95" fmla="*/ 2659 h 2864"/>
                  <a:gd name="T96" fmla="*/ 8142 w 8245"/>
                  <a:gd name="T97" fmla="*/ 2796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4">
                    <a:moveTo>
                      <a:pt x="8245" y="2864"/>
                    </a:moveTo>
                    <a:lnTo>
                      <a:pt x="8244" y="2826"/>
                    </a:lnTo>
                    <a:lnTo>
                      <a:pt x="8242" y="2788"/>
                    </a:lnTo>
                    <a:lnTo>
                      <a:pt x="8239" y="2750"/>
                    </a:lnTo>
                    <a:lnTo>
                      <a:pt x="8234" y="2712"/>
                    </a:lnTo>
                    <a:lnTo>
                      <a:pt x="8227" y="2675"/>
                    </a:lnTo>
                    <a:lnTo>
                      <a:pt x="8219" y="2637"/>
                    </a:lnTo>
                    <a:lnTo>
                      <a:pt x="8211" y="2600"/>
                    </a:lnTo>
                    <a:lnTo>
                      <a:pt x="8201" y="2563"/>
                    </a:lnTo>
                    <a:lnTo>
                      <a:pt x="8188" y="2526"/>
                    </a:lnTo>
                    <a:lnTo>
                      <a:pt x="8176" y="2488"/>
                    </a:lnTo>
                    <a:lnTo>
                      <a:pt x="8162" y="2452"/>
                    </a:lnTo>
                    <a:lnTo>
                      <a:pt x="8146" y="2416"/>
                    </a:lnTo>
                    <a:lnTo>
                      <a:pt x="8130" y="2380"/>
                    </a:lnTo>
                    <a:lnTo>
                      <a:pt x="8111" y="2343"/>
                    </a:lnTo>
                    <a:lnTo>
                      <a:pt x="8091" y="2307"/>
                    </a:lnTo>
                    <a:lnTo>
                      <a:pt x="8071" y="2272"/>
                    </a:lnTo>
                    <a:lnTo>
                      <a:pt x="8049" y="2236"/>
                    </a:lnTo>
                    <a:lnTo>
                      <a:pt x="8026" y="2201"/>
                    </a:lnTo>
                    <a:lnTo>
                      <a:pt x="8002" y="2166"/>
                    </a:lnTo>
                    <a:lnTo>
                      <a:pt x="7977" y="2131"/>
                    </a:lnTo>
                    <a:lnTo>
                      <a:pt x="7950" y="2096"/>
                    </a:lnTo>
                    <a:lnTo>
                      <a:pt x="7922" y="2062"/>
                    </a:lnTo>
                    <a:lnTo>
                      <a:pt x="7894" y="2028"/>
                    </a:lnTo>
                    <a:lnTo>
                      <a:pt x="7864" y="1994"/>
                    </a:lnTo>
                    <a:lnTo>
                      <a:pt x="7832" y="1960"/>
                    </a:lnTo>
                    <a:lnTo>
                      <a:pt x="7800" y="1926"/>
                    </a:lnTo>
                    <a:lnTo>
                      <a:pt x="7766" y="1893"/>
                    </a:lnTo>
                    <a:lnTo>
                      <a:pt x="7732" y="1860"/>
                    </a:lnTo>
                    <a:lnTo>
                      <a:pt x="7696" y="1828"/>
                    </a:lnTo>
                    <a:lnTo>
                      <a:pt x="7659" y="1795"/>
                    </a:lnTo>
                    <a:lnTo>
                      <a:pt x="7620" y="1763"/>
                    </a:lnTo>
                    <a:lnTo>
                      <a:pt x="7582" y="1730"/>
                    </a:lnTo>
                    <a:lnTo>
                      <a:pt x="7542" y="1699"/>
                    </a:lnTo>
                    <a:lnTo>
                      <a:pt x="7501" y="1667"/>
                    </a:lnTo>
                    <a:lnTo>
                      <a:pt x="7459" y="1635"/>
                    </a:lnTo>
                    <a:lnTo>
                      <a:pt x="7415" y="1603"/>
                    </a:lnTo>
                    <a:lnTo>
                      <a:pt x="7371" y="1572"/>
                    </a:lnTo>
                    <a:lnTo>
                      <a:pt x="7326" y="1542"/>
                    </a:lnTo>
                    <a:lnTo>
                      <a:pt x="7279" y="1511"/>
                    </a:lnTo>
                    <a:lnTo>
                      <a:pt x="7232" y="1481"/>
                    </a:lnTo>
                    <a:lnTo>
                      <a:pt x="7183" y="1450"/>
                    </a:lnTo>
                    <a:lnTo>
                      <a:pt x="7134" y="1420"/>
                    </a:lnTo>
                    <a:lnTo>
                      <a:pt x="7083" y="1391"/>
                    </a:lnTo>
                    <a:lnTo>
                      <a:pt x="7032" y="1361"/>
                    </a:lnTo>
                    <a:lnTo>
                      <a:pt x="6980" y="1332"/>
                    </a:lnTo>
                    <a:lnTo>
                      <a:pt x="6927" y="1303"/>
                    </a:lnTo>
                    <a:lnTo>
                      <a:pt x="6872" y="1275"/>
                    </a:lnTo>
                    <a:lnTo>
                      <a:pt x="6817" y="1246"/>
                    </a:lnTo>
                    <a:lnTo>
                      <a:pt x="6761" y="1218"/>
                    </a:lnTo>
                    <a:lnTo>
                      <a:pt x="6704" y="1190"/>
                    </a:lnTo>
                    <a:lnTo>
                      <a:pt x="6645" y="1162"/>
                    </a:lnTo>
                    <a:lnTo>
                      <a:pt x="6587" y="1136"/>
                    </a:lnTo>
                    <a:lnTo>
                      <a:pt x="6527" y="1108"/>
                    </a:lnTo>
                    <a:lnTo>
                      <a:pt x="6466" y="1081"/>
                    </a:lnTo>
                    <a:lnTo>
                      <a:pt x="6404" y="1055"/>
                    </a:lnTo>
                    <a:lnTo>
                      <a:pt x="6341" y="1028"/>
                    </a:lnTo>
                    <a:lnTo>
                      <a:pt x="6278" y="1002"/>
                    </a:lnTo>
                    <a:lnTo>
                      <a:pt x="6214" y="976"/>
                    </a:lnTo>
                    <a:lnTo>
                      <a:pt x="6149" y="950"/>
                    </a:lnTo>
                    <a:lnTo>
                      <a:pt x="6083" y="925"/>
                    </a:lnTo>
                    <a:lnTo>
                      <a:pt x="6016" y="901"/>
                    </a:lnTo>
                    <a:lnTo>
                      <a:pt x="5948" y="876"/>
                    </a:lnTo>
                    <a:lnTo>
                      <a:pt x="5880" y="851"/>
                    </a:lnTo>
                    <a:lnTo>
                      <a:pt x="5809" y="827"/>
                    </a:lnTo>
                    <a:lnTo>
                      <a:pt x="5739" y="803"/>
                    </a:lnTo>
                    <a:lnTo>
                      <a:pt x="5668" y="779"/>
                    </a:lnTo>
                    <a:lnTo>
                      <a:pt x="5596" y="757"/>
                    </a:lnTo>
                    <a:lnTo>
                      <a:pt x="5524" y="734"/>
                    </a:lnTo>
                    <a:lnTo>
                      <a:pt x="5376" y="688"/>
                    </a:lnTo>
                    <a:lnTo>
                      <a:pt x="5225" y="645"/>
                    </a:lnTo>
                    <a:lnTo>
                      <a:pt x="5072" y="602"/>
                    </a:lnTo>
                    <a:lnTo>
                      <a:pt x="4914" y="561"/>
                    </a:lnTo>
                    <a:lnTo>
                      <a:pt x="4754" y="521"/>
                    </a:lnTo>
                    <a:lnTo>
                      <a:pt x="4592" y="482"/>
                    </a:lnTo>
                    <a:lnTo>
                      <a:pt x="4426" y="444"/>
                    </a:lnTo>
                    <a:lnTo>
                      <a:pt x="4258" y="409"/>
                    </a:lnTo>
                    <a:lnTo>
                      <a:pt x="4087" y="374"/>
                    </a:lnTo>
                    <a:lnTo>
                      <a:pt x="3914" y="341"/>
                    </a:lnTo>
                    <a:lnTo>
                      <a:pt x="3738" y="309"/>
                    </a:lnTo>
                    <a:lnTo>
                      <a:pt x="3559" y="279"/>
                    </a:lnTo>
                    <a:lnTo>
                      <a:pt x="3379" y="250"/>
                    </a:lnTo>
                    <a:lnTo>
                      <a:pt x="3196" y="222"/>
                    </a:lnTo>
                    <a:lnTo>
                      <a:pt x="3010" y="196"/>
                    </a:lnTo>
                    <a:lnTo>
                      <a:pt x="2823" y="171"/>
                    </a:lnTo>
                    <a:lnTo>
                      <a:pt x="2633" y="148"/>
                    </a:lnTo>
                    <a:lnTo>
                      <a:pt x="2441" y="126"/>
                    </a:lnTo>
                    <a:lnTo>
                      <a:pt x="2246" y="107"/>
                    </a:lnTo>
                    <a:lnTo>
                      <a:pt x="2052" y="88"/>
                    </a:lnTo>
                    <a:lnTo>
                      <a:pt x="1854" y="72"/>
                    </a:lnTo>
                    <a:lnTo>
                      <a:pt x="1654" y="57"/>
                    </a:lnTo>
                    <a:lnTo>
                      <a:pt x="1453" y="44"/>
                    </a:lnTo>
                    <a:lnTo>
                      <a:pt x="1250" y="32"/>
                    </a:lnTo>
                    <a:lnTo>
                      <a:pt x="1045" y="23"/>
                    </a:lnTo>
                    <a:lnTo>
                      <a:pt x="838" y="15"/>
                    </a:lnTo>
                    <a:lnTo>
                      <a:pt x="631" y="8"/>
                    </a:lnTo>
                    <a:lnTo>
                      <a:pt x="422" y="3"/>
                    </a:lnTo>
                    <a:lnTo>
                      <a:pt x="212" y="0"/>
                    </a:lnTo>
                    <a:lnTo>
                      <a:pt x="0" y="0"/>
                    </a:lnTo>
                    <a:lnTo>
                      <a:pt x="0" y="100"/>
                    </a:lnTo>
                    <a:lnTo>
                      <a:pt x="211" y="102"/>
                    </a:lnTo>
                    <a:lnTo>
                      <a:pt x="420" y="104"/>
                    </a:lnTo>
                    <a:lnTo>
                      <a:pt x="628" y="108"/>
                    </a:lnTo>
                    <a:lnTo>
                      <a:pt x="835" y="115"/>
                    </a:lnTo>
                    <a:lnTo>
                      <a:pt x="1040" y="122"/>
                    </a:lnTo>
                    <a:lnTo>
                      <a:pt x="1245" y="133"/>
                    </a:lnTo>
                    <a:lnTo>
                      <a:pt x="1447" y="144"/>
                    </a:lnTo>
                    <a:lnTo>
                      <a:pt x="1648" y="157"/>
                    </a:lnTo>
                    <a:lnTo>
                      <a:pt x="1845" y="172"/>
                    </a:lnTo>
                    <a:lnTo>
                      <a:pt x="2042" y="188"/>
                    </a:lnTo>
                    <a:lnTo>
                      <a:pt x="2237" y="207"/>
                    </a:lnTo>
                    <a:lnTo>
                      <a:pt x="2431" y="227"/>
                    </a:lnTo>
                    <a:lnTo>
                      <a:pt x="2622" y="247"/>
                    </a:lnTo>
                    <a:lnTo>
                      <a:pt x="2810" y="270"/>
                    </a:lnTo>
                    <a:lnTo>
                      <a:pt x="2997" y="295"/>
                    </a:lnTo>
                    <a:lnTo>
                      <a:pt x="3181" y="321"/>
                    </a:lnTo>
                    <a:lnTo>
                      <a:pt x="3364" y="348"/>
                    </a:lnTo>
                    <a:lnTo>
                      <a:pt x="3543" y="377"/>
                    </a:lnTo>
                    <a:lnTo>
                      <a:pt x="3721" y="408"/>
                    </a:lnTo>
                    <a:lnTo>
                      <a:pt x="3895" y="439"/>
                    </a:lnTo>
                    <a:lnTo>
                      <a:pt x="4069" y="472"/>
                    </a:lnTo>
                    <a:lnTo>
                      <a:pt x="4238" y="506"/>
                    </a:lnTo>
                    <a:lnTo>
                      <a:pt x="4405" y="542"/>
                    </a:lnTo>
                    <a:lnTo>
                      <a:pt x="4570" y="580"/>
                    </a:lnTo>
                    <a:lnTo>
                      <a:pt x="4731" y="618"/>
                    </a:lnTo>
                    <a:lnTo>
                      <a:pt x="4890" y="658"/>
                    </a:lnTo>
                    <a:lnTo>
                      <a:pt x="5046" y="699"/>
                    </a:lnTo>
                    <a:lnTo>
                      <a:pt x="5198" y="741"/>
                    </a:lnTo>
                    <a:lnTo>
                      <a:pt x="5348" y="785"/>
                    </a:lnTo>
                    <a:lnTo>
                      <a:pt x="5494" y="829"/>
                    </a:lnTo>
                    <a:lnTo>
                      <a:pt x="5566" y="852"/>
                    </a:lnTo>
                    <a:lnTo>
                      <a:pt x="5637" y="875"/>
                    </a:lnTo>
                    <a:lnTo>
                      <a:pt x="5707" y="899"/>
                    </a:lnTo>
                    <a:lnTo>
                      <a:pt x="5778" y="922"/>
                    </a:lnTo>
                    <a:lnTo>
                      <a:pt x="5847" y="946"/>
                    </a:lnTo>
                    <a:lnTo>
                      <a:pt x="5915" y="970"/>
                    </a:lnTo>
                    <a:lnTo>
                      <a:pt x="5982" y="995"/>
                    </a:lnTo>
                    <a:lnTo>
                      <a:pt x="6048" y="1020"/>
                    </a:lnTo>
                    <a:lnTo>
                      <a:pt x="6113" y="1044"/>
                    </a:lnTo>
                    <a:lnTo>
                      <a:pt x="6177" y="1069"/>
                    </a:lnTo>
                    <a:lnTo>
                      <a:pt x="6241" y="1095"/>
                    </a:lnTo>
                    <a:lnTo>
                      <a:pt x="6304" y="1121"/>
                    </a:lnTo>
                    <a:lnTo>
                      <a:pt x="6365" y="1147"/>
                    </a:lnTo>
                    <a:lnTo>
                      <a:pt x="6426" y="1173"/>
                    </a:lnTo>
                    <a:lnTo>
                      <a:pt x="6487" y="1200"/>
                    </a:lnTo>
                    <a:lnTo>
                      <a:pt x="6545" y="1227"/>
                    </a:lnTo>
                    <a:lnTo>
                      <a:pt x="6603" y="1254"/>
                    </a:lnTo>
                    <a:lnTo>
                      <a:pt x="6661" y="1280"/>
                    </a:lnTo>
                    <a:lnTo>
                      <a:pt x="6716" y="1308"/>
                    </a:lnTo>
                    <a:lnTo>
                      <a:pt x="6772" y="1336"/>
                    </a:lnTo>
                    <a:lnTo>
                      <a:pt x="6827" y="1364"/>
                    </a:lnTo>
                    <a:lnTo>
                      <a:pt x="6879" y="1392"/>
                    </a:lnTo>
                    <a:lnTo>
                      <a:pt x="6932" y="1420"/>
                    </a:lnTo>
                    <a:lnTo>
                      <a:pt x="6983" y="1449"/>
                    </a:lnTo>
                    <a:lnTo>
                      <a:pt x="7034" y="1478"/>
                    </a:lnTo>
                    <a:lnTo>
                      <a:pt x="7083" y="1507"/>
                    </a:lnTo>
                    <a:lnTo>
                      <a:pt x="7132" y="1536"/>
                    </a:lnTo>
                    <a:lnTo>
                      <a:pt x="7178" y="1565"/>
                    </a:lnTo>
                    <a:lnTo>
                      <a:pt x="7225" y="1595"/>
                    </a:lnTo>
                    <a:lnTo>
                      <a:pt x="7270" y="1625"/>
                    </a:lnTo>
                    <a:lnTo>
                      <a:pt x="7314" y="1655"/>
                    </a:lnTo>
                    <a:lnTo>
                      <a:pt x="7358" y="1685"/>
                    </a:lnTo>
                    <a:lnTo>
                      <a:pt x="7400" y="1716"/>
                    </a:lnTo>
                    <a:lnTo>
                      <a:pt x="7440" y="1746"/>
                    </a:lnTo>
                    <a:lnTo>
                      <a:pt x="7480" y="1777"/>
                    </a:lnTo>
                    <a:lnTo>
                      <a:pt x="7519" y="1808"/>
                    </a:lnTo>
                    <a:lnTo>
                      <a:pt x="7557" y="1839"/>
                    </a:lnTo>
                    <a:lnTo>
                      <a:pt x="7594" y="1870"/>
                    </a:lnTo>
                    <a:lnTo>
                      <a:pt x="7629" y="1902"/>
                    </a:lnTo>
                    <a:lnTo>
                      <a:pt x="7664" y="1934"/>
                    </a:lnTo>
                    <a:lnTo>
                      <a:pt x="7697" y="1966"/>
                    </a:lnTo>
                    <a:lnTo>
                      <a:pt x="7729" y="1998"/>
                    </a:lnTo>
                    <a:lnTo>
                      <a:pt x="7760" y="2030"/>
                    </a:lnTo>
                    <a:lnTo>
                      <a:pt x="7789" y="2062"/>
                    </a:lnTo>
                    <a:lnTo>
                      <a:pt x="7818" y="2094"/>
                    </a:lnTo>
                    <a:lnTo>
                      <a:pt x="7845" y="2126"/>
                    </a:lnTo>
                    <a:lnTo>
                      <a:pt x="7872" y="2159"/>
                    </a:lnTo>
                    <a:lnTo>
                      <a:pt x="7897" y="2191"/>
                    </a:lnTo>
                    <a:lnTo>
                      <a:pt x="7920" y="2224"/>
                    </a:lnTo>
                    <a:lnTo>
                      <a:pt x="7943" y="2258"/>
                    </a:lnTo>
                    <a:lnTo>
                      <a:pt x="7966" y="2290"/>
                    </a:lnTo>
                    <a:lnTo>
                      <a:pt x="7985" y="2323"/>
                    </a:lnTo>
                    <a:lnTo>
                      <a:pt x="8005" y="2356"/>
                    </a:lnTo>
                    <a:lnTo>
                      <a:pt x="8022" y="2390"/>
                    </a:lnTo>
                    <a:lnTo>
                      <a:pt x="8039" y="2423"/>
                    </a:lnTo>
                    <a:lnTo>
                      <a:pt x="8055" y="2456"/>
                    </a:lnTo>
                    <a:lnTo>
                      <a:pt x="8069" y="2489"/>
                    </a:lnTo>
                    <a:lnTo>
                      <a:pt x="8082" y="2524"/>
                    </a:lnTo>
                    <a:lnTo>
                      <a:pt x="8095" y="2558"/>
                    </a:lnTo>
                    <a:lnTo>
                      <a:pt x="8105" y="2591"/>
                    </a:lnTo>
                    <a:lnTo>
                      <a:pt x="8114" y="2625"/>
                    </a:lnTo>
                    <a:lnTo>
                      <a:pt x="8122" y="2659"/>
                    </a:lnTo>
                    <a:lnTo>
                      <a:pt x="8130" y="2693"/>
                    </a:lnTo>
                    <a:lnTo>
                      <a:pt x="8135" y="2726"/>
                    </a:lnTo>
                    <a:lnTo>
                      <a:pt x="8139" y="2762"/>
                    </a:lnTo>
                    <a:lnTo>
                      <a:pt x="8142" y="2796"/>
                    </a:lnTo>
                    <a:lnTo>
                      <a:pt x="8144" y="2830"/>
                    </a:lnTo>
                    <a:lnTo>
                      <a:pt x="8145" y="2864"/>
                    </a:lnTo>
                    <a:lnTo>
                      <a:pt x="8245"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16" name="Freeform 22"/>
              <p:cNvSpPr>
                <a:spLocks/>
              </p:cNvSpPr>
              <p:nvPr>
                <p:custDataLst>
                  <p:tags r:id="rId259"/>
                </p:custDataLst>
              </p:nvPr>
            </p:nvSpPr>
            <p:spPr bwMode="auto">
              <a:xfrm>
                <a:off x="370" y="3472"/>
                <a:ext cx="714" cy="160"/>
              </a:xfrm>
              <a:custGeom>
                <a:avLst/>
                <a:gdLst>
                  <a:gd name="T0" fmla="*/ 0 w 16419"/>
                  <a:gd name="T1" fmla="*/ 0 h 4020"/>
                  <a:gd name="T2" fmla="*/ 0 w 16419"/>
                  <a:gd name="T3" fmla="*/ 4020 h 4020"/>
                  <a:gd name="T4" fmla="*/ 16415 w 16419"/>
                  <a:gd name="T5" fmla="*/ 4020 h 4020"/>
                  <a:gd name="T6" fmla="*/ 16419 w 16419"/>
                  <a:gd name="T7" fmla="*/ 2 h 4020"/>
                  <a:gd name="T8" fmla="*/ 0 w 16419"/>
                  <a:gd name="T9" fmla="*/ 0 h 4020"/>
                </a:gdLst>
                <a:ahLst/>
                <a:cxnLst>
                  <a:cxn ang="0">
                    <a:pos x="T0" y="T1"/>
                  </a:cxn>
                  <a:cxn ang="0">
                    <a:pos x="T2" y="T3"/>
                  </a:cxn>
                  <a:cxn ang="0">
                    <a:pos x="T4" y="T5"/>
                  </a:cxn>
                  <a:cxn ang="0">
                    <a:pos x="T6" y="T7"/>
                  </a:cxn>
                  <a:cxn ang="0">
                    <a:pos x="T8" y="T9"/>
                  </a:cxn>
                </a:cxnLst>
                <a:rect l="0" t="0" r="r" b="b"/>
                <a:pathLst>
                  <a:path w="16419" h="4020">
                    <a:moveTo>
                      <a:pt x="0" y="0"/>
                    </a:moveTo>
                    <a:lnTo>
                      <a:pt x="0" y="4020"/>
                    </a:lnTo>
                    <a:lnTo>
                      <a:pt x="16415" y="4020"/>
                    </a:lnTo>
                    <a:lnTo>
                      <a:pt x="16419" y="2"/>
                    </a:lnTo>
                    <a:lnTo>
                      <a:pt x="0" y="0"/>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17" name="Freeform 23"/>
              <p:cNvSpPr>
                <a:spLocks/>
              </p:cNvSpPr>
              <p:nvPr>
                <p:custDataLst>
                  <p:tags r:id="rId260"/>
                </p:custDataLst>
              </p:nvPr>
            </p:nvSpPr>
            <p:spPr bwMode="auto">
              <a:xfrm>
                <a:off x="371" y="3356"/>
                <a:ext cx="713" cy="225"/>
              </a:xfrm>
              <a:custGeom>
                <a:avLst/>
                <a:gdLst>
                  <a:gd name="T0" fmla="*/ 16347 w 16389"/>
                  <a:gd name="T1" fmla="*/ 3102 h 5628"/>
                  <a:gd name="T2" fmla="*/ 16132 w 16389"/>
                  <a:gd name="T3" fmla="*/ 3517 h 5628"/>
                  <a:gd name="T4" fmla="*/ 15745 w 16389"/>
                  <a:gd name="T5" fmla="*/ 3909 h 5628"/>
                  <a:gd name="T6" fmla="*/ 15203 w 16389"/>
                  <a:gd name="T7" fmla="*/ 4272 h 5628"/>
                  <a:gd name="T8" fmla="*/ 14518 w 16389"/>
                  <a:gd name="T9" fmla="*/ 4604 h 5628"/>
                  <a:gd name="T10" fmla="*/ 13704 w 16389"/>
                  <a:gd name="T11" fmla="*/ 4896 h 5628"/>
                  <a:gd name="T12" fmla="*/ 12776 w 16389"/>
                  <a:gd name="T13" fmla="*/ 5147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7 h 5628"/>
                  <a:gd name="T30" fmla="*/ 2685 w 16389"/>
                  <a:gd name="T31" fmla="*/ 4896 h 5628"/>
                  <a:gd name="T32" fmla="*/ 1871 w 16389"/>
                  <a:gd name="T33" fmla="*/ 4604 h 5628"/>
                  <a:gd name="T34" fmla="*/ 1186 w 16389"/>
                  <a:gd name="T35" fmla="*/ 4272 h 5628"/>
                  <a:gd name="T36" fmla="*/ 644 w 16389"/>
                  <a:gd name="T37" fmla="*/ 3909 h 5628"/>
                  <a:gd name="T38" fmla="*/ 257 w 16389"/>
                  <a:gd name="T39" fmla="*/ 3517 h 5628"/>
                  <a:gd name="T40" fmla="*/ 42 w 16389"/>
                  <a:gd name="T41" fmla="*/ 3102 h 5628"/>
                  <a:gd name="T42" fmla="*/ 10 w 16389"/>
                  <a:gd name="T43" fmla="*/ 2669 h 5628"/>
                  <a:gd name="T44" fmla="*/ 165 w 16389"/>
                  <a:gd name="T45" fmla="*/ 2247 h 5628"/>
                  <a:gd name="T46" fmla="*/ 496 w 16389"/>
                  <a:gd name="T47" fmla="*/ 1846 h 5628"/>
                  <a:gd name="T48" fmla="*/ 989 w 16389"/>
                  <a:gd name="T49" fmla="*/ 1473 h 5628"/>
                  <a:gd name="T50" fmla="*/ 1628 w 16389"/>
                  <a:gd name="T51" fmla="*/ 1130 h 5628"/>
                  <a:gd name="T52" fmla="*/ 2400 w 16389"/>
                  <a:gd name="T53" fmla="*/ 824 h 5628"/>
                  <a:gd name="T54" fmla="*/ 3292 w 16389"/>
                  <a:gd name="T55" fmla="*/ 559 h 5628"/>
                  <a:gd name="T56" fmla="*/ 4289 w 16389"/>
                  <a:gd name="T57" fmla="*/ 339 h 5628"/>
                  <a:gd name="T58" fmla="*/ 5378 w 16389"/>
                  <a:gd name="T59" fmla="*/ 170 h 5628"/>
                  <a:gd name="T60" fmla="*/ 6543 w 16389"/>
                  <a:gd name="T61" fmla="*/ 57 h 5628"/>
                  <a:gd name="T62" fmla="*/ 7773 w 16389"/>
                  <a:gd name="T63" fmla="*/ 3 h 5628"/>
                  <a:gd name="T64" fmla="*/ 9032 w 16389"/>
                  <a:gd name="T65" fmla="*/ 14 h 5628"/>
                  <a:gd name="T66" fmla="*/ 10241 w 16389"/>
                  <a:gd name="T67" fmla="*/ 88 h 5628"/>
                  <a:gd name="T68" fmla="*/ 11383 w 16389"/>
                  <a:gd name="T69" fmla="*/ 220 h 5628"/>
                  <a:gd name="T70" fmla="*/ 12443 w 16389"/>
                  <a:gd name="T71" fmla="*/ 406 h 5628"/>
                  <a:gd name="T72" fmla="*/ 13407 w 16389"/>
                  <a:gd name="T73" fmla="*/ 642 h 5628"/>
                  <a:gd name="T74" fmla="*/ 14260 w 16389"/>
                  <a:gd name="T75" fmla="*/ 922 h 5628"/>
                  <a:gd name="T76" fmla="*/ 14990 w 16389"/>
                  <a:gd name="T77" fmla="*/ 1241 h 5628"/>
                  <a:gd name="T78" fmla="*/ 15581 w 16389"/>
                  <a:gd name="T79" fmla="*/ 1594 h 5628"/>
                  <a:gd name="T80" fmla="*/ 16022 w 16389"/>
                  <a:gd name="T81" fmla="*/ 1977 h 5628"/>
                  <a:gd name="T82" fmla="*/ 16296 w 16389"/>
                  <a:gd name="T83" fmla="*/ 2385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2"/>
                    </a:lnTo>
                    <a:lnTo>
                      <a:pt x="16224" y="3381"/>
                    </a:lnTo>
                    <a:lnTo>
                      <a:pt x="16132" y="3517"/>
                    </a:lnTo>
                    <a:lnTo>
                      <a:pt x="16022" y="3650"/>
                    </a:lnTo>
                    <a:lnTo>
                      <a:pt x="15893" y="3781"/>
                    </a:lnTo>
                    <a:lnTo>
                      <a:pt x="15745" y="3909"/>
                    </a:lnTo>
                    <a:lnTo>
                      <a:pt x="15581" y="4033"/>
                    </a:lnTo>
                    <a:lnTo>
                      <a:pt x="15400" y="4155"/>
                    </a:lnTo>
                    <a:lnTo>
                      <a:pt x="15203" y="4272"/>
                    </a:lnTo>
                    <a:lnTo>
                      <a:pt x="14990" y="4387"/>
                    </a:lnTo>
                    <a:lnTo>
                      <a:pt x="14761" y="4497"/>
                    </a:lnTo>
                    <a:lnTo>
                      <a:pt x="14518" y="4604"/>
                    </a:lnTo>
                    <a:lnTo>
                      <a:pt x="14260" y="4706"/>
                    </a:lnTo>
                    <a:lnTo>
                      <a:pt x="13989" y="4803"/>
                    </a:lnTo>
                    <a:lnTo>
                      <a:pt x="13704" y="4896"/>
                    </a:lnTo>
                    <a:lnTo>
                      <a:pt x="13407" y="4985"/>
                    </a:lnTo>
                    <a:lnTo>
                      <a:pt x="13096" y="5069"/>
                    </a:lnTo>
                    <a:lnTo>
                      <a:pt x="12776" y="5147"/>
                    </a:lnTo>
                    <a:lnTo>
                      <a:pt x="12443" y="5220"/>
                    </a:lnTo>
                    <a:lnTo>
                      <a:pt x="12100" y="5289"/>
                    </a:lnTo>
                    <a:lnTo>
                      <a:pt x="11746" y="5351"/>
                    </a:lnTo>
                    <a:lnTo>
                      <a:pt x="11383" y="5407"/>
                    </a:lnTo>
                    <a:lnTo>
                      <a:pt x="11011" y="5457"/>
                    </a:lnTo>
                    <a:lnTo>
                      <a:pt x="10631" y="5502"/>
                    </a:lnTo>
                    <a:lnTo>
                      <a:pt x="10241" y="5539"/>
                    </a:lnTo>
                    <a:lnTo>
                      <a:pt x="9846" y="5571"/>
                    </a:lnTo>
                    <a:lnTo>
                      <a:pt x="9442" y="5596"/>
                    </a:lnTo>
                    <a:lnTo>
                      <a:pt x="9032" y="5614"/>
                    </a:lnTo>
                    <a:lnTo>
                      <a:pt x="8616" y="5624"/>
                    </a:lnTo>
                    <a:lnTo>
                      <a:pt x="8195" y="5628"/>
                    </a:lnTo>
                    <a:lnTo>
                      <a:pt x="7773" y="5624"/>
                    </a:lnTo>
                    <a:lnTo>
                      <a:pt x="7357" y="5614"/>
                    </a:lnTo>
                    <a:lnTo>
                      <a:pt x="6947" y="5596"/>
                    </a:lnTo>
                    <a:lnTo>
                      <a:pt x="6543" y="5571"/>
                    </a:lnTo>
                    <a:lnTo>
                      <a:pt x="6148" y="5539"/>
                    </a:lnTo>
                    <a:lnTo>
                      <a:pt x="5758" y="5502"/>
                    </a:lnTo>
                    <a:lnTo>
                      <a:pt x="5378" y="5457"/>
                    </a:lnTo>
                    <a:lnTo>
                      <a:pt x="5006" y="5407"/>
                    </a:lnTo>
                    <a:lnTo>
                      <a:pt x="4643" y="5351"/>
                    </a:lnTo>
                    <a:lnTo>
                      <a:pt x="4289" y="5289"/>
                    </a:lnTo>
                    <a:lnTo>
                      <a:pt x="3946" y="5220"/>
                    </a:lnTo>
                    <a:lnTo>
                      <a:pt x="3613" y="5147"/>
                    </a:lnTo>
                    <a:lnTo>
                      <a:pt x="3292" y="5069"/>
                    </a:lnTo>
                    <a:lnTo>
                      <a:pt x="2982" y="4985"/>
                    </a:lnTo>
                    <a:lnTo>
                      <a:pt x="2685" y="4896"/>
                    </a:lnTo>
                    <a:lnTo>
                      <a:pt x="2400" y="4803"/>
                    </a:lnTo>
                    <a:lnTo>
                      <a:pt x="2129" y="4706"/>
                    </a:lnTo>
                    <a:lnTo>
                      <a:pt x="1871" y="4604"/>
                    </a:lnTo>
                    <a:lnTo>
                      <a:pt x="1628" y="4497"/>
                    </a:lnTo>
                    <a:lnTo>
                      <a:pt x="1399" y="4387"/>
                    </a:lnTo>
                    <a:lnTo>
                      <a:pt x="1186" y="4272"/>
                    </a:lnTo>
                    <a:lnTo>
                      <a:pt x="989" y="4155"/>
                    </a:lnTo>
                    <a:lnTo>
                      <a:pt x="808" y="4033"/>
                    </a:lnTo>
                    <a:lnTo>
                      <a:pt x="644" y="3909"/>
                    </a:lnTo>
                    <a:lnTo>
                      <a:pt x="496" y="3781"/>
                    </a:lnTo>
                    <a:lnTo>
                      <a:pt x="367" y="3650"/>
                    </a:lnTo>
                    <a:lnTo>
                      <a:pt x="257" y="3517"/>
                    </a:lnTo>
                    <a:lnTo>
                      <a:pt x="165" y="3381"/>
                    </a:lnTo>
                    <a:lnTo>
                      <a:pt x="93" y="3242"/>
                    </a:lnTo>
                    <a:lnTo>
                      <a:pt x="42" y="3102"/>
                    </a:lnTo>
                    <a:lnTo>
                      <a:pt x="10" y="2959"/>
                    </a:lnTo>
                    <a:lnTo>
                      <a:pt x="0" y="2814"/>
                    </a:lnTo>
                    <a:lnTo>
                      <a:pt x="10" y="2669"/>
                    </a:lnTo>
                    <a:lnTo>
                      <a:pt x="42" y="2526"/>
                    </a:lnTo>
                    <a:lnTo>
                      <a:pt x="93" y="2385"/>
                    </a:lnTo>
                    <a:lnTo>
                      <a:pt x="165" y="2247"/>
                    </a:lnTo>
                    <a:lnTo>
                      <a:pt x="257" y="2111"/>
                    </a:lnTo>
                    <a:lnTo>
                      <a:pt x="367" y="1977"/>
                    </a:lnTo>
                    <a:lnTo>
                      <a:pt x="496" y="1846"/>
                    </a:lnTo>
                    <a:lnTo>
                      <a:pt x="644" y="1719"/>
                    </a:lnTo>
                    <a:lnTo>
                      <a:pt x="808" y="1594"/>
                    </a:lnTo>
                    <a:lnTo>
                      <a:pt x="989" y="1473"/>
                    </a:lnTo>
                    <a:lnTo>
                      <a:pt x="1186" y="1355"/>
                    </a:lnTo>
                    <a:lnTo>
                      <a:pt x="1399" y="1241"/>
                    </a:lnTo>
                    <a:lnTo>
                      <a:pt x="1628" y="1130"/>
                    </a:lnTo>
                    <a:lnTo>
                      <a:pt x="1871" y="1023"/>
                    </a:lnTo>
                    <a:lnTo>
                      <a:pt x="2129" y="922"/>
                    </a:lnTo>
                    <a:lnTo>
                      <a:pt x="2400" y="824"/>
                    </a:lnTo>
                    <a:lnTo>
                      <a:pt x="2685" y="730"/>
                    </a:lnTo>
                    <a:lnTo>
                      <a:pt x="2982" y="642"/>
                    </a:lnTo>
                    <a:lnTo>
                      <a:pt x="3292" y="559"/>
                    </a:lnTo>
                    <a:lnTo>
                      <a:pt x="3613" y="480"/>
                    </a:lnTo>
                    <a:lnTo>
                      <a:pt x="3946" y="406"/>
                    </a:lnTo>
                    <a:lnTo>
                      <a:pt x="4289" y="339"/>
                    </a:lnTo>
                    <a:lnTo>
                      <a:pt x="4643" y="277"/>
                    </a:lnTo>
                    <a:lnTo>
                      <a:pt x="5006" y="220"/>
                    </a:lnTo>
                    <a:lnTo>
                      <a:pt x="5378" y="170"/>
                    </a:lnTo>
                    <a:lnTo>
                      <a:pt x="5758" y="126"/>
                    </a:lnTo>
                    <a:lnTo>
                      <a:pt x="6148" y="88"/>
                    </a:lnTo>
                    <a:lnTo>
                      <a:pt x="6543" y="57"/>
                    </a:lnTo>
                    <a:lnTo>
                      <a:pt x="6947" y="32"/>
                    </a:lnTo>
                    <a:lnTo>
                      <a:pt x="7357" y="14"/>
                    </a:lnTo>
                    <a:lnTo>
                      <a:pt x="7773" y="3"/>
                    </a:lnTo>
                    <a:lnTo>
                      <a:pt x="8195" y="0"/>
                    </a:lnTo>
                    <a:lnTo>
                      <a:pt x="8616" y="3"/>
                    </a:lnTo>
                    <a:lnTo>
                      <a:pt x="9032" y="14"/>
                    </a:lnTo>
                    <a:lnTo>
                      <a:pt x="9442" y="32"/>
                    </a:lnTo>
                    <a:lnTo>
                      <a:pt x="9846" y="57"/>
                    </a:lnTo>
                    <a:lnTo>
                      <a:pt x="10241" y="88"/>
                    </a:lnTo>
                    <a:lnTo>
                      <a:pt x="10631" y="126"/>
                    </a:lnTo>
                    <a:lnTo>
                      <a:pt x="11011" y="170"/>
                    </a:lnTo>
                    <a:lnTo>
                      <a:pt x="11383" y="220"/>
                    </a:lnTo>
                    <a:lnTo>
                      <a:pt x="11746" y="277"/>
                    </a:lnTo>
                    <a:lnTo>
                      <a:pt x="12100" y="339"/>
                    </a:lnTo>
                    <a:lnTo>
                      <a:pt x="12443" y="406"/>
                    </a:lnTo>
                    <a:lnTo>
                      <a:pt x="12776" y="480"/>
                    </a:lnTo>
                    <a:lnTo>
                      <a:pt x="13096" y="559"/>
                    </a:lnTo>
                    <a:lnTo>
                      <a:pt x="13407" y="642"/>
                    </a:lnTo>
                    <a:lnTo>
                      <a:pt x="13704" y="730"/>
                    </a:lnTo>
                    <a:lnTo>
                      <a:pt x="13989" y="824"/>
                    </a:lnTo>
                    <a:lnTo>
                      <a:pt x="14260" y="922"/>
                    </a:lnTo>
                    <a:lnTo>
                      <a:pt x="14518" y="1023"/>
                    </a:lnTo>
                    <a:lnTo>
                      <a:pt x="14761" y="1130"/>
                    </a:lnTo>
                    <a:lnTo>
                      <a:pt x="14990" y="1241"/>
                    </a:lnTo>
                    <a:lnTo>
                      <a:pt x="15203" y="1355"/>
                    </a:lnTo>
                    <a:lnTo>
                      <a:pt x="15400" y="1473"/>
                    </a:lnTo>
                    <a:lnTo>
                      <a:pt x="15581" y="1594"/>
                    </a:lnTo>
                    <a:lnTo>
                      <a:pt x="15745" y="1719"/>
                    </a:lnTo>
                    <a:lnTo>
                      <a:pt x="15893" y="1846"/>
                    </a:lnTo>
                    <a:lnTo>
                      <a:pt x="16022" y="1977"/>
                    </a:lnTo>
                    <a:lnTo>
                      <a:pt x="16132" y="2111"/>
                    </a:lnTo>
                    <a:lnTo>
                      <a:pt x="16224" y="2247"/>
                    </a:lnTo>
                    <a:lnTo>
                      <a:pt x="16296" y="2385"/>
                    </a:lnTo>
                    <a:lnTo>
                      <a:pt x="16347" y="2526"/>
                    </a:lnTo>
                    <a:lnTo>
                      <a:pt x="16379" y="2669"/>
                    </a:lnTo>
                    <a:lnTo>
                      <a:pt x="16389" y="2814"/>
                    </a:lnTo>
                    <a:close/>
                  </a:path>
                </a:pathLst>
              </a:custGeom>
              <a:solidFill>
                <a:srgbClr val="B8CAD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18" name="Freeform 24"/>
              <p:cNvSpPr>
                <a:spLocks/>
              </p:cNvSpPr>
              <p:nvPr>
                <p:custDataLst>
                  <p:tags r:id="rId261"/>
                </p:custDataLst>
              </p:nvPr>
            </p:nvSpPr>
            <p:spPr bwMode="auto">
              <a:xfrm>
                <a:off x="725" y="3469"/>
                <a:ext cx="361" cy="114"/>
              </a:xfrm>
              <a:custGeom>
                <a:avLst/>
                <a:gdLst>
                  <a:gd name="T0" fmla="*/ 472 w 8295"/>
                  <a:gd name="T1" fmla="*/ 2861 h 2864"/>
                  <a:gd name="T2" fmla="*/ 1300 w 8295"/>
                  <a:gd name="T3" fmla="*/ 2832 h 2864"/>
                  <a:gd name="T4" fmla="*/ 2102 w 8295"/>
                  <a:gd name="T5" fmla="*/ 2776 h 2864"/>
                  <a:gd name="T6" fmla="*/ 2873 w 8295"/>
                  <a:gd name="T7" fmla="*/ 2693 h 2864"/>
                  <a:gd name="T8" fmla="*/ 3609 w 8295"/>
                  <a:gd name="T9" fmla="*/ 2587 h 2864"/>
                  <a:gd name="T10" fmla="*/ 4308 w 8295"/>
                  <a:gd name="T11" fmla="*/ 2456 h 2864"/>
                  <a:gd name="T12" fmla="*/ 4964 w 8295"/>
                  <a:gd name="T13" fmla="*/ 2304 h 2864"/>
                  <a:gd name="T14" fmla="*/ 5426 w 8295"/>
                  <a:gd name="T15" fmla="*/ 2176 h 2864"/>
                  <a:gd name="T16" fmla="*/ 5718 w 8295"/>
                  <a:gd name="T17" fmla="*/ 2085 h 2864"/>
                  <a:gd name="T18" fmla="*/ 5998 w 8295"/>
                  <a:gd name="T19" fmla="*/ 1988 h 2864"/>
                  <a:gd name="T20" fmla="*/ 6264 w 8295"/>
                  <a:gd name="T21" fmla="*/ 1888 h 2864"/>
                  <a:gd name="T22" fmla="*/ 6516 w 8295"/>
                  <a:gd name="T23" fmla="*/ 1783 h 2864"/>
                  <a:gd name="T24" fmla="*/ 6754 w 8295"/>
                  <a:gd name="T25" fmla="*/ 1674 h 2864"/>
                  <a:gd name="T26" fmla="*/ 6977 w 8295"/>
                  <a:gd name="T27" fmla="*/ 1561 h 2864"/>
                  <a:gd name="T28" fmla="*/ 7184 w 8295"/>
                  <a:gd name="T29" fmla="*/ 1444 h 2864"/>
                  <a:gd name="T30" fmla="*/ 7376 w 8295"/>
                  <a:gd name="T31" fmla="*/ 1323 h 2864"/>
                  <a:gd name="T32" fmla="*/ 7551 w 8295"/>
                  <a:gd name="T33" fmla="*/ 1198 h 2864"/>
                  <a:gd name="T34" fmla="*/ 7709 w 8295"/>
                  <a:gd name="T35" fmla="*/ 1069 h 2864"/>
                  <a:gd name="T36" fmla="*/ 7850 w 8295"/>
                  <a:gd name="T37" fmla="*/ 938 h 2864"/>
                  <a:gd name="T38" fmla="*/ 7972 w 8295"/>
                  <a:gd name="T39" fmla="*/ 802 h 2864"/>
                  <a:gd name="T40" fmla="*/ 8076 w 8295"/>
                  <a:gd name="T41" fmla="*/ 663 h 2864"/>
                  <a:gd name="T42" fmla="*/ 8161 w 8295"/>
                  <a:gd name="T43" fmla="*/ 521 h 2864"/>
                  <a:gd name="T44" fmla="*/ 8226 w 8295"/>
                  <a:gd name="T45" fmla="*/ 376 h 2864"/>
                  <a:gd name="T46" fmla="*/ 8269 w 8295"/>
                  <a:gd name="T47" fmla="*/ 227 h 2864"/>
                  <a:gd name="T48" fmla="*/ 8292 w 8295"/>
                  <a:gd name="T49" fmla="*/ 76 h 2864"/>
                  <a:gd name="T50" fmla="*/ 8194 w 8295"/>
                  <a:gd name="T51" fmla="*/ 34 h 2864"/>
                  <a:gd name="T52" fmla="*/ 8180 w 8295"/>
                  <a:gd name="T53" fmla="*/ 172 h 2864"/>
                  <a:gd name="T54" fmla="*/ 8145 w 8295"/>
                  <a:gd name="T55" fmla="*/ 307 h 2864"/>
                  <a:gd name="T56" fmla="*/ 8089 w 8295"/>
                  <a:gd name="T57" fmla="*/ 441 h 2864"/>
                  <a:gd name="T58" fmla="*/ 8016 w 8295"/>
                  <a:gd name="T59" fmla="*/ 574 h 2864"/>
                  <a:gd name="T60" fmla="*/ 7922 w 8295"/>
                  <a:gd name="T61" fmla="*/ 706 h 2864"/>
                  <a:gd name="T62" fmla="*/ 7810 w 8295"/>
                  <a:gd name="T63" fmla="*/ 835 h 2864"/>
                  <a:gd name="T64" fmla="*/ 7679 w 8295"/>
                  <a:gd name="T65" fmla="*/ 963 h 2864"/>
                  <a:gd name="T66" fmla="*/ 7530 w 8295"/>
                  <a:gd name="T67" fmla="*/ 1087 h 2864"/>
                  <a:gd name="T68" fmla="*/ 7364 w 8295"/>
                  <a:gd name="T69" fmla="*/ 1209 h 2864"/>
                  <a:gd name="T70" fmla="*/ 7182 w 8295"/>
                  <a:gd name="T71" fmla="*/ 1328 h 2864"/>
                  <a:gd name="T72" fmla="*/ 6982 w 8295"/>
                  <a:gd name="T73" fmla="*/ 1444 h 2864"/>
                  <a:gd name="T74" fmla="*/ 6766 w 8295"/>
                  <a:gd name="T75" fmla="*/ 1556 h 2864"/>
                  <a:gd name="T76" fmla="*/ 6537 w 8295"/>
                  <a:gd name="T77" fmla="*/ 1664 h 2864"/>
                  <a:gd name="T78" fmla="*/ 6290 w 8295"/>
                  <a:gd name="T79" fmla="*/ 1769 h 2864"/>
                  <a:gd name="T80" fmla="*/ 6032 w 8295"/>
                  <a:gd name="T81" fmla="*/ 1869 h 2864"/>
                  <a:gd name="T82" fmla="*/ 5757 w 8295"/>
                  <a:gd name="T83" fmla="*/ 1965 h 2864"/>
                  <a:gd name="T84" fmla="*/ 5471 w 8295"/>
                  <a:gd name="T85" fmla="*/ 2058 h 2864"/>
                  <a:gd name="T86" fmla="*/ 5096 w 8295"/>
                  <a:gd name="T87" fmla="*/ 2165 h 2864"/>
                  <a:gd name="T88" fmla="*/ 4455 w 8295"/>
                  <a:gd name="T89" fmla="*/ 2322 h 2864"/>
                  <a:gd name="T90" fmla="*/ 3771 w 8295"/>
                  <a:gd name="T91" fmla="*/ 2457 h 2864"/>
                  <a:gd name="T92" fmla="*/ 3047 w 8295"/>
                  <a:gd name="T93" fmla="*/ 2569 h 2864"/>
                  <a:gd name="T94" fmla="*/ 2287 w 8295"/>
                  <a:gd name="T95" fmla="*/ 2658 h 2864"/>
                  <a:gd name="T96" fmla="*/ 1497 w 8295"/>
                  <a:gd name="T97" fmla="*/ 2720 h 2864"/>
                  <a:gd name="T98" fmla="*/ 678 w 8295"/>
                  <a:gd name="T99" fmla="*/ 2756 h 2864"/>
                  <a:gd name="T100" fmla="*/ 50 w 8295"/>
                  <a:gd name="T101" fmla="*/ 2764 h 2864"/>
                  <a:gd name="T102" fmla="*/ 33 w 8295"/>
                  <a:gd name="T103" fmla="*/ 2767 h 2864"/>
                  <a:gd name="T104" fmla="*/ 15 w 8295"/>
                  <a:gd name="T105" fmla="*/ 2776 h 2864"/>
                  <a:gd name="T106" fmla="*/ 0 w 8295"/>
                  <a:gd name="T107" fmla="*/ 2805 h 2864"/>
                  <a:gd name="T108" fmla="*/ 6 w 8295"/>
                  <a:gd name="T109" fmla="*/ 2841 h 2864"/>
                  <a:gd name="T110" fmla="*/ 23 w 8295"/>
                  <a:gd name="T111" fmla="*/ 2858 h 2864"/>
                  <a:gd name="T112" fmla="*/ 43 w 8295"/>
                  <a:gd name="T113" fmla="*/ 2864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4">
                    <a:moveTo>
                      <a:pt x="50" y="2864"/>
                    </a:moveTo>
                    <a:lnTo>
                      <a:pt x="50" y="2864"/>
                    </a:lnTo>
                    <a:lnTo>
                      <a:pt x="262" y="2864"/>
                    </a:lnTo>
                    <a:lnTo>
                      <a:pt x="472" y="2861"/>
                    </a:lnTo>
                    <a:lnTo>
                      <a:pt x="681" y="2856"/>
                    </a:lnTo>
                    <a:lnTo>
                      <a:pt x="888" y="2849"/>
                    </a:lnTo>
                    <a:lnTo>
                      <a:pt x="1095" y="2841"/>
                    </a:lnTo>
                    <a:lnTo>
                      <a:pt x="1300" y="2832"/>
                    </a:lnTo>
                    <a:lnTo>
                      <a:pt x="1503" y="2820"/>
                    </a:lnTo>
                    <a:lnTo>
                      <a:pt x="1704" y="2807"/>
                    </a:lnTo>
                    <a:lnTo>
                      <a:pt x="1904" y="2792"/>
                    </a:lnTo>
                    <a:lnTo>
                      <a:pt x="2102" y="2776"/>
                    </a:lnTo>
                    <a:lnTo>
                      <a:pt x="2296" y="2757"/>
                    </a:lnTo>
                    <a:lnTo>
                      <a:pt x="2491" y="2738"/>
                    </a:lnTo>
                    <a:lnTo>
                      <a:pt x="2683" y="2716"/>
                    </a:lnTo>
                    <a:lnTo>
                      <a:pt x="2873" y="2693"/>
                    </a:lnTo>
                    <a:lnTo>
                      <a:pt x="3060" y="2668"/>
                    </a:lnTo>
                    <a:lnTo>
                      <a:pt x="3246" y="2642"/>
                    </a:lnTo>
                    <a:lnTo>
                      <a:pt x="3429" y="2615"/>
                    </a:lnTo>
                    <a:lnTo>
                      <a:pt x="3609" y="2587"/>
                    </a:lnTo>
                    <a:lnTo>
                      <a:pt x="3788" y="2555"/>
                    </a:lnTo>
                    <a:lnTo>
                      <a:pt x="3964" y="2523"/>
                    </a:lnTo>
                    <a:lnTo>
                      <a:pt x="4137" y="2490"/>
                    </a:lnTo>
                    <a:lnTo>
                      <a:pt x="4308" y="2456"/>
                    </a:lnTo>
                    <a:lnTo>
                      <a:pt x="4476" y="2420"/>
                    </a:lnTo>
                    <a:lnTo>
                      <a:pt x="4642" y="2383"/>
                    </a:lnTo>
                    <a:lnTo>
                      <a:pt x="4804" y="2343"/>
                    </a:lnTo>
                    <a:lnTo>
                      <a:pt x="4964" y="2304"/>
                    </a:lnTo>
                    <a:lnTo>
                      <a:pt x="5122" y="2263"/>
                    </a:lnTo>
                    <a:lnTo>
                      <a:pt x="5275" y="2219"/>
                    </a:lnTo>
                    <a:lnTo>
                      <a:pt x="5351" y="2197"/>
                    </a:lnTo>
                    <a:lnTo>
                      <a:pt x="5426" y="2176"/>
                    </a:lnTo>
                    <a:lnTo>
                      <a:pt x="5500" y="2153"/>
                    </a:lnTo>
                    <a:lnTo>
                      <a:pt x="5574" y="2131"/>
                    </a:lnTo>
                    <a:lnTo>
                      <a:pt x="5646" y="2107"/>
                    </a:lnTo>
                    <a:lnTo>
                      <a:pt x="5718" y="2085"/>
                    </a:lnTo>
                    <a:lnTo>
                      <a:pt x="5789" y="2061"/>
                    </a:lnTo>
                    <a:lnTo>
                      <a:pt x="5859" y="2037"/>
                    </a:lnTo>
                    <a:lnTo>
                      <a:pt x="5930" y="2013"/>
                    </a:lnTo>
                    <a:lnTo>
                      <a:pt x="5998" y="1988"/>
                    </a:lnTo>
                    <a:lnTo>
                      <a:pt x="6066" y="1963"/>
                    </a:lnTo>
                    <a:lnTo>
                      <a:pt x="6133" y="1939"/>
                    </a:lnTo>
                    <a:lnTo>
                      <a:pt x="6199" y="1914"/>
                    </a:lnTo>
                    <a:lnTo>
                      <a:pt x="6264" y="1888"/>
                    </a:lnTo>
                    <a:lnTo>
                      <a:pt x="6328" y="1862"/>
                    </a:lnTo>
                    <a:lnTo>
                      <a:pt x="6391" y="1836"/>
                    </a:lnTo>
                    <a:lnTo>
                      <a:pt x="6454" y="1809"/>
                    </a:lnTo>
                    <a:lnTo>
                      <a:pt x="6516" y="1783"/>
                    </a:lnTo>
                    <a:lnTo>
                      <a:pt x="6577" y="1756"/>
                    </a:lnTo>
                    <a:lnTo>
                      <a:pt x="6637" y="1728"/>
                    </a:lnTo>
                    <a:lnTo>
                      <a:pt x="6695" y="1702"/>
                    </a:lnTo>
                    <a:lnTo>
                      <a:pt x="6754" y="1674"/>
                    </a:lnTo>
                    <a:lnTo>
                      <a:pt x="6811" y="1646"/>
                    </a:lnTo>
                    <a:lnTo>
                      <a:pt x="6867" y="1618"/>
                    </a:lnTo>
                    <a:lnTo>
                      <a:pt x="6922" y="1590"/>
                    </a:lnTo>
                    <a:lnTo>
                      <a:pt x="6977" y="1561"/>
                    </a:lnTo>
                    <a:lnTo>
                      <a:pt x="7030" y="1532"/>
                    </a:lnTo>
                    <a:lnTo>
                      <a:pt x="7082" y="1503"/>
                    </a:lnTo>
                    <a:lnTo>
                      <a:pt x="7133" y="1473"/>
                    </a:lnTo>
                    <a:lnTo>
                      <a:pt x="7184" y="1444"/>
                    </a:lnTo>
                    <a:lnTo>
                      <a:pt x="7233" y="1414"/>
                    </a:lnTo>
                    <a:lnTo>
                      <a:pt x="7282" y="1384"/>
                    </a:lnTo>
                    <a:lnTo>
                      <a:pt x="7329" y="1353"/>
                    </a:lnTo>
                    <a:lnTo>
                      <a:pt x="7376" y="1323"/>
                    </a:lnTo>
                    <a:lnTo>
                      <a:pt x="7421" y="1292"/>
                    </a:lnTo>
                    <a:lnTo>
                      <a:pt x="7465" y="1261"/>
                    </a:lnTo>
                    <a:lnTo>
                      <a:pt x="7509" y="1230"/>
                    </a:lnTo>
                    <a:lnTo>
                      <a:pt x="7551" y="1198"/>
                    </a:lnTo>
                    <a:lnTo>
                      <a:pt x="7592" y="1165"/>
                    </a:lnTo>
                    <a:lnTo>
                      <a:pt x="7632" y="1134"/>
                    </a:lnTo>
                    <a:lnTo>
                      <a:pt x="7670" y="1102"/>
                    </a:lnTo>
                    <a:lnTo>
                      <a:pt x="7709" y="1069"/>
                    </a:lnTo>
                    <a:lnTo>
                      <a:pt x="7746" y="1037"/>
                    </a:lnTo>
                    <a:lnTo>
                      <a:pt x="7782" y="1004"/>
                    </a:lnTo>
                    <a:lnTo>
                      <a:pt x="7816" y="971"/>
                    </a:lnTo>
                    <a:lnTo>
                      <a:pt x="7850" y="938"/>
                    </a:lnTo>
                    <a:lnTo>
                      <a:pt x="7882" y="904"/>
                    </a:lnTo>
                    <a:lnTo>
                      <a:pt x="7914" y="870"/>
                    </a:lnTo>
                    <a:lnTo>
                      <a:pt x="7944" y="836"/>
                    </a:lnTo>
                    <a:lnTo>
                      <a:pt x="7972" y="802"/>
                    </a:lnTo>
                    <a:lnTo>
                      <a:pt x="8000" y="768"/>
                    </a:lnTo>
                    <a:lnTo>
                      <a:pt x="8027" y="733"/>
                    </a:lnTo>
                    <a:lnTo>
                      <a:pt x="8052" y="699"/>
                    </a:lnTo>
                    <a:lnTo>
                      <a:pt x="8076" y="663"/>
                    </a:lnTo>
                    <a:lnTo>
                      <a:pt x="8099" y="628"/>
                    </a:lnTo>
                    <a:lnTo>
                      <a:pt x="8121" y="592"/>
                    </a:lnTo>
                    <a:lnTo>
                      <a:pt x="8141" y="557"/>
                    </a:lnTo>
                    <a:lnTo>
                      <a:pt x="8161" y="521"/>
                    </a:lnTo>
                    <a:lnTo>
                      <a:pt x="8180" y="484"/>
                    </a:lnTo>
                    <a:lnTo>
                      <a:pt x="8196" y="448"/>
                    </a:lnTo>
                    <a:lnTo>
                      <a:pt x="8212" y="412"/>
                    </a:lnTo>
                    <a:lnTo>
                      <a:pt x="8226" y="376"/>
                    </a:lnTo>
                    <a:lnTo>
                      <a:pt x="8238" y="338"/>
                    </a:lnTo>
                    <a:lnTo>
                      <a:pt x="8251" y="301"/>
                    </a:lnTo>
                    <a:lnTo>
                      <a:pt x="8261" y="265"/>
                    </a:lnTo>
                    <a:lnTo>
                      <a:pt x="8269" y="227"/>
                    </a:lnTo>
                    <a:lnTo>
                      <a:pt x="8277" y="189"/>
                    </a:lnTo>
                    <a:lnTo>
                      <a:pt x="8284" y="152"/>
                    </a:lnTo>
                    <a:lnTo>
                      <a:pt x="8289" y="114"/>
                    </a:lnTo>
                    <a:lnTo>
                      <a:pt x="8292" y="76"/>
                    </a:lnTo>
                    <a:lnTo>
                      <a:pt x="8294" y="38"/>
                    </a:lnTo>
                    <a:lnTo>
                      <a:pt x="8295" y="0"/>
                    </a:lnTo>
                    <a:lnTo>
                      <a:pt x="8195" y="0"/>
                    </a:lnTo>
                    <a:lnTo>
                      <a:pt x="8194" y="34"/>
                    </a:lnTo>
                    <a:lnTo>
                      <a:pt x="8192" y="69"/>
                    </a:lnTo>
                    <a:lnTo>
                      <a:pt x="8189" y="103"/>
                    </a:lnTo>
                    <a:lnTo>
                      <a:pt x="8185" y="138"/>
                    </a:lnTo>
                    <a:lnTo>
                      <a:pt x="8180" y="172"/>
                    </a:lnTo>
                    <a:lnTo>
                      <a:pt x="8172" y="205"/>
                    </a:lnTo>
                    <a:lnTo>
                      <a:pt x="8164" y="239"/>
                    </a:lnTo>
                    <a:lnTo>
                      <a:pt x="8155" y="273"/>
                    </a:lnTo>
                    <a:lnTo>
                      <a:pt x="8145" y="307"/>
                    </a:lnTo>
                    <a:lnTo>
                      <a:pt x="8132" y="340"/>
                    </a:lnTo>
                    <a:lnTo>
                      <a:pt x="8119" y="375"/>
                    </a:lnTo>
                    <a:lnTo>
                      <a:pt x="8105" y="408"/>
                    </a:lnTo>
                    <a:lnTo>
                      <a:pt x="8089" y="441"/>
                    </a:lnTo>
                    <a:lnTo>
                      <a:pt x="8072" y="475"/>
                    </a:lnTo>
                    <a:lnTo>
                      <a:pt x="8055" y="508"/>
                    </a:lnTo>
                    <a:lnTo>
                      <a:pt x="8035" y="541"/>
                    </a:lnTo>
                    <a:lnTo>
                      <a:pt x="8016" y="574"/>
                    </a:lnTo>
                    <a:lnTo>
                      <a:pt x="7993" y="608"/>
                    </a:lnTo>
                    <a:lnTo>
                      <a:pt x="7970" y="640"/>
                    </a:lnTo>
                    <a:lnTo>
                      <a:pt x="7947" y="673"/>
                    </a:lnTo>
                    <a:lnTo>
                      <a:pt x="7922" y="706"/>
                    </a:lnTo>
                    <a:lnTo>
                      <a:pt x="7895" y="738"/>
                    </a:lnTo>
                    <a:lnTo>
                      <a:pt x="7868" y="770"/>
                    </a:lnTo>
                    <a:lnTo>
                      <a:pt x="7839" y="803"/>
                    </a:lnTo>
                    <a:lnTo>
                      <a:pt x="7810" y="835"/>
                    </a:lnTo>
                    <a:lnTo>
                      <a:pt x="7779" y="867"/>
                    </a:lnTo>
                    <a:lnTo>
                      <a:pt x="7747" y="898"/>
                    </a:lnTo>
                    <a:lnTo>
                      <a:pt x="7714" y="930"/>
                    </a:lnTo>
                    <a:lnTo>
                      <a:pt x="7679" y="963"/>
                    </a:lnTo>
                    <a:lnTo>
                      <a:pt x="7644" y="994"/>
                    </a:lnTo>
                    <a:lnTo>
                      <a:pt x="7607" y="1025"/>
                    </a:lnTo>
                    <a:lnTo>
                      <a:pt x="7569" y="1056"/>
                    </a:lnTo>
                    <a:lnTo>
                      <a:pt x="7530" y="1087"/>
                    </a:lnTo>
                    <a:lnTo>
                      <a:pt x="7490" y="1118"/>
                    </a:lnTo>
                    <a:lnTo>
                      <a:pt x="7450" y="1148"/>
                    </a:lnTo>
                    <a:lnTo>
                      <a:pt x="7408" y="1179"/>
                    </a:lnTo>
                    <a:lnTo>
                      <a:pt x="7364" y="1209"/>
                    </a:lnTo>
                    <a:lnTo>
                      <a:pt x="7320" y="1239"/>
                    </a:lnTo>
                    <a:lnTo>
                      <a:pt x="7275" y="1269"/>
                    </a:lnTo>
                    <a:lnTo>
                      <a:pt x="7228" y="1299"/>
                    </a:lnTo>
                    <a:lnTo>
                      <a:pt x="7182" y="1328"/>
                    </a:lnTo>
                    <a:lnTo>
                      <a:pt x="7133" y="1357"/>
                    </a:lnTo>
                    <a:lnTo>
                      <a:pt x="7084" y="1386"/>
                    </a:lnTo>
                    <a:lnTo>
                      <a:pt x="7033" y="1415"/>
                    </a:lnTo>
                    <a:lnTo>
                      <a:pt x="6982" y="1444"/>
                    </a:lnTo>
                    <a:lnTo>
                      <a:pt x="6929" y="1472"/>
                    </a:lnTo>
                    <a:lnTo>
                      <a:pt x="6877" y="1501"/>
                    </a:lnTo>
                    <a:lnTo>
                      <a:pt x="6822" y="1529"/>
                    </a:lnTo>
                    <a:lnTo>
                      <a:pt x="6766" y="1556"/>
                    </a:lnTo>
                    <a:lnTo>
                      <a:pt x="6711" y="1584"/>
                    </a:lnTo>
                    <a:lnTo>
                      <a:pt x="6653" y="1610"/>
                    </a:lnTo>
                    <a:lnTo>
                      <a:pt x="6595" y="1637"/>
                    </a:lnTo>
                    <a:lnTo>
                      <a:pt x="6537" y="1664"/>
                    </a:lnTo>
                    <a:lnTo>
                      <a:pt x="6476" y="1691"/>
                    </a:lnTo>
                    <a:lnTo>
                      <a:pt x="6415" y="1717"/>
                    </a:lnTo>
                    <a:lnTo>
                      <a:pt x="6354" y="1743"/>
                    </a:lnTo>
                    <a:lnTo>
                      <a:pt x="6290" y="1769"/>
                    </a:lnTo>
                    <a:lnTo>
                      <a:pt x="6227" y="1795"/>
                    </a:lnTo>
                    <a:lnTo>
                      <a:pt x="6163" y="1820"/>
                    </a:lnTo>
                    <a:lnTo>
                      <a:pt x="6098" y="1845"/>
                    </a:lnTo>
                    <a:lnTo>
                      <a:pt x="6032" y="1869"/>
                    </a:lnTo>
                    <a:lnTo>
                      <a:pt x="5965" y="1894"/>
                    </a:lnTo>
                    <a:lnTo>
                      <a:pt x="5897" y="1918"/>
                    </a:lnTo>
                    <a:lnTo>
                      <a:pt x="5828" y="1942"/>
                    </a:lnTo>
                    <a:lnTo>
                      <a:pt x="5757" y="1965"/>
                    </a:lnTo>
                    <a:lnTo>
                      <a:pt x="5687" y="1989"/>
                    </a:lnTo>
                    <a:lnTo>
                      <a:pt x="5616" y="2012"/>
                    </a:lnTo>
                    <a:lnTo>
                      <a:pt x="5544" y="2035"/>
                    </a:lnTo>
                    <a:lnTo>
                      <a:pt x="5471" y="2058"/>
                    </a:lnTo>
                    <a:lnTo>
                      <a:pt x="5398" y="2079"/>
                    </a:lnTo>
                    <a:lnTo>
                      <a:pt x="5324" y="2101"/>
                    </a:lnTo>
                    <a:lnTo>
                      <a:pt x="5248" y="2123"/>
                    </a:lnTo>
                    <a:lnTo>
                      <a:pt x="5096" y="2165"/>
                    </a:lnTo>
                    <a:lnTo>
                      <a:pt x="4940" y="2207"/>
                    </a:lnTo>
                    <a:lnTo>
                      <a:pt x="4781" y="2246"/>
                    </a:lnTo>
                    <a:lnTo>
                      <a:pt x="4620" y="2284"/>
                    </a:lnTo>
                    <a:lnTo>
                      <a:pt x="4455" y="2322"/>
                    </a:lnTo>
                    <a:lnTo>
                      <a:pt x="4288" y="2358"/>
                    </a:lnTo>
                    <a:lnTo>
                      <a:pt x="4119" y="2392"/>
                    </a:lnTo>
                    <a:lnTo>
                      <a:pt x="3945" y="2425"/>
                    </a:lnTo>
                    <a:lnTo>
                      <a:pt x="3771" y="2457"/>
                    </a:lnTo>
                    <a:lnTo>
                      <a:pt x="3593" y="2487"/>
                    </a:lnTo>
                    <a:lnTo>
                      <a:pt x="3414" y="2516"/>
                    </a:lnTo>
                    <a:lnTo>
                      <a:pt x="3231" y="2543"/>
                    </a:lnTo>
                    <a:lnTo>
                      <a:pt x="3047" y="2569"/>
                    </a:lnTo>
                    <a:lnTo>
                      <a:pt x="2860" y="2594"/>
                    </a:lnTo>
                    <a:lnTo>
                      <a:pt x="2672" y="2617"/>
                    </a:lnTo>
                    <a:lnTo>
                      <a:pt x="2481" y="2637"/>
                    </a:lnTo>
                    <a:lnTo>
                      <a:pt x="2287" y="2658"/>
                    </a:lnTo>
                    <a:lnTo>
                      <a:pt x="2092" y="2676"/>
                    </a:lnTo>
                    <a:lnTo>
                      <a:pt x="1895" y="2692"/>
                    </a:lnTo>
                    <a:lnTo>
                      <a:pt x="1698" y="2707"/>
                    </a:lnTo>
                    <a:lnTo>
                      <a:pt x="1497" y="2720"/>
                    </a:lnTo>
                    <a:lnTo>
                      <a:pt x="1295" y="2731"/>
                    </a:lnTo>
                    <a:lnTo>
                      <a:pt x="1090" y="2742"/>
                    </a:lnTo>
                    <a:lnTo>
                      <a:pt x="885" y="2750"/>
                    </a:lnTo>
                    <a:lnTo>
                      <a:pt x="678" y="2756"/>
                    </a:lnTo>
                    <a:lnTo>
                      <a:pt x="470" y="2760"/>
                    </a:lnTo>
                    <a:lnTo>
                      <a:pt x="261" y="2762"/>
                    </a:lnTo>
                    <a:lnTo>
                      <a:pt x="50" y="2764"/>
                    </a:lnTo>
                    <a:lnTo>
                      <a:pt x="50" y="2764"/>
                    </a:lnTo>
                    <a:lnTo>
                      <a:pt x="50" y="2764"/>
                    </a:lnTo>
                    <a:lnTo>
                      <a:pt x="43" y="2765"/>
                    </a:lnTo>
                    <a:lnTo>
                      <a:pt x="38" y="2765"/>
                    </a:lnTo>
                    <a:lnTo>
                      <a:pt x="33" y="2767"/>
                    </a:lnTo>
                    <a:lnTo>
                      <a:pt x="28" y="2769"/>
                    </a:lnTo>
                    <a:lnTo>
                      <a:pt x="23" y="2771"/>
                    </a:lnTo>
                    <a:lnTo>
                      <a:pt x="19" y="2773"/>
                    </a:lnTo>
                    <a:lnTo>
                      <a:pt x="15" y="2776"/>
                    </a:lnTo>
                    <a:lnTo>
                      <a:pt x="12" y="2780"/>
                    </a:lnTo>
                    <a:lnTo>
                      <a:pt x="6" y="2787"/>
                    </a:lnTo>
                    <a:lnTo>
                      <a:pt x="3" y="2796"/>
                    </a:lnTo>
                    <a:lnTo>
                      <a:pt x="0" y="2805"/>
                    </a:lnTo>
                    <a:lnTo>
                      <a:pt x="0" y="2814"/>
                    </a:lnTo>
                    <a:lnTo>
                      <a:pt x="0" y="2824"/>
                    </a:lnTo>
                    <a:lnTo>
                      <a:pt x="3" y="2833"/>
                    </a:lnTo>
                    <a:lnTo>
                      <a:pt x="6" y="2841"/>
                    </a:lnTo>
                    <a:lnTo>
                      <a:pt x="12" y="2848"/>
                    </a:lnTo>
                    <a:lnTo>
                      <a:pt x="15" y="2853"/>
                    </a:lnTo>
                    <a:lnTo>
                      <a:pt x="19" y="2856"/>
                    </a:lnTo>
                    <a:lnTo>
                      <a:pt x="23" y="2858"/>
                    </a:lnTo>
                    <a:lnTo>
                      <a:pt x="28" y="2860"/>
                    </a:lnTo>
                    <a:lnTo>
                      <a:pt x="33" y="2862"/>
                    </a:lnTo>
                    <a:lnTo>
                      <a:pt x="38" y="2863"/>
                    </a:lnTo>
                    <a:lnTo>
                      <a:pt x="43" y="2864"/>
                    </a:lnTo>
                    <a:lnTo>
                      <a:pt x="50"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19" name="Freeform 25"/>
              <p:cNvSpPr>
                <a:spLocks/>
              </p:cNvSpPr>
              <p:nvPr>
                <p:custDataLst>
                  <p:tags r:id="rId262"/>
                </p:custDataLst>
              </p:nvPr>
            </p:nvSpPr>
            <p:spPr bwMode="auto">
              <a:xfrm>
                <a:off x="369" y="3467"/>
                <a:ext cx="359" cy="116"/>
              </a:xfrm>
              <a:custGeom>
                <a:avLst/>
                <a:gdLst>
                  <a:gd name="T0" fmla="*/ 3 w 8246"/>
                  <a:gd name="T1" fmla="*/ 127 h 2915"/>
                  <a:gd name="T2" fmla="*/ 25 w 8246"/>
                  <a:gd name="T3" fmla="*/ 278 h 2915"/>
                  <a:gd name="T4" fmla="*/ 69 w 8246"/>
                  <a:gd name="T5" fmla="*/ 427 h 2915"/>
                  <a:gd name="T6" fmla="*/ 134 w 8246"/>
                  <a:gd name="T7" fmla="*/ 572 h 2915"/>
                  <a:gd name="T8" fmla="*/ 219 w 8246"/>
                  <a:gd name="T9" fmla="*/ 714 h 2915"/>
                  <a:gd name="T10" fmla="*/ 323 w 8246"/>
                  <a:gd name="T11" fmla="*/ 853 h 2915"/>
                  <a:gd name="T12" fmla="*/ 445 w 8246"/>
                  <a:gd name="T13" fmla="*/ 989 h 2915"/>
                  <a:gd name="T14" fmla="*/ 586 w 8246"/>
                  <a:gd name="T15" fmla="*/ 1120 h 2915"/>
                  <a:gd name="T16" fmla="*/ 744 w 8246"/>
                  <a:gd name="T17" fmla="*/ 1249 h 2915"/>
                  <a:gd name="T18" fmla="*/ 919 w 8246"/>
                  <a:gd name="T19" fmla="*/ 1374 h 2915"/>
                  <a:gd name="T20" fmla="*/ 1111 w 8246"/>
                  <a:gd name="T21" fmla="*/ 1495 h 2915"/>
                  <a:gd name="T22" fmla="*/ 1318 w 8246"/>
                  <a:gd name="T23" fmla="*/ 1612 h 2915"/>
                  <a:gd name="T24" fmla="*/ 1541 w 8246"/>
                  <a:gd name="T25" fmla="*/ 1725 h 2915"/>
                  <a:gd name="T26" fmla="*/ 1779 w 8246"/>
                  <a:gd name="T27" fmla="*/ 1834 h 2915"/>
                  <a:gd name="T28" fmla="*/ 2030 w 8246"/>
                  <a:gd name="T29" fmla="*/ 1939 h 2915"/>
                  <a:gd name="T30" fmla="*/ 2297 w 8246"/>
                  <a:gd name="T31" fmla="*/ 2039 h 2915"/>
                  <a:gd name="T32" fmla="*/ 2577 w 8246"/>
                  <a:gd name="T33" fmla="*/ 2136 h 2915"/>
                  <a:gd name="T34" fmla="*/ 2869 w 8246"/>
                  <a:gd name="T35" fmla="*/ 2227 h 2915"/>
                  <a:gd name="T36" fmla="*/ 3331 w 8246"/>
                  <a:gd name="T37" fmla="*/ 2355 h 2915"/>
                  <a:gd name="T38" fmla="*/ 3987 w 8246"/>
                  <a:gd name="T39" fmla="*/ 2507 h 2915"/>
                  <a:gd name="T40" fmla="*/ 4686 w 8246"/>
                  <a:gd name="T41" fmla="*/ 2638 h 2915"/>
                  <a:gd name="T42" fmla="*/ 5422 w 8246"/>
                  <a:gd name="T43" fmla="*/ 2744 h 2915"/>
                  <a:gd name="T44" fmla="*/ 6193 w 8246"/>
                  <a:gd name="T45" fmla="*/ 2827 h 2915"/>
                  <a:gd name="T46" fmla="*/ 6995 w 8246"/>
                  <a:gd name="T47" fmla="*/ 2883 h 2915"/>
                  <a:gd name="T48" fmla="*/ 7823 w 8246"/>
                  <a:gd name="T49" fmla="*/ 2912 h 2915"/>
                  <a:gd name="T50" fmla="*/ 8034 w 8246"/>
                  <a:gd name="T51" fmla="*/ 2813 h 2915"/>
                  <a:gd name="T52" fmla="*/ 7205 w 8246"/>
                  <a:gd name="T53" fmla="*/ 2793 h 2915"/>
                  <a:gd name="T54" fmla="*/ 6400 w 8246"/>
                  <a:gd name="T55" fmla="*/ 2743 h 2915"/>
                  <a:gd name="T56" fmla="*/ 5623 w 8246"/>
                  <a:gd name="T57" fmla="*/ 2668 h 2915"/>
                  <a:gd name="T58" fmla="*/ 4881 w 8246"/>
                  <a:gd name="T59" fmla="*/ 2567 h 2915"/>
                  <a:gd name="T60" fmla="*/ 4176 w 8246"/>
                  <a:gd name="T61" fmla="*/ 2443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1 h 2915"/>
                  <a:gd name="T76" fmla="*/ 1418 w 8246"/>
                  <a:gd name="T77" fmla="*/ 1552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9 h 2915"/>
                  <a:gd name="T94" fmla="*/ 175 w 8246"/>
                  <a:gd name="T95" fmla="*/ 426 h 2915"/>
                  <a:gd name="T96" fmla="*/ 131 w 8246"/>
                  <a:gd name="T97" fmla="*/ 290 h 2915"/>
                  <a:gd name="T98" fmla="*/ 106 w 8246"/>
                  <a:gd name="T99" fmla="*/ 154 h 2915"/>
                  <a:gd name="T100" fmla="*/ 100 w 8246"/>
                  <a:gd name="T101" fmla="*/ 51 h 2915"/>
                  <a:gd name="T102" fmla="*/ 98 w 8246"/>
                  <a:gd name="T103" fmla="*/ 33 h 2915"/>
                  <a:gd name="T104" fmla="*/ 88 w 8246"/>
                  <a:gd name="T105" fmla="*/ 17 h 2915"/>
                  <a:gd name="T106" fmla="*/ 60 w 8246"/>
                  <a:gd name="T107" fmla="*/ 1 h 2915"/>
                  <a:gd name="T108" fmla="*/ 23 w 8246"/>
                  <a:gd name="T109" fmla="*/ 7 h 2915"/>
                  <a:gd name="T110" fmla="*/ 6 w 8246"/>
                  <a:gd name="T111" fmla="*/ 24 h 2915"/>
                  <a:gd name="T112" fmla="*/ 0 w 8246"/>
                  <a:gd name="T113" fmla="*/ 45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1"/>
                    </a:moveTo>
                    <a:lnTo>
                      <a:pt x="0" y="51"/>
                    </a:lnTo>
                    <a:lnTo>
                      <a:pt x="1" y="89"/>
                    </a:lnTo>
                    <a:lnTo>
                      <a:pt x="3" y="127"/>
                    </a:lnTo>
                    <a:lnTo>
                      <a:pt x="6" y="165"/>
                    </a:lnTo>
                    <a:lnTo>
                      <a:pt x="11" y="203"/>
                    </a:lnTo>
                    <a:lnTo>
                      <a:pt x="18" y="240"/>
                    </a:lnTo>
                    <a:lnTo>
                      <a:pt x="25" y="278"/>
                    </a:lnTo>
                    <a:lnTo>
                      <a:pt x="34" y="316"/>
                    </a:lnTo>
                    <a:lnTo>
                      <a:pt x="44" y="352"/>
                    </a:lnTo>
                    <a:lnTo>
                      <a:pt x="56" y="389"/>
                    </a:lnTo>
                    <a:lnTo>
                      <a:pt x="69" y="427"/>
                    </a:lnTo>
                    <a:lnTo>
                      <a:pt x="83" y="463"/>
                    </a:lnTo>
                    <a:lnTo>
                      <a:pt x="99" y="499"/>
                    </a:lnTo>
                    <a:lnTo>
                      <a:pt x="115" y="535"/>
                    </a:lnTo>
                    <a:lnTo>
                      <a:pt x="134" y="572"/>
                    </a:lnTo>
                    <a:lnTo>
                      <a:pt x="154" y="608"/>
                    </a:lnTo>
                    <a:lnTo>
                      <a:pt x="174" y="643"/>
                    </a:lnTo>
                    <a:lnTo>
                      <a:pt x="196" y="679"/>
                    </a:lnTo>
                    <a:lnTo>
                      <a:pt x="219" y="714"/>
                    </a:lnTo>
                    <a:lnTo>
                      <a:pt x="243" y="750"/>
                    </a:lnTo>
                    <a:lnTo>
                      <a:pt x="268" y="784"/>
                    </a:lnTo>
                    <a:lnTo>
                      <a:pt x="295" y="819"/>
                    </a:lnTo>
                    <a:lnTo>
                      <a:pt x="323" y="853"/>
                    </a:lnTo>
                    <a:lnTo>
                      <a:pt x="351" y="887"/>
                    </a:lnTo>
                    <a:lnTo>
                      <a:pt x="381" y="921"/>
                    </a:lnTo>
                    <a:lnTo>
                      <a:pt x="413" y="955"/>
                    </a:lnTo>
                    <a:lnTo>
                      <a:pt x="445" y="989"/>
                    </a:lnTo>
                    <a:lnTo>
                      <a:pt x="479" y="1022"/>
                    </a:lnTo>
                    <a:lnTo>
                      <a:pt x="513" y="1055"/>
                    </a:lnTo>
                    <a:lnTo>
                      <a:pt x="549" y="1088"/>
                    </a:lnTo>
                    <a:lnTo>
                      <a:pt x="586" y="1120"/>
                    </a:lnTo>
                    <a:lnTo>
                      <a:pt x="624" y="1153"/>
                    </a:lnTo>
                    <a:lnTo>
                      <a:pt x="663" y="1185"/>
                    </a:lnTo>
                    <a:lnTo>
                      <a:pt x="703" y="1216"/>
                    </a:lnTo>
                    <a:lnTo>
                      <a:pt x="744" y="1249"/>
                    </a:lnTo>
                    <a:lnTo>
                      <a:pt x="786" y="1281"/>
                    </a:lnTo>
                    <a:lnTo>
                      <a:pt x="830" y="1312"/>
                    </a:lnTo>
                    <a:lnTo>
                      <a:pt x="874" y="1343"/>
                    </a:lnTo>
                    <a:lnTo>
                      <a:pt x="919" y="1374"/>
                    </a:lnTo>
                    <a:lnTo>
                      <a:pt x="966" y="1404"/>
                    </a:lnTo>
                    <a:lnTo>
                      <a:pt x="1013" y="1435"/>
                    </a:lnTo>
                    <a:lnTo>
                      <a:pt x="1062" y="1465"/>
                    </a:lnTo>
                    <a:lnTo>
                      <a:pt x="1111" y="1495"/>
                    </a:lnTo>
                    <a:lnTo>
                      <a:pt x="1162" y="1524"/>
                    </a:lnTo>
                    <a:lnTo>
                      <a:pt x="1212" y="1554"/>
                    </a:lnTo>
                    <a:lnTo>
                      <a:pt x="1265" y="1583"/>
                    </a:lnTo>
                    <a:lnTo>
                      <a:pt x="1318" y="1612"/>
                    </a:lnTo>
                    <a:lnTo>
                      <a:pt x="1373" y="1641"/>
                    </a:lnTo>
                    <a:lnTo>
                      <a:pt x="1428" y="1669"/>
                    </a:lnTo>
                    <a:lnTo>
                      <a:pt x="1484" y="1697"/>
                    </a:lnTo>
                    <a:lnTo>
                      <a:pt x="1541" y="1725"/>
                    </a:lnTo>
                    <a:lnTo>
                      <a:pt x="1600" y="1753"/>
                    </a:lnTo>
                    <a:lnTo>
                      <a:pt x="1658" y="1779"/>
                    </a:lnTo>
                    <a:lnTo>
                      <a:pt x="1718" y="1807"/>
                    </a:lnTo>
                    <a:lnTo>
                      <a:pt x="1779" y="1834"/>
                    </a:lnTo>
                    <a:lnTo>
                      <a:pt x="1841" y="1860"/>
                    </a:lnTo>
                    <a:lnTo>
                      <a:pt x="1904" y="1887"/>
                    </a:lnTo>
                    <a:lnTo>
                      <a:pt x="1967" y="1913"/>
                    </a:lnTo>
                    <a:lnTo>
                      <a:pt x="2030" y="1939"/>
                    </a:lnTo>
                    <a:lnTo>
                      <a:pt x="2096" y="1965"/>
                    </a:lnTo>
                    <a:lnTo>
                      <a:pt x="2162" y="1990"/>
                    </a:lnTo>
                    <a:lnTo>
                      <a:pt x="2229" y="2014"/>
                    </a:lnTo>
                    <a:lnTo>
                      <a:pt x="2297" y="2039"/>
                    </a:lnTo>
                    <a:lnTo>
                      <a:pt x="2365" y="2064"/>
                    </a:lnTo>
                    <a:lnTo>
                      <a:pt x="2436" y="2088"/>
                    </a:lnTo>
                    <a:lnTo>
                      <a:pt x="2506" y="2112"/>
                    </a:lnTo>
                    <a:lnTo>
                      <a:pt x="2577" y="2136"/>
                    </a:lnTo>
                    <a:lnTo>
                      <a:pt x="2649" y="2158"/>
                    </a:lnTo>
                    <a:lnTo>
                      <a:pt x="2721" y="2182"/>
                    </a:lnTo>
                    <a:lnTo>
                      <a:pt x="2794" y="2204"/>
                    </a:lnTo>
                    <a:lnTo>
                      <a:pt x="2869" y="2227"/>
                    </a:lnTo>
                    <a:lnTo>
                      <a:pt x="2944" y="2248"/>
                    </a:lnTo>
                    <a:lnTo>
                      <a:pt x="3020" y="2270"/>
                    </a:lnTo>
                    <a:lnTo>
                      <a:pt x="3173" y="2314"/>
                    </a:lnTo>
                    <a:lnTo>
                      <a:pt x="3331" y="2355"/>
                    </a:lnTo>
                    <a:lnTo>
                      <a:pt x="3491" y="2394"/>
                    </a:lnTo>
                    <a:lnTo>
                      <a:pt x="3653" y="2434"/>
                    </a:lnTo>
                    <a:lnTo>
                      <a:pt x="3819" y="2471"/>
                    </a:lnTo>
                    <a:lnTo>
                      <a:pt x="3987" y="2507"/>
                    </a:lnTo>
                    <a:lnTo>
                      <a:pt x="4158" y="2541"/>
                    </a:lnTo>
                    <a:lnTo>
                      <a:pt x="4331" y="2574"/>
                    </a:lnTo>
                    <a:lnTo>
                      <a:pt x="4507" y="2606"/>
                    </a:lnTo>
                    <a:lnTo>
                      <a:pt x="4686" y="2638"/>
                    </a:lnTo>
                    <a:lnTo>
                      <a:pt x="4866" y="2666"/>
                    </a:lnTo>
                    <a:lnTo>
                      <a:pt x="5049" y="2693"/>
                    </a:lnTo>
                    <a:lnTo>
                      <a:pt x="5235" y="2719"/>
                    </a:lnTo>
                    <a:lnTo>
                      <a:pt x="5422" y="2744"/>
                    </a:lnTo>
                    <a:lnTo>
                      <a:pt x="5612" y="2767"/>
                    </a:lnTo>
                    <a:lnTo>
                      <a:pt x="5804" y="2789"/>
                    </a:lnTo>
                    <a:lnTo>
                      <a:pt x="5998" y="2808"/>
                    </a:lnTo>
                    <a:lnTo>
                      <a:pt x="6193" y="2827"/>
                    </a:lnTo>
                    <a:lnTo>
                      <a:pt x="6391" y="2843"/>
                    </a:lnTo>
                    <a:lnTo>
                      <a:pt x="6591" y="2858"/>
                    </a:lnTo>
                    <a:lnTo>
                      <a:pt x="6792" y="2871"/>
                    </a:lnTo>
                    <a:lnTo>
                      <a:pt x="6995" y="2883"/>
                    </a:lnTo>
                    <a:lnTo>
                      <a:pt x="7200" y="2892"/>
                    </a:lnTo>
                    <a:lnTo>
                      <a:pt x="7407" y="2900"/>
                    </a:lnTo>
                    <a:lnTo>
                      <a:pt x="7614" y="2907"/>
                    </a:lnTo>
                    <a:lnTo>
                      <a:pt x="7823" y="2912"/>
                    </a:lnTo>
                    <a:lnTo>
                      <a:pt x="8034" y="2915"/>
                    </a:lnTo>
                    <a:lnTo>
                      <a:pt x="8246" y="2915"/>
                    </a:lnTo>
                    <a:lnTo>
                      <a:pt x="8246" y="2815"/>
                    </a:lnTo>
                    <a:lnTo>
                      <a:pt x="8034" y="2813"/>
                    </a:lnTo>
                    <a:lnTo>
                      <a:pt x="7825" y="2811"/>
                    </a:lnTo>
                    <a:lnTo>
                      <a:pt x="7617" y="2807"/>
                    </a:lnTo>
                    <a:lnTo>
                      <a:pt x="7410" y="2801"/>
                    </a:lnTo>
                    <a:lnTo>
                      <a:pt x="7205" y="2793"/>
                    </a:lnTo>
                    <a:lnTo>
                      <a:pt x="7000" y="2782"/>
                    </a:lnTo>
                    <a:lnTo>
                      <a:pt x="6798" y="2771"/>
                    </a:lnTo>
                    <a:lnTo>
                      <a:pt x="6597" y="2758"/>
                    </a:lnTo>
                    <a:lnTo>
                      <a:pt x="6400" y="2743"/>
                    </a:lnTo>
                    <a:lnTo>
                      <a:pt x="6203" y="2727"/>
                    </a:lnTo>
                    <a:lnTo>
                      <a:pt x="6008" y="2709"/>
                    </a:lnTo>
                    <a:lnTo>
                      <a:pt x="5814" y="2688"/>
                    </a:lnTo>
                    <a:lnTo>
                      <a:pt x="5623" y="2668"/>
                    </a:lnTo>
                    <a:lnTo>
                      <a:pt x="5435" y="2645"/>
                    </a:lnTo>
                    <a:lnTo>
                      <a:pt x="5248" y="2620"/>
                    </a:lnTo>
                    <a:lnTo>
                      <a:pt x="5064" y="2594"/>
                    </a:lnTo>
                    <a:lnTo>
                      <a:pt x="4881" y="2567"/>
                    </a:lnTo>
                    <a:lnTo>
                      <a:pt x="4702" y="2538"/>
                    </a:lnTo>
                    <a:lnTo>
                      <a:pt x="4524" y="2508"/>
                    </a:lnTo>
                    <a:lnTo>
                      <a:pt x="4350" y="2476"/>
                    </a:lnTo>
                    <a:lnTo>
                      <a:pt x="4176" y="2443"/>
                    </a:lnTo>
                    <a:lnTo>
                      <a:pt x="4007" y="2409"/>
                    </a:lnTo>
                    <a:lnTo>
                      <a:pt x="3839" y="2373"/>
                    </a:lnTo>
                    <a:lnTo>
                      <a:pt x="3675" y="2335"/>
                    </a:lnTo>
                    <a:lnTo>
                      <a:pt x="3514" y="2297"/>
                    </a:lnTo>
                    <a:lnTo>
                      <a:pt x="3355" y="2258"/>
                    </a:lnTo>
                    <a:lnTo>
                      <a:pt x="3199" y="2216"/>
                    </a:lnTo>
                    <a:lnTo>
                      <a:pt x="3047" y="2174"/>
                    </a:lnTo>
                    <a:lnTo>
                      <a:pt x="2971" y="2152"/>
                    </a:lnTo>
                    <a:lnTo>
                      <a:pt x="2897" y="2130"/>
                    </a:lnTo>
                    <a:lnTo>
                      <a:pt x="2824" y="2109"/>
                    </a:lnTo>
                    <a:lnTo>
                      <a:pt x="2751" y="2086"/>
                    </a:lnTo>
                    <a:lnTo>
                      <a:pt x="2679" y="2063"/>
                    </a:lnTo>
                    <a:lnTo>
                      <a:pt x="2608" y="2040"/>
                    </a:lnTo>
                    <a:lnTo>
                      <a:pt x="2538" y="2016"/>
                    </a:lnTo>
                    <a:lnTo>
                      <a:pt x="2467" y="1993"/>
                    </a:lnTo>
                    <a:lnTo>
                      <a:pt x="2398" y="1969"/>
                    </a:lnTo>
                    <a:lnTo>
                      <a:pt x="2330" y="1945"/>
                    </a:lnTo>
                    <a:lnTo>
                      <a:pt x="2263" y="1920"/>
                    </a:lnTo>
                    <a:lnTo>
                      <a:pt x="2197" y="1896"/>
                    </a:lnTo>
                    <a:lnTo>
                      <a:pt x="2132" y="1871"/>
                    </a:lnTo>
                    <a:lnTo>
                      <a:pt x="2068" y="1846"/>
                    </a:lnTo>
                    <a:lnTo>
                      <a:pt x="2004" y="1820"/>
                    </a:lnTo>
                    <a:lnTo>
                      <a:pt x="1941" y="1794"/>
                    </a:lnTo>
                    <a:lnTo>
                      <a:pt x="1880" y="1768"/>
                    </a:lnTo>
                    <a:lnTo>
                      <a:pt x="1819" y="1742"/>
                    </a:lnTo>
                    <a:lnTo>
                      <a:pt x="1758" y="1715"/>
                    </a:lnTo>
                    <a:lnTo>
                      <a:pt x="1700" y="1688"/>
                    </a:lnTo>
                    <a:lnTo>
                      <a:pt x="1642" y="1661"/>
                    </a:lnTo>
                    <a:lnTo>
                      <a:pt x="1584" y="1635"/>
                    </a:lnTo>
                    <a:lnTo>
                      <a:pt x="1529" y="1607"/>
                    </a:lnTo>
                    <a:lnTo>
                      <a:pt x="1473" y="1580"/>
                    </a:lnTo>
                    <a:lnTo>
                      <a:pt x="1418" y="1552"/>
                    </a:lnTo>
                    <a:lnTo>
                      <a:pt x="1366" y="1523"/>
                    </a:lnTo>
                    <a:lnTo>
                      <a:pt x="1313" y="1495"/>
                    </a:lnTo>
                    <a:lnTo>
                      <a:pt x="1262" y="1466"/>
                    </a:lnTo>
                    <a:lnTo>
                      <a:pt x="1211" y="1437"/>
                    </a:lnTo>
                    <a:lnTo>
                      <a:pt x="1162" y="1408"/>
                    </a:lnTo>
                    <a:lnTo>
                      <a:pt x="1113" y="1379"/>
                    </a:lnTo>
                    <a:lnTo>
                      <a:pt x="1066" y="1350"/>
                    </a:lnTo>
                    <a:lnTo>
                      <a:pt x="1020" y="1320"/>
                    </a:lnTo>
                    <a:lnTo>
                      <a:pt x="975" y="1290"/>
                    </a:lnTo>
                    <a:lnTo>
                      <a:pt x="931" y="1260"/>
                    </a:lnTo>
                    <a:lnTo>
                      <a:pt x="887" y="1230"/>
                    </a:lnTo>
                    <a:lnTo>
                      <a:pt x="845" y="1199"/>
                    </a:lnTo>
                    <a:lnTo>
                      <a:pt x="804" y="1169"/>
                    </a:lnTo>
                    <a:lnTo>
                      <a:pt x="765" y="1138"/>
                    </a:lnTo>
                    <a:lnTo>
                      <a:pt x="726" y="1107"/>
                    </a:lnTo>
                    <a:lnTo>
                      <a:pt x="688" y="1076"/>
                    </a:lnTo>
                    <a:lnTo>
                      <a:pt x="651" y="1045"/>
                    </a:lnTo>
                    <a:lnTo>
                      <a:pt x="616" y="1014"/>
                    </a:lnTo>
                    <a:lnTo>
                      <a:pt x="581" y="981"/>
                    </a:lnTo>
                    <a:lnTo>
                      <a:pt x="548" y="949"/>
                    </a:lnTo>
                    <a:lnTo>
                      <a:pt x="516" y="918"/>
                    </a:lnTo>
                    <a:lnTo>
                      <a:pt x="485" y="886"/>
                    </a:lnTo>
                    <a:lnTo>
                      <a:pt x="456" y="854"/>
                    </a:lnTo>
                    <a:lnTo>
                      <a:pt x="427" y="821"/>
                    </a:lnTo>
                    <a:lnTo>
                      <a:pt x="400" y="789"/>
                    </a:lnTo>
                    <a:lnTo>
                      <a:pt x="373" y="757"/>
                    </a:lnTo>
                    <a:lnTo>
                      <a:pt x="348" y="724"/>
                    </a:lnTo>
                    <a:lnTo>
                      <a:pt x="324" y="691"/>
                    </a:lnTo>
                    <a:lnTo>
                      <a:pt x="301" y="659"/>
                    </a:lnTo>
                    <a:lnTo>
                      <a:pt x="280" y="625"/>
                    </a:lnTo>
                    <a:lnTo>
                      <a:pt x="260" y="592"/>
                    </a:lnTo>
                    <a:lnTo>
                      <a:pt x="240" y="559"/>
                    </a:lnTo>
                    <a:lnTo>
                      <a:pt x="223" y="526"/>
                    </a:lnTo>
                    <a:lnTo>
                      <a:pt x="205" y="492"/>
                    </a:lnTo>
                    <a:lnTo>
                      <a:pt x="190" y="459"/>
                    </a:lnTo>
                    <a:lnTo>
                      <a:pt x="175" y="426"/>
                    </a:lnTo>
                    <a:lnTo>
                      <a:pt x="163" y="391"/>
                    </a:lnTo>
                    <a:lnTo>
                      <a:pt x="150" y="358"/>
                    </a:lnTo>
                    <a:lnTo>
                      <a:pt x="140" y="324"/>
                    </a:lnTo>
                    <a:lnTo>
                      <a:pt x="131" y="290"/>
                    </a:lnTo>
                    <a:lnTo>
                      <a:pt x="123" y="256"/>
                    </a:lnTo>
                    <a:lnTo>
                      <a:pt x="115" y="223"/>
                    </a:lnTo>
                    <a:lnTo>
                      <a:pt x="110" y="189"/>
                    </a:lnTo>
                    <a:lnTo>
                      <a:pt x="106" y="154"/>
                    </a:lnTo>
                    <a:lnTo>
                      <a:pt x="102" y="120"/>
                    </a:lnTo>
                    <a:lnTo>
                      <a:pt x="101" y="85"/>
                    </a:lnTo>
                    <a:lnTo>
                      <a:pt x="100" y="51"/>
                    </a:lnTo>
                    <a:lnTo>
                      <a:pt x="100" y="51"/>
                    </a:lnTo>
                    <a:lnTo>
                      <a:pt x="100" y="51"/>
                    </a:lnTo>
                    <a:lnTo>
                      <a:pt x="100" y="45"/>
                    </a:lnTo>
                    <a:lnTo>
                      <a:pt x="99" y="39"/>
                    </a:lnTo>
                    <a:lnTo>
                      <a:pt x="98" y="33"/>
                    </a:lnTo>
                    <a:lnTo>
                      <a:pt x="96" y="29"/>
                    </a:lnTo>
                    <a:lnTo>
                      <a:pt x="94" y="24"/>
                    </a:lnTo>
                    <a:lnTo>
                      <a:pt x="91" y="20"/>
                    </a:lnTo>
                    <a:lnTo>
                      <a:pt x="88" y="17"/>
                    </a:lnTo>
                    <a:lnTo>
                      <a:pt x="85" y="13"/>
                    </a:lnTo>
                    <a:lnTo>
                      <a:pt x="77" y="7"/>
                    </a:lnTo>
                    <a:lnTo>
                      <a:pt x="68" y="3"/>
                    </a:lnTo>
                    <a:lnTo>
                      <a:pt x="60" y="1"/>
                    </a:lnTo>
                    <a:lnTo>
                      <a:pt x="51" y="0"/>
                    </a:lnTo>
                    <a:lnTo>
                      <a:pt x="40" y="1"/>
                    </a:lnTo>
                    <a:lnTo>
                      <a:pt x="32" y="3"/>
                    </a:lnTo>
                    <a:lnTo>
                      <a:pt x="23" y="7"/>
                    </a:lnTo>
                    <a:lnTo>
                      <a:pt x="15" y="13"/>
                    </a:lnTo>
                    <a:lnTo>
                      <a:pt x="12" y="17"/>
                    </a:lnTo>
                    <a:lnTo>
                      <a:pt x="9" y="20"/>
                    </a:lnTo>
                    <a:lnTo>
                      <a:pt x="6" y="24"/>
                    </a:lnTo>
                    <a:lnTo>
                      <a:pt x="4" y="29"/>
                    </a:lnTo>
                    <a:lnTo>
                      <a:pt x="2" y="33"/>
                    </a:lnTo>
                    <a:lnTo>
                      <a:pt x="1" y="39"/>
                    </a:lnTo>
                    <a:lnTo>
                      <a:pt x="0" y="45"/>
                    </a:lnTo>
                    <a:lnTo>
                      <a:pt x="0" y="51"/>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20" name="Freeform 26"/>
              <p:cNvSpPr>
                <a:spLocks/>
              </p:cNvSpPr>
              <p:nvPr>
                <p:custDataLst>
                  <p:tags r:id="rId263"/>
                </p:custDataLst>
              </p:nvPr>
            </p:nvSpPr>
            <p:spPr bwMode="auto">
              <a:xfrm>
                <a:off x="369" y="3354"/>
                <a:ext cx="361" cy="115"/>
              </a:xfrm>
              <a:custGeom>
                <a:avLst/>
                <a:gdLst>
                  <a:gd name="T0" fmla="*/ 7823 w 8296"/>
                  <a:gd name="T1" fmla="*/ 4 h 2865"/>
                  <a:gd name="T2" fmla="*/ 6995 w 8296"/>
                  <a:gd name="T3" fmla="*/ 33 h 2865"/>
                  <a:gd name="T4" fmla="*/ 6193 w 8296"/>
                  <a:gd name="T5" fmla="*/ 89 h 2865"/>
                  <a:gd name="T6" fmla="*/ 5422 w 8296"/>
                  <a:gd name="T7" fmla="*/ 171 h 2865"/>
                  <a:gd name="T8" fmla="*/ 4686 w 8296"/>
                  <a:gd name="T9" fmla="*/ 278 h 2865"/>
                  <a:gd name="T10" fmla="*/ 3987 w 8296"/>
                  <a:gd name="T11" fmla="*/ 409 h 2865"/>
                  <a:gd name="T12" fmla="*/ 3331 w 8296"/>
                  <a:gd name="T13" fmla="*/ 561 h 2865"/>
                  <a:gd name="T14" fmla="*/ 2721 w 8296"/>
                  <a:gd name="T15" fmla="*/ 734 h 2865"/>
                  <a:gd name="T16" fmla="*/ 2436 w 8296"/>
                  <a:gd name="T17" fmla="*/ 827 h 2865"/>
                  <a:gd name="T18" fmla="*/ 2162 w 8296"/>
                  <a:gd name="T19" fmla="*/ 925 h 2865"/>
                  <a:gd name="T20" fmla="*/ 1904 w 8296"/>
                  <a:gd name="T21" fmla="*/ 1029 h 2865"/>
                  <a:gd name="T22" fmla="*/ 1658 w 8296"/>
                  <a:gd name="T23" fmla="*/ 1135 h 2865"/>
                  <a:gd name="T24" fmla="*/ 1428 w 8296"/>
                  <a:gd name="T25" fmla="*/ 1247 h 2865"/>
                  <a:gd name="T26" fmla="*/ 1212 w 8296"/>
                  <a:gd name="T27" fmla="*/ 1362 h 2865"/>
                  <a:gd name="T28" fmla="*/ 1013 w 8296"/>
                  <a:gd name="T29" fmla="*/ 1481 h 2865"/>
                  <a:gd name="T30" fmla="*/ 830 w 8296"/>
                  <a:gd name="T31" fmla="*/ 1604 h 2865"/>
                  <a:gd name="T32" fmla="*/ 663 w 8296"/>
                  <a:gd name="T33" fmla="*/ 1731 h 2865"/>
                  <a:gd name="T34" fmla="*/ 513 w 8296"/>
                  <a:gd name="T35" fmla="*/ 1861 h 2865"/>
                  <a:gd name="T36" fmla="*/ 381 w 8296"/>
                  <a:gd name="T37" fmla="*/ 1995 h 2865"/>
                  <a:gd name="T38" fmla="*/ 268 w 8296"/>
                  <a:gd name="T39" fmla="*/ 2131 h 2865"/>
                  <a:gd name="T40" fmla="*/ 174 w 8296"/>
                  <a:gd name="T41" fmla="*/ 2272 h 2865"/>
                  <a:gd name="T42" fmla="*/ 99 w 8296"/>
                  <a:gd name="T43" fmla="*/ 2416 h 2865"/>
                  <a:gd name="T44" fmla="*/ 44 w 8296"/>
                  <a:gd name="T45" fmla="*/ 2563 h 2865"/>
                  <a:gd name="T46" fmla="*/ 11 w 8296"/>
                  <a:gd name="T47" fmla="*/ 2713 h 2865"/>
                  <a:gd name="T48" fmla="*/ 0 w 8296"/>
                  <a:gd name="T49" fmla="*/ 2865 h 2865"/>
                  <a:gd name="T50" fmla="*/ 106 w 8296"/>
                  <a:gd name="T51" fmla="*/ 2761 h 2865"/>
                  <a:gd name="T52" fmla="*/ 131 w 8296"/>
                  <a:gd name="T53" fmla="*/ 2625 h 2865"/>
                  <a:gd name="T54" fmla="*/ 175 w 8296"/>
                  <a:gd name="T55" fmla="*/ 2490 h 2865"/>
                  <a:gd name="T56" fmla="*/ 240 w 8296"/>
                  <a:gd name="T57" fmla="*/ 2357 h 2865"/>
                  <a:gd name="T58" fmla="*/ 324 w 8296"/>
                  <a:gd name="T59" fmla="*/ 2224 h 2865"/>
                  <a:gd name="T60" fmla="*/ 427 w 8296"/>
                  <a:gd name="T61" fmla="*/ 2094 h 2865"/>
                  <a:gd name="T62" fmla="*/ 548 w 8296"/>
                  <a:gd name="T63" fmla="*/ 1966 h 2865"/>
                  <a:gd name="T64" fmla="*/ 688 w 8296"/>
                  <a:gd name="T65" fmla="*/ 1839 h 2865"/>
                  <a:gd name="T66" fmla="*/ 845 w 8296"/>
                  <a:gd name="T67" fmla="*/ 1716 h 2865"/>
                  <a:gd name="T68" fmla="*/ 1020 w 8296"/>
                  <a:gd name="T69" fmla="*/ 1596 h 2865"/>
                  <a:gd name="T70" fmla="*/ 1211 w 8296"/>
                  <a:gd name="T71" fmla="*/ 1478 h 2865"/>
                  <a:gd name="T72" fmla="*/ 1418 w 8296"/>
                  <a:gd name="T73" fmla="*/ 1364 h 2865"/>
                  <a:gd name="T74" fmla="*/ 1642 w 8296"/>
                  <a:gd name="T75" fmla="*/ 1253 h 2865"/>
                  <a:gd name="T76" fmla="*/ 1880 w 8296"/>
                  <a:gd name="T77" fmla="*/ 1147 h 2865"/>
                  <a:gd name="T78" fmla="*/ 2132 w 8296"/>
                  <a:gd name="T79" fmla="*/ 1044 h 2865"/>
                  <a:gd name="T80" fmla="*/ 2398 w 8296"/>
                  <a:gd name="T81" fmla="*/ 946 h 2865"/>
                  <a:gd name="T82" fmla="*/ 2679 w 8296"/>
                  <a:gd name="T83" fmla="*/ 852 h 2865"/>
                  <a:gd name="T84" fmla="*/ 3199 w 8296"/>
                  <a:gd name="T85" fmla="*/ 700 h 2865"/>
                  <a:gd name="T86" fmla="*/ 3839 w 8296"/>
                  <a:gd name="T87" fmla="*/ 543 h 2865"/>
                  <a:gd name="T88" fmla="*/ 4524 w 8296"/>
                  <a:gd name="T89" fmla="*/ 408 h 2865"/>
                  <a:gd name="T90" fmla="*/ 5248 w 8296"/>
                  <a:gd name="T91" fmla="*/ 295 h 2865"/>
                  <a:gd name="T92" fmla="*/ 6008 w 8296"/>
                  <a:gd name="T93" fmla="*/ 207 h 2865"/>
                  <a:gd name="T94" fmla="*/ 6798 w 8296"/>
                  <a:gd name="T95" fmla="*/ 144 h 2865"/>
                  <a:gd name="T96" fmla="*/ 7617 w 8296"/>
                  <a:gd name="T97" fmla="*/ 109 h 2865"/>
                  <a:gd name="T98" fmla="*/ 8246 w 8296"/>
                  <a:gd name="T99" fmla="*/ 100 h 2865"/>
                  <a:gd name="T100" fmla="*/ 8263 w 8296"/>
                  <a:gd name="T101" fmla="*/ 98 h 2865"/>
                  <a:gd name="T102" fmla="*/ 8280 w 8296"/>
                  <a:gd name="T103" fmla="*/ 88 h 2865"/>
                  <a:gd name="T104" fmla="*/ 8295 w 8296"/>
                  <a:gd name="T105" fmla="*/ 60 h 2865"/>
                  <a:gd name="T106" fmla="*/ 8289 w 8296"/>
                  <a:gd name="T107" fmla="*/ 24 h 2865"/>
                  <a:gd name="T108" fmla="*/ 8272 w 8296"/>
                  <a:gd name="T109" fmla="*/ 6 h 2865"/>
                  <a:gd name="T110" fmla="*/ 8252 w 8296"/>
                  <a:gd name="T111" fmla="*/ 0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5">
                    <a:moveTo>
                      <a:pt x="8246" y="0"/>
                    </a:moveTo>
                    <a:lnTo>
                      <a:pt x="8246" y="0"/>
                    </a:lnTo>
                    <a:lnTo>
                      <a:pt x="8034" y="1"/>
                    </a:lnTo>
                    <a:lnTo>
                      <a:pt x="7823" y="4"/>
                    </a:lnTo>
                    <a:lnTo>
                      <a:pt x="7614" y="8"/>
                    </a:lnTo>
                    <a:lnTo>
                      <a:pt x="7407" y="14"/>
                    </a:lnTo>
                    <a:lnTo>
                      <a:pt x="7200" y="23"/>
                    </a:lnTo>
                    <a:lnTo>
                      <a:pt x="6995" y="33"/>
                    </a:lnTo>
                    <a:lnTo>
                      <a:pt x="6792" y="45"/>
                    </a:lnTo>
                    <a:lnTo>
                      <a:pt x="6591" y="57"/>
                    </a:lnTo>
                    <a:lnTo>
                      <a:pt x="6391" y="72"/>
                    </a:lnTo>
                    <a:lnTo>
                      <a:pt x="6193" y="89"/>
                    </a:lnTo>
                    <a:lnTo>
                      <a:pt x="5998" y="108"/>
                    </a:lnTo>
                    <a:lnTo>
                      <a:pt x="5804" y="127"/>
                    </a:lnTo>
                    <a:lnTo>
                      <a:pt x="5612" y="148"/>
                    </a:lnTo>
                    <a:lnTo>
                      <a:pt x="5422" y="171"/>
                    </a:lnTo>
                    <a:lnTo>
                      <a:pt x="5235" y="196"/>
                    </a:lnTo>
                    <a:lnTo>
                      <a:pt x="5049" y="221"/>
                    </a:lnTo>
                    <a:lnTo>
                      <a:pt x="4866" y="249"/>
                    </a:lnTo>
                    <a:lnTo>
                      <a:pt x="4686" y="278"/>
                    </a:lnTo>
                    <a:lnTo>
                      <a:pt x="4507" y="308"/>
                    </a:lnTo>
                    <a:lnTo>
                      <a:pt x="4331" y="341"/>
                    </a:lnTo>
                    <a:lnTo>
                      <a:pt x="4158" y="374"/>
                    </a:lnTo>
                    <a:lnTo>
                      <a:pt x="3987" y="409"/>
                    </a:lnTo>
                    <a:lnTo>
                      <a:pt x="3819" y="445"/>
                    </a:lnTo>
                    <a:lnTo>
                      <a:pt x="3653" y="482"/>
                    </a:lnTo>
                    <a:lnTo>
                      <a:pt x="3491" y="521"/>
                    </a:lnTo>
                    <a:lnTo>
                      <a:pt x="3331" y="561"/>
                    </a:lnTo>
                    <a:lnTo>
                      <a:pt x="3173" y="602"/>
                    </a:lnTo>
                    <a:lnTo>
                      <a:pt x="3020" y="645"/>
                    </a:lnTo>
                    <a:lnTo>
                      <a:pt x="2869" y="689"/>
                    </a:lnTo>
                    <a:lnTo>
                      <a:pt x="2721" y="734"/>
                    </a:lnTo>
                    <a:lnTo>
                      <a:pt x="2649" y="757"/>
                    </a:lnTo>
                    <a:lnTo>
                      <a:pt x="2577" y="780"/>
                    </a:lnTo>
                    <a:lnTo>
                      <a:pt x="2506" y="803"/>
                    </a:lnTo>
                    <a:lnTo>
                      <a:pt x="2436" y="827"/>
                    </a:lnTo>
                    <a:lnTo>
                      <a:pt x="2365" y="852"/>
                    </a:lnTo>
                    <a:lnTo>
                      <a:pt x="2297" y="876"/>
                    </a:lnTo>
                    <a:lnTo>
                      <a:pt x="2229" y="900"/>
                    </a:lnTo>
                    <a:lnTo>
                      <a:pt x="2162" y="925"/>
                    </a:lnTo>
                    <a:lnTo>
                      <a:pt x="2096" y="951"/>
                    </a:lnTo>
                    <a:lnTo>
                      <a:pt x="2030" y="976"/>
                    </a:lnTo>
                    <a:lnTo>
                      <a:pt x="1967" y="1002"/>
                    </a:lnTo>
                    <a:lnTo>
                      <a:pt x="1904" y="1029"/>
                    </a:lnTo>
                    <a:lnTo>
                      <a:pt x="1841" y="1055"/>
                    </a:lnTo>
                    <a:lnTo>
                      <a:pt x="1779" y="1082"/>
                    </a:lnTo>
                    <a:lnTo>
                      <a:pt x="1718" y="1109"/>
                    </a:lnTo>
                    <a:lnTo>
                      <a:pt x="1658" y="1135"/>
                    </a:lnTo>
                    <a:lnTo>
                      <a:pt x="1600" y="1163"/>
                    </a:lnTo>
                    <a:lnTo>
                      <a:pt x="1541" y="1190"/>
                    </a:lnTo>
                    <a:lnTo>
                      <a:pt x="1484" y="1218"/>
                    </a:lnTo>
                    <a:lnTo>
                      <a:pt x="1428" y="1247"/>
                    </a:lnTo>
                    <a:lnTo>
                      <a:pt x="1373" y="1275"/>
                    </a:lnTo>
                    <a:lnTo>
                      <a:pt x="1318" y="1304"/>
                    </a:lnTo>
                    <a:lnTo>
                      <a:pt x="1265" y="1333"/>
                    </a:lnTo>
                    <a:lnTo>
                      <a:pt x="1212" y="1362"/>
                    </a:lnTo>
                    <a:lnTo>
                      <a:pt x="1162" y="1391"/>
                    </a:lnTo>
                    <a:lnTo>
                      <a:pt x="1111" y="1421"/>
                    </a:lnTo>
                    <a:lnTo>
                      <a:pt x="1062" y="1451"/>
                    </a:lnTo>
                    <a:lnTo>
                      <a:pt x="1013" y="1481"/>
                    </a:lnTo>
                    <a:lnTo>
                      <a:pt x="966" y="1511"/>
                    </a:lnTo>
                    <a:lnTo>
                      <a:pt x="919" y="1542"/>
                    </a:lnTo>
                    <a:lnTo>
                      <a:pt x="874" y="1573"/>
                    </a:lnTo>
                    <a:lnTo>
                      <a:pt x="830" y="1604"/>
                    </a:lnTo>
                    <a:lnTo>
                      <a:pt x="786" y="1635"/>
                    </a:lnTo>
                    <a:lnTo>
                      <a:pt x="744" y="1666"/>
                    </a:lnTo>
                    <a:lnTo>
                      <a:pt x="703" y="1698"/>
                    </a:lnTo>
                    <a:lnTo>
                      <a:pt x="663" y="1731"/>
                    </a:lnTo>
                    <a:lnTo>
                      <a:pt x="624" y="1763"/>
                    </a:lnTo>
                    <a:lnTo>
                      <a:pt x="586" y="1795"/>
                    </a:lnTo>
                    <a:lnTo>
                      <a:pt x="549" y="1828"/>
                    </a:lnTo>
                    <a:lnTo>
                      <a:pt x="513" y="1861"/>
                    </a:lnTo>
                    <a:lnTo>
                      <a:pt x="479" y="1894"/>
                    </a:lnTo>
                    <a:lnTo>
                      <a:pt x="445" y="1927"/>
                    </a:lnTo>
                    <a:lnTo>
                      <a:pt x="413" y="1960"/>
                    </a:lnTo>
                    <a:lnTo>
                      <a:pt x="381" y="1995"/>
                    </a:lnTo>
                    <a:lnTo>
                      <a:pt x="351" y="2029"/>
                    </a:lnTo>
                    <a:lnTo>
                      <a:pt x="323" y="2063"/>
                    </a:lnTo>
                    <a:lnTo>
                      <a:pt x="295" y="2097"/>
                    </a:lnTo>
                    <a:lnTo>
                      <a:pt x="268" y="2131"/>
                    </a:lnTo>
                    <a:lnTo>
                      <a:pt x="243" y="2166"/>
                    </a:lnTo>
                    <a:lnTo>
                      <a:pt x="219" y="2202"/>
                    </a:lnTo>
                    <a:lnTo>
                      <a:pt x="196" y="2237"/>
                    </a:lnTo>
                    <a:lnTo>
                      <a:pt x="174" y="2272"/>
                    </a:lnTo>
                    <a:lnTo>
                      <a:pt x="154" y="2308"/>
                    </a:lnTo>
                    <a:lnTo>
                      <a:pt x="134" y="2343"/>
                    </a:lnTo>
                    <a:lnTo>
                      <a:pt x="115" y="2380"/>
                    </a:lnTo>
                    <a:lnTo>
                      <a:pt x="99" y="2416"/>
                    </a:lnTo>
                    <a:lnTo>
                      <a:pt x="83" y="2452"/>
                    </a:lnTo>
                    <a:lnTo>
                      <a:pt x="69" y="2489"/>
                    </a:lnTo>
                    <a:lnTo>
                      <a:pt x="56" y="2525"/>
                    </a:lnTo>
                    <a:lnTo>
                      <a:pt x="44" y="2563"/>
                    </a:lnTo>
                    <a:lnTo>
                      <a:pt x="34" y="2600"/>
                    </a:lnTo>
                    <a:lnTo>
                      <a:pt x="25" y="2637"/>
                    </a:lnTo>
                    <a:lnTo>
                      <a:pt x="18" y="2676"/>
                    </a:lnTo>
                    <a:lnTo>
                      <a:pt x="11" y="2713"/>
                    </a:lnTo>
                    <a:lnTo>
                      <a:pt x="6" y="2750"/>
                    </a:lnTo>
                    <a:lnTo>
                      <a:pt x="3" y="2788"/>
                    </a:lnTo>
                    <a:lnTo>
                      <a:pt x="1" y="2827"/>
                    </a:lnTo>
                    <a:lnTo>
                      <a:pt x="0" y="2865"/>
                    </a:lnTo>
                    <a:lnTo>
                      <a:pt x="100" y="2865"/>
                    </a:lnTo>
                    <a:lnTo>
                      <a:pt x="101" y="2830"/>
                    </a:lnTo>
                    <a:lnTo>
                      <a:pt x="102" y="2796"/>
                    </a:lnTo>
                    <a:lnTo>
                      <a:pt x="106" y="2761"/>
                    </a:lnTo>
                    <a:lnTo>
                      <a:pt x="110" y="2727"/>
                    </a:lnTo>
                    <a:lnTo>
                      <a:pt x="115" y="2693"/>
                    </a:lnTo>
                    <a:lnTo>
                      <a:pt x="123" y="2659"/>
                    </a:lnTo>
                    <a:lnTo>
                      <a:pt x="131" y="2625"/>
                    </a:lnTo>
                    <a:lnTo>
                      <a:pt x="140" y="2592"/>
                    </a:lnTo>
                    <a:lnTo>
                      <a:pt x="150" y="2558"/>
                    </a:lnTo>
                    <a:lnTo>
                      <a:pt x="163" y="2524"/>
                    </a:lnTo>
                    <a:lnTo>
                      <a:pt x="175" y="2490"/>
                    </a:lnTo>
                    <a:lnTo>
                      <a:pt x="190" y="2457"/>
                    </a:lnTo>
                    <a:lnTo>
                      <a:pt x="205" y="2423"/>
                    </a:lnTo>
                    <a:lnTo>
                      <a:pt x="223" y="2390"/>
                    </a:lnTo>
                    <a:lnTo>
                      <a:pt x="240" y="2357"/>
                    </a:lnTo>
                    <a:lnTo>
                      <a:pt x="260" y="2324"/>
                    </a:lnTo>
                    <a:lnTo>
                      <a:pt x="279" y="2291"/>
                    </a:lnTo>
                    <a:lnTo>
                      <a:pt x="301" y="2257"/>
                    </a:lnTo>
                    <a:lnTo>
                      <a:pt x="324" y="2224"/>
                    </a:lnTo>
                    <a:lnTo>
                      <a:pt x="348" y="2192"/>
                    </a:lnTo>
                    <a:lnTo>
                      <a:pt x="373" y="2159"/>
                    </a:lnTo>
                    <a:lnTo>
                      <a:pt x="400" y="2127"/>
                    </a:lnTo>
                    <a:lnTo>
                      <a:pt x="427" y="2094"/>
                    </a:lnTo>
                    <a:lnTo>
                      <a:pt x="456" y="2062"/>
                    </a:lnTo>
                    <a:lnTo>
                      <a:pt x="485" y="2030"/>
                    </a:lnTo>
                    <a:lnTo>
                      <a:pt x="516" y="1998"/>
                    </a:lnTo>
                    <a:lnTo>
                      <a:pt x="548" y="1966"/>
                    </a:lnTo>
                    <a:lnTo>
                      <a:pt x="581" y="1934"/>
                    </a:lnTo>
                    <a:lnTo>
                      <a:pt x="616" y="1902"/>
                    </a:lnTo>
                    <a:lnTo>
                      <a:pt x="651" y="1871"/>
                    </a:lnTo>
                    <a:lnTo>
                      <a:pt x="688" y="1839"/>
                    </a:lnTo>
                    <a:lnTo>
                      <a:pt x="726" y="1808"/>
                    </a:lnTo>
                    <a:lnTo>
                      <a:pt x="765" y="1777"/>
                    </a:lnTo>
                    <a:lnTo>
                      <a:pt x="804" y="1747"/>
                    </a:lnTo>
                    <a:lnTo>
                      <a:pt x="845" y="1716"/>
                    </a:lnTo>
                    <a:lnTo>
                      <a:pt x="887" y="1686"/>
                    </a:lnTo>
                    <a:lnTo>
                      <a:pt x="931" y="1656"/>
                    </a:lnTo>
                    <a:lnTo>
                      <a:pt x="975" y="1625"/>
                    </a:lnTo>
                    <a:lnTo>
                      <a:pt x="1020" y="1596"/>
                    </a:lnTo>
                    <a:lnTo>
                      <a:pt x="1066" y="1566"/>
                    </a:lnTo>
                    <a:lnTo>
                      <a:pt x="1113" y="1537"/>
                    </a:lnTo>
                    <a:lnTo>
                      <a:pt x="1162" y="1507"/>
                    </a:lnTo>
                    <a:lnTo>
                      <a:pt x="1211" y="1478"/>
                    </a:lnTo>
                    <a:lnTo>
                      <a:pt x="1262" y="1449"/>
                    </a:lnTo>
                    <a:lnTo>
                      <a:pt x="1313" y="1421"/>
                    </a:lnTo>
                    <a:lnTo>
                      <a:pt x="1366" y="1392"/>
                    </a:lnTo>
                    <a:lnTo>
                      <a:pt x="1418" y="1364"/>
                    </a:lnTo>
                    <a:lnTo>
                      <a:pt x="1473" y="1336"/>
                    </a:lnTo>
                    <a:lnTo>
                      <a:pt x="1529" y="1308"/>
                    </a:lnTo>
                    <a:lnTo>
                      <a:pt x="1584" y="1281"/>
                    </a:lnTo>
                    <a:lnTo>
                      <a:pt x="1642" y="1253"/>
                    </a:lnTo>
                    <a:lnTo>
                      <a:pt x="1700" y="1227"/>
                    </a:lnTo>
                    <a:lnTo>
                      <a:pt x="1758" y="1200"/>
                    </a:lnTo>
                    <a:lnTo>
                      <a:pt x="1819" y="1174"/>
                    </a:lnTo>
                    <a:lnTo>
                      <a:pt x="1880" y="1147"/>
                    </a:lnTo>
                    <a:lnTo>
                      <a:pt x="1941" y="1121"/>
                    </a:lnTo>
                    <a:lnTo>
                      <a:pt x="2004" y="1095"/>
                    </a:lnTo>
                    <a:lnTo>
                      <a:pt x="2068" y="1070"/>
                    </a:lnTo>
                    <a:lnTo>
                      <a:pt x="2132" y="1044"/>
                    </a:lnTo>
                    <a:lnTo>
                      <a:pt x="2197" y="1020"/>
                    </a:lnTo>
                    <a:lnTo>
                      <a:pt x="2263" y="995"/>
                    </a:lnTo>
                    <a:lnTo>
                      <a:pt x="2330" y="971"/>
                    </a:lnTo>
                    <a:lnTo>
                      <a:pt x="2398" y="946"/>
                    </a:lnTo>
                    <a:lnTo>
                      <a:pt x="2467" y="922"/>
                    </a:lnTo>
                    <a:lnTo>
                      <a:pt x="2538" y="898"/>
                    </a:lnTo>
                    <a:lnTo>
                      <a:pt x="2608" y="876"/>
                    </a:lnTo>
                    <a:lnTo>
                      <a:pt x="2679" y="852"/>
                    </a:lnTo>
                    <a:lnTo>
                      <a:pt x="2751" y="830"/>
                    </a:lnTo>
                    <a:lnTo>
                      <a:pt x="2897" y="785"/>
                    </a:lnTo>
                    <a:lnTo>
                      <a:pt x="3047" y="741"/>
                    </a:lnTo>
                    <a:lnTo>
                      <a:pt x="3199" y="700"/>
                    </a:lnTo>
                    <a:lnTo>
                      <a:pt x="3355" y="658"/>
                    </a:lnTo>
                    <a:lnTo>
                      <a:pt x="3514" y="619"/>
                    </a:lnTo>
                    <a:lnTo>
                      <a:pt x="3675" y="580"/>
                    </a:lnTo>
                    <a:lnTo>
                      <a:pt x="3839" y="543"/>
                    </a:lnTo>
                    <a:lnTo>
                      <a:pt x="4007" y="507"/>
                    </a:lnTo>
                    <a:lnTo>
                      <a:pt x="4176" y="473"/>
                    </a:lnTo>
                    <a:lnTo>
                      <a:pt x="4350" y="440"/>
                    </a:lnTo>
                    <a:lnTo>
                      <a:pt x="4524" y="408"/>
                    </a:lnTo>
                    <a:lnTo>
                      <a:pt x="4702" y="378"/>
                    </a:lnTo>
                    <a:lnTo>
                      <a:pt x="4881" y="349"/>
                    </a:lnTo>
                    <a:lnTo>
                      <a:pt x="5064" y="321"/>
                    </a:lnTo>
                    <a:lnTo>
                      <a:pt x="5248" y="295"/>
                    </a:lnTo>
                    <a:lnTo>
                      <a:pt x="5435" y="271"/>
                    </a:lnTo>
                    <a:lnTo>
                      <a:pt x="5623" y="248"/>
                    </a:lnTo>
                    <a:lnTo>
                      <a:pt x="5814" y="227"/>
                    </a:lnTo>
                    <a:lnTo>
                      <a:pt x="6008" y="207"/>
                    </a:lnTo>
                    <a:lnTo>
                      <a:pt x="6203" y="189"/>
                    </a:lnTo>
                    <a:lnTo>
                      <a:pt x="6400" y="173"/>
                    </a:lnTo>
                    <a:lnTo>
                      <a:pt x="6597" y="157"/>
                    </a:lnTo>
                    <a:lnTo>
                      <a:pt x="6798" y="144"/>
                    </a:lnTo>
                    <a:lnTo>
                      <a:pt x="7000" y="132"/>
                    </a:lnTo>
                    <a:lnTo>
                      <a:pt x="7205" y="123"/>
                    </a:lnTo>
                    <a:lnTo>
                      <a:pt x="7410" y="115"/>
                    </a:lnTo>
                    <a:lnTo>
                      <a:pt x="7617" y="109"/>
                    </a:lnTo>
                    <a:lnTo>
                      <a:pt x="7825" y="105"/>
                    </a:lnTo>
                    <a:lnTo>
                      <a:pt x="8034" y="101"/>
                    </a:lnTo>
                    <a:lnTo>
                      <a:pt x="8246" y="100"/>
                    </a:lnTo>
                    <a:lnTo>
                      <a:pt x="8246" y="100"/>
                    </a:lnTo>
                    <a:lnTo>
                      <a:pt x="8246" y="100"/>
                    </a:lnTo>
                    <a:lnTo>
                      <a:pt x="8252" y="100"/>
                    </a:lnTo>
                    <a:lnTo>
                      <a:pt x="8257" y="99"/>
                    </a:lnTo>
                    <a:lnTo>
                      <a:pt x="8263" y="98"/>
                    </a:lnTo>
                    <a:lnTo>
                      <a:pt x="8267" y="96"/>
                    </a:lnTo>
                    <a:lnTo>
                      <a:pt x="8272" y="94"/>
                    </a:lnTo>
                    <a:lnTo>
                      <a:pt x="8276" y="91"/>
                    </a:lnTo>
                    <a:lnTo>
                      <a:pt x="8280" y="88"/>
                    </a:lnTo>
                    <a:lnTo>
                      <a:pt x="8284" y="85"/>
                    </a:lnTo>
                    <a:lnTo>
                      <a:pt x="8289" y="78"/>
                    </a:lnTo>
                    <a:lnTo>
                      <a:pt x="8293" y="68"/>
                    </a:lnTo>
                    <a:lnTo>
                      <a:pt x="8295" y="60"/>
                    </a:lnTo>
                    <a:lnTo>
                      <a:pt x="8296" y="51"/>
                    </a:lnTo>
                    <a:lnTo>
                      <a:pt x="8295" y="41"/>
                    </a:lnTo>
                    <a:lnTo>
                      <a:pt x="8293" y="32"/>
                    </a:lnTo>
                    <a:lnTo>
                      <a:pt x="8289" y="24"/>
                    </a:lnTo>
                    <a:lnTo>
                      <a:pt x="8284" y="16"/>
                    </a:lnTo>
                    <a:lnTo>
                      <a:pt x="8280" y="12"/>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21" name="Freeform 27"/>
              <p:cNvSpPr>
                <a:spLocks/>
              </p:cNvSpPr>
              <p:nvPr>
                <p:custDataLst>
                  <p:tags r:id="rId264"/>
                </p:custDataLst>
              </p:nvPr>
            </p:nvSpPr>
            <p:spPr bwMode="auto">
              <a:xfrm>
                <a:off x="728" y="3354"/>
                <a:ext cx="358" cy="115"/>
              </a:xfrm>
              <a:custGeom>
                <a:avLst/>
                <a:gdLst>
                  <a:gd name="T0" fmla="*/ 8239 w 8245"/>
                  <a:gd name="T1" fmla="*/ 2750 h 2865"/>
                  <a:gd name="T2" fmla="*/ 8211 w 8245"/>
                  <a:gd name="T3" fmla="*/ 2600 h 2865"/>
                  <a:gd name="T4" fmla="*/ 8162 w 8245"/>
                  <a:gd name="T5" fmla="*/ 2452 h 2865"/>
                  <a:gd name="T6" fmla="*/ 8091 w 8245"/>
                  <a:gd name="T7" fmla="*/ 2308 h 2865"/>
                  <a:gd name="T8" fmla="*/ 8002 w 8245"/>
                  <a:gd name="T9" fmla="*/ 2166 h 2865"/>
                  <a:gd name="T10" fmla="*/ 7894 w 8245"/>
                  <a:gd name="T11" fmla="*/ 2029 h 2865"/>
                  <a:gd name="T12" fmla="*/ 7766 w 8245"/>
                  <a:gd name="T13" fmla="*/ 1894 h 2865"/>
                  <a:gd name="T14" fmla="*/ 7620 w 8245"/>
                  <a:gd name="T15" fmla="*/ 1763 h 2865"/>
                  <a:gd name="T16" fmla="*/ 7459 w 8245"/>
                  <a:gd name="T17" fmla="*/ 1635 h 2865"/>
                  <a:gd name="T18" fmla="*/ 7279 w 8245"/>
                  <a:gd name="T19" fmla="*/ 1511 h 2865"/>
                  <a:gd name="T20" fmla="*/ 7083 w 8245"/>
                  <a:gd name="T21" fmla="*/ 1391 h 2865"/>
                  <a:gd name="T22" fmla="*/ 6872 w 8245"/>
                  <a:gd name="T23" fmla="*/ 1275 h 2865"/>
                  <a:gd name="T24" fmla="*/ 6645 w 8245"/>
                  <a:gd name="T25" fmla="*/ 1163 h 2865"/>
                  <a:gd name="T26" fmla="*/ 6404 w 8245"/>
                  <a:gd name="T27" fmla="*/ 1055 h 2865"/>
                  <a:gd name="T28" fmla="*/ 6149 w 8245"/>
                  <a:gd name="T29" fmla="*/ 951 h 2865"/>
                  <a:gd name="T30" fmla="*/ 5880 w 8245"/>
                  <a:gd name="T31" fmla="*/ 852 h 2865"/>
                  <a:gd name="T32" fmla="*/ 5596 w 8245"/>
                  <a:gd name="T33" fmla="*/ 757 h 2865"/>
                  <a:gd name="T34" fmla="*/ 5072 w 8245"/>
                  <a:gd name="T35" fmla="*/ 602 h 2865"/>
                  <a:gd name="T36" fmla="*/ 4426 w 8245"/>
                  <a:gd name="T37" fmla="*/ 445 h 2865"/>
                  <a:gd name="T38" fmla="*/ 3738 w 8245"/>
                  <a:gd name="T39" fmla="*/ 308 h 2865"/>
                  <a:gd name="T40" fmla="*/ 3010 w 8245"/>
                  <a:gd name="T41" fmla="*/ 196 h 2865"/>
                  <a:gd name="T42" fmla="*/ 2246 w 8245"/>
                  <a:gd name="T43" fmla="*/ 108 h 2865"/>
                  <a:gd name="T44" fmla="*/ 1453 w 8245"/>
                  <a:gd name="T45" fmla="*/ 45 h 2865"/>
                  <a:gd name="T46" fmla="*/ 631 w 8245"/>
                  <a:gd name="T47" fmla="*/ 8 h 2865"/>
                  <a:gd name="T48" fmla="*/ 0 w 8245"/>
                  <a:gd name="T49" fmla="*/ 100 h 2865"/>
                  <a:gd name="T50" fmla="*/ 835 w 8245"/>
                  <a:gd name="T51" fmla="*/ 115 h 2865"/>
                  <a:gd name="T52" fmla="*/ 1648 w 8245"/>
                  <a:gd name="T53" fmla="*/ 157 h 2865"/>
                  <a:gd name="T54" fmla="*/ 2431 w 8245"/>
                  <a:gd name="T55" fmla="*/ 227 h 2865"/>
                  <a:gd name="T56" fmla="*/ 3181 w 8245"/>
                  <a:gd name="T57" fmla="*/ 321 h 2865"/>
                  <a:gd name="T58" fmla="*/ 3895 w 8245"/>
                  <a:gd name="T59" fmla="*/ 440 h 2865"/>
                  <a:gd name="T60" fmla="*/ 4570 w 8245"/>
                  <a:gd name="T61" fmla="*/ 580 h 2865"/>
                  <a:gd name="T62" fmla="*/ 5198 w 8245"/>
                  <a:gd name="T63" fmla="*/ 741 h 2865"/>
                  <a:gd name="T64" fmla="*/ 5637 w 8245"/>
                  <a:gd name="T65" fmla="*/ 876 h 2865"/>
                  <a:gd name="T66" fmla="*/ 5915 w 8245"/>
                  <a:gd name="T67" fmla="*/ 971 h 2865"/>
                  <a:gd name="T68" fmla="*/ 6177 w 8245"/>
                  <a:gd name="T69" fmla="*/ 1070 h 2865"/>
                  <a:gd name="T70" fmla="*/ 6426 w 8245"/>
                  <a:gd name="T71" fmla="*/ 1174 h 2865"/>
                  <a:gd name="T72" fmla="*/ 6661 w 8245"/>
                  <a:gd name="T73" fmla="*/ 1281 h 2865"/>
                  <a:gd name="T74" fmla="*/ 6879 w 8245"/>
                  <a:gd name="T75" fmla="*/ 1392 h 2865"/>
                  <a:gd name="T76" fmla="*/ 7083 w 8245"/>
                  <a:gd name="T77" fmla="*/ 1507 h 2865"/>
                  <a:gd name="T78" fmla="*/ 7270 w 8245"/>
                  <a:gd name="T79" fmla="*/ 1625 h 2865"/>
                  <a:gd name="T80" fmla="*/ 7440 w 8245"/>
                  <a:gd name="T81" fmla="*/ 1747 h 2865"/>
                  <a:gd name="T82" fmla="*/ 7594 w 8245"/>
                  <a:gd name="T83" fmla="*/ 1871 h 2865"/>
                  <a:gd name="T84" fmla="*/ 7729 w 8245"/>
                  <a:gd name="T85" fmla="*/ 1998 h 2865"/>
                  <a:gd name="T86" fmla="*/ 7845 w 8245"/>
                  <a:gd name="T87" fmla="*/ 2127 h 2865"/>
                  <a:gd name="T88" fmla="*/ 7943 w 8245"/>
                  <a:gd name="T89" fmla="*/ 2257 h 2865"/>
                  <a:gd name="T90" fmla="*/ 8022 w 8245"/>
                  <a:gd name="T91" fmla="*/ 2390 h 2865"/>
                  <a:gd name="T92" fmla="*/ 8082 w 8245"/>
                  <a:gd name="T93" fmla="*/ 2524 h 2865"/>
                  <a:gd name="T94" fmla="*/ 8122 w 8245"/>
                  <a:gd name="T95" fmla="*/ 2659 h 2865"/>
                  <a:gd name="T96" fmla="*/ 8142 w 8245"/>
                  <a:gd name="T97" fmla="*/ 279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5">
                    <a:moveTo>
                      <a:pt x="8245" y="2865"/>
                    </a:moveTo>
                    <a:lnTo>
                      <a:pt x="8244" y="2827"/>
                    </a:lnTo>
                    <a:lnTo>
                      <a:pt x="8242" y="2788"/>
                    </a:lnTo>
                    <a:lnTo>
                      <a:pt x="8239" y="2750"/>
                    </a:lnTo>
                    <a:lnTo>
                      <a:pt x="8234" y="2713"/>
                    </a:lnTo>
                    <a:lnTo>
                      <a:pt x="8227" y="2676"/>
                    </a:lnTo>
                    <a:lnTo>
                      <a:pt x="8219" y="2637"/>
                    </a:lnTo>
                    <a:lnTo>
                      <a:pt x="8211" y="2600"/>
                    </a:lnTo>
                    <a:lnTo>
                      <a:pt x="8201" y="2563"/>
                    </a:lnTo>
                    <a:lnTo>
                      <a:pt x="8188" y="2525"/>
                    </a:lnTo>
                    <a:lnTo>
                      <a:pt x="8176" y="2489"/>
                    </a:lnTo>
                    <a:lnTo>
                      <a:pt x="8162" y="2452"/>
                    </a:lnTo>
                    <a:lnTo>
                      <a:pt x="8146" y="2416"/>
                    </a:lnTo>
                    <a:lnTo>
                      <a:pt x="8130" y="2380"/>
                    </a:lnTo>
                    <a:lnTo>
                      <a:pt x="8111" y="2343"/>
                    </a:lnTo>
                    <a:lnTo>
                      <a:pt x="8091" y="2308"/>
                    </a:lnTo>
                    <a:lnTo>
                      <a:pt x="8071" y="2272"/>
                    </a:lnTo>
                    <a:lnTo>
                      <a:pt x="8049" y="2237"/>
                    </a:lnTo>
                    <a:lnTo>
                      <a:pt x="8026" y="2202"/>
                    </a:lnTo>
                    <a:lnTo>
                      <a:pt x="8002" y="2166"/>
                    </a:lnTo>
                    <a:lnTo>
                      <a:pt x="7977" y="2131"/>
                    </a:lnTo>
                    <a:lnTo>
                      <a:pt x="7950" y="2097"/>
                    </a:lnTo>
                    <a:lnTo>
                      <a:pt x="7922" y="2063"/>
                    </a:lnTo>
                    <a:lnTo>
                      <a:pt x="7894" y="2029"/>
                    </a:lnTo>
                    <a:lnTo>
                      <a:pt x="7864" y="1995"/>
                    </a:lnTo>
                    <a:lnTo>
                      <a:pt x="7832" y="1960"/>
                    </a:lnTo>
                    <a:lnTo>
                      <a:pt x="7800" y="1927"/>
                    </a:lnTo>
                    <a:lnTo>
                      <a:pt x="7766" y="1894"/>
                    </a:lnTo>
                    <a:lnTo>
                      <a:pt x="7732" y="1861"/>
                    </a:lnTo>
                    <a:lnTo>
                      <a:pt x="7696" y="1828"/>
                    </a:lnTo>
                    <a:lnTo>
                      <a:pt x="7659" y="1795"/>
                    </a:lnTo>
                    <a:lnTo>
                      <a:pt x="7620" y="1763"/>
                    </a:lnTo>
                    <a:lnTo>
                      <a:pt x="7582" y="1731"/>
                    </a:lnTo>
                    <a:lnTo>
                      <a:pt x="7542" y="1698"/>
                    </a:lnTo>
                    <a:lnTo>
                      <a:pt x="7501" y="1666"/>
                    </a:lnTo>
                    <a:lnTo>
                      <a:pt x="7459" y="1635"/>
                    </a:lnTo>
                    <a:lnTo>
                      <a:pt x="7415" y="1604"/>
                    </a:lnTo>
                    <a:lnTo>
                      <a:pt x="7371" y="1573"/>
                    </a:lnTo>
                    <a:lnTo>
                      <a:pt x="7326" y="1542"/>
                    </a:lnTo>
                    <a:lnTo>
                      <a:pt x="7279" y="1511"/>
                    </a:lnTo>
                    <a:lnTo>
                      <a:pt x="7232" y="1481"/>
                    </a:lnTo>
                    <a:lnTo>
                      <a:pt x="7183" y="1451"/>
                    </a:lnTo>
                    <a:lnTo>
                      <a:pt x="7134" y="1421"/>
                    </a:lnTo>
                    <a:lnTo>
                      <a:pt x="7083" y="1391"/>
                    </a:lnTo>
                    <a:lnTo>
                      <a:pt x="7032" y="1362"/>
                    </a:lnTo>
                    <a:lnTo>
                      <a:pt x="6980" y="1333"/>
                    </a:lnTo>
                    <a:lnTo>
                      <a:pt x="6927" y="1304"/>
                    </a:lnTo>
                    <a:lnTo>
                      <a:pt x="6872" y="1275"/>
                    </a:lnTo>
                    <a:lnTo>
                      <a:pt x="6817" y="1247"/>
                    </a:lnTo>
                    <a:lnTo>
                      <a:pt x="6761" y="1218"/>
                    </a:lnTo>
                    <a:lnTo>
                      <a:pt x="6704" y="1190"/>
                    </a:lnTo>
                    <a:lnTo>
                      <a:pt x="6645" y="1163"/>
                    </a:lnTo>
                    <a:lnTo>
                      <a:pt x="6587" y="1135"/>
                    </a:lnTo>
                    <a:lnTo>
                      <a:pt x="6527" y="1109"/>
                    </a:lnTo>
                    <a:lnTo>
                      <a:pt x="6466" y="1082"/>
                    </a:lnTo>
                    <a:lnTo>
                      <a:pt x="6404" y="1055"/>
                    </a:lnTo>
                    <a:lnTo>
                      <a:pt x="6341" y="1029"/>
                    </a:lnTo>
                    <a:lnTo>
                      <a:pt x="6278" y="1002"/>
                    </a:lnTo>
                    <a:lnTo>
                      <a:pt x="6214" y="976"/>
                    </a:lnTo>
                    <a:lnTo>
                      <a:pt x="6149" y="951"/>
                    </a:lnTo>
                    <a:lnTo>
                      <a:pt x="6083" y="925"/>
                    </a:lnTo>
                    <a:lnTo>
                      <a:pt x="6016" y="900"/>
                    </a:lnTo>
                    <a:lnTo>
                      <a:pt x="5948" y="876"/>
                    </a:lnTo>
                    <a:lnTo>
                      <a:pt x="5880" y="852"/>
                    </a:lnTo>
                    <a:lnTo>
                      <a:pt x="5809" y="827"/>
                    </a:lnTo>
                    <a:lnTo>
                      <a:pt x="5739" y="803"/>
                    </a:lnTo>
                    <a:lnTo>
                      <a:pt x="5668" y="780"/>
                    </a:lnTo>
                    <a:lnTo>
                      <a:pt x="5596" y="757"/>
                    </a:lnTo>
                    <a:lnTo>
                      <a:pt x="5524" y="734"/>
                    </a:lnTo>
                    <a:lnTo>
                      <a:pt x="5376" y="689"/>
                    </a:lnTo>
                    <a:lnTo>
                      <a:pt x="5225" y="645"/>
                    </a:lnTo>
                    <a:lnTo>
                      <a:pt x="5072" y="602"/>
                    </a:lnTo>
                    <a:lnTo>
                      <a:pt x="4914" y="561"/>
                    </a:lnTo>
                    <a:lnTo>
                      <a:pt x="4754" y="521"/>
                    </a:lnTo>
                    <a:lnTo>
                      <a:pt x="4592" y="482"/>
                    </a:lnTo>
                    <a:lnTo>
                      <a:pt x="4426" y="445"/>
                    </a:lnTo>
                    <a:lnTo>
                      <a:pt x="4258" y="409"/>
                    </a:lnTo>
                    <a:lnTo>
                      <a:pt x="4087" y="374"/>
                    </a:lnTo>
                    <a:lnTo>
                      <a:pt x="3914" y="341"/>
                    </a:lnTo>
                    <a:lnTo>
                      <a:pt x="3738" y="308"/>
                    </a:lnTo>
                    <a:lnTo>
                      <a:pt x="3559" y="278"/>
                    </a:lnTo>
                    <a:lnTo>
                      <a:pt x="3379" y="249"/>
                    </a:lnTo>
                    <a:lnTo>
                      <a:pt x="3196" y="221"/>
                    </a:lnTo>
                    <a:lnTo>
                      <a:pt x="3010" y="196"/>
                    </a:lnTo>
                    <a:lnTo>
                      <a:pt x="2823" y="171"/>
                    </a:lnTo>
                    <a:lnTo>
                      <a:pt x="2633" y="148"/>
                    </a:lnTo>
                    <a:lnTo>
                      <a:pt x="2441" y="127"/>
                    </a:lnTo>
                    <a:lnTo>
                      <a:pt x="2246" y="108"/>
                    </a:lnTo>
                    <a:lnTo>
                      <a:pt x="2052" y="89"/>
                    </a:lnTo>
                    <a:lnTo>
                      <a:pt x="1854" y="72"/>
                    </a:lnTo>
                    <a:lnTo>
                      <a:pt x="1654" y="57"/>
                    </a:lnTo>
                    <a:lnTo>
                      <a:pt x="1453" y="45"/>
                    </a:lnTo>
                    <a:lnTo>
                      <a:pt x="1250" y="33"/>
                    </a:lnTo>
                    <a:lnTo>
                      <a:pt x="1045" y="23"/>
                    </a:lnTo>
                    <a:lnTo>
                      <a:pt x="838" y="14"/>
                    </a:lnTo>
                    <a:lnTo>
                      <a:pt x="631" y="8"/>
                    </a:lnTo>
                    <a:lnTo>
                      <a:pt x="422" y="4"/>
                    </a:lnTo>
                    <a:lnTo>
                      <a:pt x="212" y="1"/>
                    </a:lnTo>
                    <a:lnTo>
                      <a:pt x="0" y="0"/>
                    </a:lnTo>
                    <a:lnTo>
                      <a:pt x="0" y="100"/>
                    </a:lnTo>
                    <a:lnTo>
                      <a:pt x="211" y="101"/>
                    </a:lnTo>
                    <a:lnTo>
                      <a:pt x="420" y="105"/>
                    </a:lnTo>
                    <a:lnTo>
                      <a:pt x="628" y="109"/>
                    </a:lnTo>
                    <a:lnTo>
                      <a:pt x="835" y="115"/>
                    </a:lnTo>
                    <a:lnTo>
                      <a:pt x="1040" y="123"/>
                    </a:lnTo>
                    <a:lnTo>
                      <a:pt x="1245" y="132"/>
                    </a:lnTo>
                    <a:lnTo>
                      <a:pt x="1447" y="144"/>
                    </a:lnTo>
                    <a:lnTo>
                      <a:pt x="1648" y="157"/>
                    </a:lnTo>
                    <a:lnTo>
                      <a:pt x="1845" y="173"/>
                    </a:lnTo>
                    <a:lnTo>
                      <a:pt x="2042" y="189"/>
                    </a:lnTo>
                    <a:lnTo>
                      <a:pt x="2237" y="207"/>
                    </a:lnTo>
                    <a:lnTo>
                      <a:pt x="2431" y="227"/>
                    </a:lnTo>
                    <a:lnTo>
                      <a:pt x="2622" y="248"/>
                    </a:lnTo>
                    <a:lnTo>
                      <a:pt x="2810" y="271"/>
                    </a:lnTo>
                    <a:lnTo>
                      <a:pt x="2997" y="295"/>
                    </a:lnTo>
                    <a:lnTo>
                      <a:pt x="3181" y="321"/>
                    </a:lnTo>
                    <a:lnTo>
                      <a:pt x="3364" y="349"/>
                    </a:lnTo>
                    <a:lnTo>
                      <a:pt x="3543" y="378"/>
                    </a:lnTo>
                    <a:lnTo>
                      <a:pt x="3721" y="408"/>
                    </a:lnTo>
                    <a:lnTo>
                      <a:pt x="3895" y="440"/>
                    </a:lnTo>
                    <a:lnTo>
                      <a:pt x="4069" y="473"/>
                    </a:lnTo>
                    <a:lnTo>
                      <a:pt x="4238" y="507"/>
                    </a:lnTo>
                    <a:lnTo>
                      <a:pt x="4405" y="543"/>
                    </a:lnTo>
                    <a:lnTo>
                      <a:pt x="4570" y="580"/>
                    </a:lnTo>
                    <a:lnTo>
                      <a:pt x="4731" y="619"/>
                    </a:lnTo>
                    <a:lnTo>
                      <a:pt x="4890" y="658"/>
                    </a:lnTo>
                    <a:lnTo>
                      <a:pt x="5046" y="700"/>
                    </a:lnTo>
                    <a:lnTo>
                      <a:pt x="5198" y="741"/>
                    </a:lnTo>
                    <a:lnTo>
                      <a:pt x="5348" y="785"/>
                    </a:lnTo>
                    <a:lnTo>
                      <a:pt x="5494" y="830"/>
                    </a:lnTo>
                    <a:lnTo>
                      <a:pt x="5566" y="852"/>
                    </a:lnTo>
                    <a:lnTo>
                      <a:pt x="5637" y="876"/>
                    </a:lnTo>
                    <a:lnTo>
                      <a:pt x="5707" y="898"/>
                    </a:lnTo>
                    <a:lnTo>
                      <a:pt x="5778" y="922"/>
                    </a:lnTo>
                    <a:lnTo>
                      <a:pt x="5847" y="946"/>
                    </a:lnTo>
                    <a:lnTo>
                      <a:pt x="5915" y="971"/>
                    </a:lnTo>
                    <a:lnTo>
                      <a:pt x="5982" y="995"/>
                    </a:lnTo>
                    <a:lnTo>
                      <a:pt x="6048" y="1020"/>
                    </a:lnTo>
                    <a:lnTo>
                      <a:pt x="6113" y="1044"/>
                    </a:lnTo>
                    <a:lnTo>
                      <a:pt x="6177" y="1070"/>
                    </a:lnTo>
                    <a:lnTo>
                      <a:pt x="6241" y="1095"/>
                    </a:lnTo>
                    <a:lnTo>
                      <a:pt x="6304" y="1121"/>
                    </a:lnTo>
                    <a:lnTo>
                      <a:pt x="6365" y="1147"/>
                    </a:lnTo>
                    <a:lnTo>
                      <a:pt x="6426" y="1174"/>
                    </a:lnTo>
                    <a:lnTo>
                      <a:pt x="6487" y="1200"/>
                    </a:lnTo>
                    <a:lnTo>
                      <a:pt x="6545" y="1227"/>
                    </a:lnTo>
                    <a:lnTo>
                      <a:pt x="6603" y="1253"/>
                    </a:lnTo>
                    <a:lnTo>
                      <a:pt x="6661" y="1281"/>
                    </a:lnTo>
                    <a:lnTo>
                      <a:pt x="6716" y="1308"/>
                    </a:lnTo>
                    <a:lnTo>
                      <a:pt x="6772" y="1336"/>
                    </a:lnTo>
                    <a:lnTo>
                      <a:pt x="6827" y="1364"/>
                    </a:lnTo>
                    <a:lnTo>
                      <a:pt x="6879" y="1392"/>
                    </a:lnTo>
                    <a:lnTo>
                      <a:pt x="6932" y="1421"/>
                    </a:lnTo>
                    <a:lnTo>
                      <a:pt x="6983" y="1449"/>
                    </a:lnTo>
                    <a:lnTo>
                      <a:pt x="7034" y="1478"/>
                    </a:lnTo>
                    <a:lnTo>
                      <a:pt x="7083" y="1507"/>
                    </a:lnTo>
                    <a:lnTo>
                      <a:pt x="7132" y="1537"/>
                    </a:lnTo>
                    <a:lnTo>
                      <a:pt x="7178" y="1566"/>
                    </a:lnTo>
                    <a:lnTo>
                      <a:pt x="7225" y="1596"/>
                    </a:lnTo>
                    <a:lnTo>
                      <a:pt x="7270" y="1625"/>
                    </a:lnTo>
                    <a:lnTo>
                      <a:pt x="7314" y="1656"/>
                    </a:lnTo>
                    <a:lnTo>
                      <a:pt x="7358" y="1686"/>
                    </a:lnTo>
                    <a:lnTo>
                      <a:pt x="7400" y="1716"/>
                    </a:lnTo>
                    <a:lnTo>
                      <a:pt x="7440" y="1747"/>
                    </a:lnTo>
                    <a:lnTo>
                      <a:pt x="7480" y="1777"/>
                    </a:lnTo>
                    <a:lnTo>
                      <a:pt x="7519" y="1808"/>
                    </a:lnTo>
                    <a:lnTo>
                      <a:pt x="7557" y="1839"/>
                    </a:lnTo>
                    <a:lnTo>
                      <a:pt x="7594" y="1871"/>
                    </a:lnTo>
                    <a:lnTo>
                      <a:pt x="7629" y="1902"/>
                    </a:lnTo>
                    <a:lnTo>
                      <a:pt x="7664" y="1934"/>
                    </a:lnTo>
                    <a:lnTo>
                      <a:pt x="7697" y="1966"/>
                    </a:lnTo>
                    <a:lnTo>
                      <a:pt x="7729" y="1998"/>
                    </a:lnTo>
                    <a:lnTo>
                      <a:pt x="7760" y="2030"/>
                    </a:lnTo>
                    <a:lnTo>
                      <a:pt x="7789" y="2062"/>
                    </a:lnTo>
                    <a:lnTo>
                      <a:pt x="7818" y="2094"/>
                    </a:lnTo>
                    <a:lnTo>
                      <a:pt x="7845" y="2127"/>
                    </a:lnTo>
                    <a:lnTo>
                      <a:pt x="7872" y="2159"/>
                    </a:lnTo>
                    <a:lnTo>
                      <a:pt x="7897" y="2192"/>
                    </a:lnTo>
                    <a:lnTo>
                      <a:pt x="7920" y="2224"/>
                    </a:lnTo>
                    <a:lnTo>
                      <a:pt x="7943" y="2257"/>
                    </a:lnTo>
                    <a:lnTo>
                      <a:pt x="7966" y="2291"/>
                    </a:lnTo>
                    <a:lnTo>
                      <a:pt x="7985" y="2324"/>
                    </a:lnTo>
                    <a:lnTo>
                      <a:pt x="8005" y="2357"/>
                    </a:lnTo>
                    <a:lnTo>
                      <a:pt x="8022" y="2390"/>
                    </a:lnTo>
                    <a:lnTo>
                      <a:pt x="8039" y="2423"/>
                    </a:lnTo>
                    <a:lnTo>
                      <a:pt x="8055" y="2457"/>
                    </a:lnTo>
                    <a:lnTo>
                      <a:pt x="8069" y="2490"/>
                    </a:lnTo>
                    <a:lnTo>
                      <a:pt x="8082" y="2524"/>
                    </a:lnTo>
                    <a:lnTo>
                      <a:pt x="8095" y="2558"/>
                    </a:lnTo>
                    <a:lnTo>
                      <a:pt x="8105" y="2592"/>
                    </a:lnTo>
                    <a:lnTo>
                      <a:pt x="8114" y="2625"/>
                    </a:lnTo>
                    <a:lnTo>
                      <a:pt x="8122" y="2659"/>
                    </a:lnTo>
                    <a:lnTo>
                      <a:pt x="8130" y="2693"/>
                    </a:lnTo>
                    <a:lnTo>
                      <a:pt x="8135" y="2727"/>
                    </a:lnTo>
                    <a:lnTo>
                      <a:pt x="8139" y="2761"/>
                    </a:lnTo>
                    <a:lnTo>
                      <a:pt x="8142" y="2796"/>
                    </a:lnTo>
                    <a:lnTo>
                      <a:pt x="8144" y="2830"/>
                    </a:lnTo>
                    <a:lnTo>
                      <a:pt x="8145" y="2865"/>
                    </a:lnTo>
                    <a:lnTo>
                      <a:pt x="8245"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22" name="Freeform 28"/>
              <p:cNvSpPr>
                <a:spLocks/>
              </p:cNvSpPr>
              <p:nvPr>
                <p:custDataLst>
                  <p:tags r:id="rId265"/>
                </p:custDataLst>
              </p:nvPr>
            </p:nvSpPr>
            <p:spPr bwMode="auto">
              <a:xfrm>
                <a:off x="737" y="3387"/>
                <a:ext cx="234" cy="73"/>
              </a:xfrm>
              <a:custGeom>
                <a:avLst/>
                <a:gdLst>
                  <a:gd name="T0" fmla="*/ 0 w 5393"/>
                  <a:gd name="T1" fmla="*/ 1426 h 1828"/>
                  <a:gd name="T2" fmla="*/ 1207 w 5393"/>
                  <a:gd name="T3" fmla="*/ 1828 h 1828"/>
                  <a:gd name="T4" fmla="*/ 4061 w 5393"/>
                  <a:gd name="T5" fmla="*/ 687 h 1828"/>
                  <a:gd name="T6" fmla="*/ 5393 w 5393"/>
                  <a:gd name="T7" fmla="*/ 1013 h 1828"/>
                  <a:gd name="T8" fmla="*/ 4690 w 5393"/>
                  <a:gd name="T9" fmla="*/ 0 h 1828"/>
                  <a:gd name="T10" fmla="*/ 1253 w 5393"/>
                  <a:gd name="T11" fmla="*/ 0 h 1828"/>
                  <a:gd name="T12" fmla="*/ 2690 w 5393"/>
                  <a:gd name="T13" fmla="*/ 352 h 1828"/>
                  <a:gd name="T14" fmla="*/ 0 w 5393"/>
                  <a:gd name="T15" fmla="*/ 1426 h 18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8">
                    <a:moveTo>
                      <a:pt x="0" y="1426"/>
                    </a:moveTo>
                    <a:lnTo>
                      <a:pt x="1207" y="1828"/>
                    </a:lnTo>
                    <a:lnTo>
                      <a:pt x="4061" y="687"/>
                    </a:lnTo>
                    <a:lnTo>
                      <a:pt x="5393" y="1013"/>
                    </a:lnTo>
                    <a:lnTo>
                      <a:pt x="4690" y="0"/>
                    </a:lnTo>
                    <a:lnTo>
                      <a:pt x="1253" y="0"/>
                    </a:lnTo>
                    <a:lnTo>
                      <a:pt x="2690" y="352"/>
                    </a:lnTo>
                    <a:lnTo>
                      <a:pt x="0"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23" name="Freeform 29"/>
              <p:cNvSpPr>
                <a:spLocks/>
              </p:cNvSpPr>
              <p:nvPr>
                <p:custDataLst>
                  <p:tags r:id="rId266"/>
                </p:custDataLst>
              </p:nvPr>
            </p:nvSpPr>
            <p:spPr bwMode="auto">
              <a:xfrm>
                <a:off x="480" y="3474"/>
                <a:ext cx="235" cy="73"/>
              </a:xfrm>
              <a:custGeom>
                <a:avLst/>
                <a:gdLst>
                  <a:gd name="T0" fmla="*/ 5394 w 5394"/>
                  <a:gd name="T1" fmla="*/ 401 h 1827"/>
                  <a:gd name="T2" fmla="*/ 4186 w 5394"/>
                  <a:gd name="T3" fmla="*/ 0 h 1827"/>
                  <a:gd name="T4" fmla="*/ 1332 w 5394"/>
                  <a:gd name="T5" fmla="*/ 1140 h 1827"/>
                  <a:gd name="T6" fmla="*/ 0 w 5394"/>
                  <a:gd name="T7" fmla="*/ 814 h 1827"/>
                  <a:gd name="T8" fmla="*/ 702 w 5394"/>
                  <a:gd name="T9" fmla="*/ 1827 h 1827"/>
                  <a:gd name="T10" fmla="*/ 4140 w 5394"/>
                  <a:gd name="T11" fmla="*/ 1827 h 1827"/>
                  <a:gd name="T12" fmla="*/ 2704 w 5394"/>
                  <a:gd name="T13" fmla="*/ 1476 h 1827"/>
                  <a:gd name="T14" fmla="*/ 5394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5394" y="401"/>
                    </a:moveTo>
                    <a:lnTo>
                      <a:pt x="4186" y="0"/>
                    </a:lnTo>
                    <a:lnTo>
                      <a:pt x="1332" y="1140"/>
                    </a:lnTo>
                    <a:lnTo>
                      <a:pt x="0" y="814"/>
                    </a:lnTo>
                    <a:lnTo>
                      <a:pt x="702" y="1827"/>
                    </a:lnTo>
                    <a:lnTo>
                      <a:pt x="4140" y="1827"/>
                    </a:lnTo>
                    <a:lnTo>
                      <a:pt x="2704" y="1476"/>
                    </a:lnTo>
                    <a:lnTo>
                      <a:pt x="5394"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24" name="Freeform 30"/>
              <p:cNvSpPr>
                <a:spLocks/>
              </p:cNvSpPr>
              <p:nvPr>
                <p:custDataLst>
                  <p:tags r:id="rId267"/>
                </p:custDataLst>
              </p:nvPr>
            </p:nvSpPr>
            <p:spPr bwMode="auto">
              <a:xfrm>
                <a:off x="493" y="3385"/>
                <a:ext cx="235" cy="73"/>
              </a:xfrm>
              <a:custGeom>
                <a:avLst/>
                <a:gdLst>
                  <a:gd name="T0" fmla="*/ 0 w 5394"/>
                  <a:gd name="T1" fmla="*/ 401 h 1827"/>
                  <a:gd name="T2" fmla="*/ 1208 w 5394"/>
                  <a:gd name="T3" fmla="*/ 0 h 1827"/>
                  <a:gd name="T4" fmla="*/ 4062 w 5394"/>
                  <a:gd name="T5" fmla="*/ 1140 h 1827"/>
                  <a:gd name="T6" fmla="*/ 5394 w 5394"/>
                  <a:gd name="T7" fmla="*/ 813 h 1827"/>
                  <a:gd name="T8" fmla="*/ 4691 w 5394"/>
                  <a:gd name="T9" fmla="*/ 1827 h 1827"/>
                  <a:gd name="T10" fmla="*/ 1253 w 5394"/>
                  <a:gd name="T11" fmla="*/ 1827 h 1827"/>
                  <a:gd name="T12" fmla="*/ 2690 w 5394"/>
                  <a:gd name="T13" fmla="*/ 1475 h 1827"/>
                  <a:gd name="T14" fmla="*/ 0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0" y="401"/>
                    </a:moveTo>
                    <a:lnTo>
                      <a:pt x="1208" y="0"/>
                    </a:lnTo>
                    <a:lnTo>
                      <a:pt x="4062" y="1140"/>
                    </a:lnTo>
                    <a:lnTo>
                      <a:pt x="5394" y="813"/>
                    </a:lnTo>
                    <a:lnTo>
                      <a:pt x="4691" y="1827"/>
                    </a:lnTo>
                    <a:lnTo>
                      <a:pt x="1253" y="1827"/>
                    </a:lnTo>
                    <a:lnTo>
                      <a:pt x="2690" y="1475"/>
                    </a:lnTo>
                    <a:lnTo>
                      <a:pt x="0"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25" name="Freeform 31"/>
              <p:cNvSpPr>
                <a:spLocks/>
              </p:cNvSpPr>
              <p:nvPr>
                <p:custDataLst>
                  <p:tags r:id="rId268"/>
                </p:custDataLst>
              </p:nvPr>
            </p:nvSpPr>
            <p:spPr bwMode="auto">
              <a:xfrm>
                <a:off x="729" y="3479"/>
                <a:ext cx="235" cy="73"/>
              </a:xfrm>
              <a:custGeom>
                <a:avLst/>
                <a:gdLst>
                  <a:gd name="T0" fmla="*/ 5393 w 5393"/>
                  <a:gd name="T1" fmla="*/ 1426 h 1827"/>
                  <a:gd name="T2" fmla="*/ 4186 w 5393"/>
                  <a:gd name="T3" fmla="*/ 1827 h 1827"/>
                  <a:gd name="T4" fmla="*/ 1332 w 5393"/>
                  <a:gd name="T5" fmla="*/ 687 h 1827"/>
                  <a:gd name="T6" fmla="*/ 0 w 5393"/>
                  <a:gd name="T7" fmla="*/ 1012 h 1827"/>
                  <a:gd name="T8" fmla="*/ 702 w 5393"/>
                  <a:gd name="T9" fmla="*/ 0 h 1827"/>
                  <a:gd name="T10" fmla="*/ 4140 w 5393"/>
                  <a:gd name="T11" fmla="*/ 0 h 1827"/>
                  <a:gd name="T12" fmla="*/ 2703 w 5393"/>
                  <a:gd name="T13" fmla="*/ 352 h 1827"/>
                  <a:gd name="T14" fmla="*/ 5393 w 5393"/>
                  <a:gd name="T15" fmla="*/ 1426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7">
                    <a:moveTo>
                      <a:pt x="5393" y="1426"/>
                    </a:moveTo>
                    <a:lnTo>
                      <a:pt x="4186" y="1827"/>
                    </a:lnTo>
                    <a:lnTo>
                      <a:pt x="1332" y="687"/>
                    </a:lnTo>
                    <a:lnTo>
                      <a:pt x="0" y="1012"/>
                    </a:lnTo>
                    <a:lnTo>
                      <a:pt x="702" y="0"/>
                    </a:lnTo>
                    <a:lnTo>
                      <a:pt x="4140" y="0"/>
                    </a:lnTo>
                    <a:lnTo>
                      <a:pt x="2703" y="352"/>
                    </a:lnTo>
                    <a:lnTo>
                      <a:pt x="5393"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26" name="Rectangle 32"/>
              <p:cNvSpPr>
                <a:spLocks noChangeArrowheads="1"/>
              </p:cNvSpPr>
              <p:nvPr>
                <p:custDataLst>
                  <p:tags r:id="rId269"/>
                </p:custDataLst>
              </p:nvPr>
            </p:nvSpPr>
            <p:spPr bwMode="auto">
              <a:xfrm>
                <a:off x="369"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827" name="Rectangle 33"/>
              <p:cNvSpPr>
                <a:spLocks noChangeArrowheads="1"/>
              </p:cNvSpPr>
              <p:nvPr>
                <p:custDataLst>
                  <p:tags r:id="rId270"/>
                </p:custDataLst>
              </p:nvPr>
            </p:nvSpPr>
            <p:spPr bwMode="auto">
              <a:xfrm>
                <a:off x="369"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828" name="Rectangle 34"/>
              <p:cNvSpPr>
                <a:spLocks noChangeArrowheads="1"/>
              </p:cNvSpPr>
              <p:nvPr>
                <p:custDataLst>
                  <p:tags r:id="rId271"/>
                </p:custDataLst>
              </p:nvPr>
            </p:nvSpPr>
            <p:spPr bwMode="auto">
              <a:xfrm>
                <a:off x="369"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829" name="Rectangle 35"/>
              <p:cNvSpPr>
                <a:spLocks noChangeArrowheads="1"/>
              </p:cNvSpPr>
              <p:nvPr>
                <p:custDataLst>
                  <p:tags r:id="rId272"/>
                </p:custDataLst>
              </p:nvPr>
            </p:nvSpPr>
            <p:spPr bwMode="auto">
              <a:xfrm>
                <a:off x="1082"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830" name="Rectangle 36"/>
              <p:cNvSpPr>
                <a:spLocks noChangeArrowheads="1"/>
              </p:cNvSpPr>
              <p:nvPr>
                <p:custDataLst>
                  <p:tags r:id="rId273"/>
                </p:custDataLst>
              </p:nvPr>
            </p:nvSpPr>
            <p:spPr bwMode="auto">
              <a:xfrm>
                <a:off x="1082"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831" name="Rectangle 37"/>
              <p:cNvSpPr>
                <a:spLocks noChangeArrowheads="1"/>
              </p:cNvSpPr>
              <p:nvPr>
                <p:custDataLst>
                  <p:tags r:id="rId274"/>
                </p:custDataLst>
              </p:nvPr>
            </p:nvSpPr>
            <p:spPr bwMode="auto">
              <a:xfrm>
                <a:off x="1082"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grpSp>
        <p:grpSp>
          <p:nvGrpSpPr>
            <p:cNvPr id="533" name="Group 38"/>
            <p:cNvGrpSpPr>
              <a:grpSpLocks/>
            </p:cNvGrpSpPr>
            <p:nvPr>
              <p:custDataLst>
                <p:tags r:id="rId6"/>
              </p:custDataLst>
            </p:nvPr>
          </p:nvGrpSpPr>
          <p:grpSpPr bwMode="auto">
            <a:xfrm>
              <a:off x="1732" y="2089"/>
              <a:ext cx="167" cy="95"/>
              <a:chOff x="369" y="3354"/>
              <a:chExt cx="717" cy="390"/>
            </a:xfrm>
          </p:grpSpPr>
          <p:sp>
            <p:nvSpPr>
              <p:cNvPr id="788" name="AutoShape 39"/>
              <p:cNvSpPr>
                <a:spLocks noChangeAspect="1" noChangeArrowheads="1" noTextEdit="1"/>
              </p:cNvSpPr>
              <p:nvPr>
                <p:custDataLst>
                  <p:tags r:id="rId231"/>
                </p:custDataLst>
              </p:nvPr>
            </p:nvSpPr>
            <p:spPr bwMode="auto">
              <a:xfrm>
                <a:off x="369" y="3354"/>
                <a:ext cx="717"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89" name="Freeform 40"/>
              <p:cNvSpPr>
                <a:spLocks/>
              </p:cNvSpPr>
              <p:nvPr>
                <p:custDataLst>
                  <p:tags r:id="rId232"/>
                </p:custDataLst>
              </p:nvPr>
            </p:nvSpPr>
            <p:spPr bwMode="auto">
              <a:xfrm>
                <a:off x="371" y="3517"/>
                <a:ext cx="713" cy="225"/>
              </a:xfrm>
              <a:custGeom>
                <a:avLst/>
                <a:gdLst>
                  <a:gd name="T0" fmla="*/ 16347 w 16389"/>
                  <a:gd name="T1" fmla="*/ 3102 h 5628"/>
                  <a:gd name="T2" fmla="*/ 16132 w 16389"/>
                  <a:gd name="T3" fmla="*/ 3518 h 5628"/>
                  <a:gd name="T4" fmla="*/ 15745 w 16389"/>
                  <a:gd name="T5" fmla="*/ 3909 h 5628"/>
                  <a:gd name="T6" fmla="*/ 15203 w 16389"/>
                  <a:gd name="T7" fmla="*/ 4273 h 5628"/>
                  <a:gd name="T8" fmla="*/ 14518 w 16389"/>
                  <a:gd name="T9" fmla="*/ 4605 h 5628"/>
                  <a:gd name="T10" fmla="*/ 13704 w 16389"/>
                  <a:gd name="T11" fmla="*/ 4898 h 5628"/>
                  <a:gd name="T12" fmla="*/ 12776 w 16389"/>
                  <a:gd name="T13" fmla="*/ 5148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8 h 5628"/>
                  <a:gd name="T30" fmla="*/ 2685 w 16389"/>
                  <a:gd name="T31" fmla="*/ 4898 h 5628"/>
                  <a:gd name="T32" fmla="*/ 1871 w 16389"/>
                  <a:gd name="T33" fmla="*/ 4605 h 5628"/>
                  <a:gd name="T34" fmla="*/ 1186 w 16389"/>
                  <a:gd name="T35" fmla="*/ 4273 h 5628"/>
                  <a:gd name="T36" fmla="*/ 644 w 16389"/>
                  <a:gd name="T37" fmla="*/ 3909 h 5628"/>
                  <a:gd name="T38" fmla="*/ 257 w 16389"/>
                  <a:gd name="T39" fmla="*/ 3518 h 5628"/>
                  <a:gd name="T40" fmla="*/ 42 w 16389"/>
                  <a:gd name="T41" fmla="*/ 3102 h 5628"/>
                  <a:gd name="T42" fmla="*/ 10 w 16389"/>
                  <a:gd name="T43" fmla="*/ 2669 h 5628"/>
                  <a:gd name="T44" fmla="*/ 165 w 16389"/>
                  <a:gd name="T45" fmla="*/ 2247 h 5628"/>
                  <a:gd name="T46" fmla="*/ 496 w 16389"/>
                  <a:gd name="T47" fmla="*/ 1847 h 5628"/>
                  <a:gd name="T48" fmla="*/ 989 w 16389"/>
                  <a:gd name="T49" fmla="*/ 1474 h 5628"/>
                  <a:gd name="T50" fmla="*/ 1628 w 16389"/>
                  <a:gd name="T51" fmla="*/ 1131 h 5628"/>
                  <a:gd name="T52" fmla="*/ 2400 w 16389"/>
                  <a:gd name="T53" fmla="*/ 825 h 5628"/>
                  <a:gd name="T54" fmla="*/ 3292 w 16389"/>
                  <a:gd name="T55" fmla="*/ 560 h 5628"/>
                  <a:gd name="T56" fmla="*/ 4289 w 16389"/>
                  <a:gd name="T57" fmla="*/ 340 h 5628"/>
                  <a:gd name="T58" fmla="*/ 5378 w 16389"/>
                  <a:gd name="T59" fmla="*/ 171 h 5628"/>
                  <a:gd name="T60" fmla="*/ 6543 w 16389"/>
                  <a:gd name="T61" fmla="*/ 57 h 5628"/>
                  <a:gd name="T62" fmla="*/ 7773 w 16389"/>
                  <a:gd name="T63" fmla="*/ 4 h 5628"/>
                  <a:gd name="T64" fmla="*/ 9032 w 16389"/>
                  <a:gd name="T65" fmla="*/ 14 h 5628"/>
                  <a:gd name="T66" fmla="*/ 10241 w 16389"/>
                  <a:gd name="T67" fmla="*/ 89 h 5628"/>
                  <a:gd name="T68" fmla="*/ 11383 w 16389"/>
                  <a:gd name="T69" fmla="*/ 221 h 5628"/>
                  <a:gd name="T70" fmla="*/ 12443 w 16389"/>
                  <a:gd name="T71" fmla="*/ 408 h 5628"/>
                  <a:gd name="T72" fmla="*/ 13407 w 16389"/>
                  <a:gd name="T73" fmla="*/ 643 h 5628"/>
                  <a:gd name="T74" fmla="*/ 14260 w 16389"/>
                  <a:gd name="T75" fmla="*/ 922 h 5628"/>
                  <a:gd name="T76" fmla="*/ 14990 w 16389"/>
                  <a:gd name="T77" fmla="*/ 1241 h 5628"/>
                  <a:gd name="T78" fmla="*/ 15581 w 16389"/>
                  <a:gd name="T79" fmla="*/ 1595 h 5628"/>
                  <a:gd name="T80" fmla="*/ 16022 w 16389"/>
                  <a:gd name="T81" fmla="*/ 1978 h 5628"/>
                  <a:gd name="T82" fmla="*/ 16296 w 16389"/>
                  <a:gd name="T83" fmla="*/ 2386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3"/>
                    </a:lnTo>
                    <a:lnTo>
                      <a:pt x="16224" y="3381"/>
                    </a:lnTo>
                    <a:lnTo>
                      <a:pt x="16132" y="3518"/>
                    </a:lnTo>
                    <a:lnTo>
                      <a:pt x="16022" y="3651"/>
                    </a:lnTo>
                    <a:lnTo>
                      <a:pt x="15893" y="3782"/>
                    </a:lnTo>
                    <a:lnTo>
                      <a:pt x="15745" y="3909"/>
                    </a:lnTo>
                    <a:lnTo>
                      <a:pt x="15581" y="4034"/>
                    </a:lnTo>
                    <a:lnTo>
                      <a:pt x="15400" y="4155"/>
                    </a:lnTo>
                    <a:lnTo>
                      <a:pt x="15203" y="4273"/>
                    </a:lnTo>
                    <a:lnTo>
                      <a:pt x="14990" y="4387"/>
                    </a:lnTo>
                    <a:lnTo>
                      <a:pt x="14761" y="4498"/>
                    </a:lnTo>
                    <a:lnTo>
                      <a:pt x="14518" y="4605"/>
                    </a:lnTo>
                    <a:lnTo>
                      <a:pt x="14260" y="4706"/>
                    </a:lnTo>
                    <a:lnTo>
                      <a:pt x="13989" y="4804"/>
                    </a:lnTo>
                    <a:lnTo>
                      <a:pt x="13704" y="4898"/>
                    </a:lnTo>
                    <a:lnTo>
                      <a:pt x="13407" y="4986"/>
                    </a:lnTo>
                    <a:lnTo>
                      <a:pt x="13096" y="5069"/>
                    </a:lnTo>
                    <a:lnTo>
                      <a:pt x="12776" y="5148"/>
                    </a:lnTo>
                    <a:lnTo>
                      <a:pt x="12443" y="5222"/>
                    </a:lnTo>
                    <a:lnTo>
                      <a:pt x="12100" y="5289"/>
                    </a:lnTo>
                    <a:lnTo>
                      <a:pt x="11746" y="5351"/>
                    </a:lnTo>
                    <a:lnTo>
                      <a:pt x="11383" y="5408"/>
                    </a:lnTo>
                    <a:lnTo>
                      <a:pt x="11011" y="5458"/>
                    </a:lnTo>
                    <a:lnTo>
                      <a:pt x="10631" y="5502"/>
                    </a:lnTo>
                    <a:lnTo>
                      <a:pt x="10241" y="5540"/>
                    </a:lnTo>
                    <a:lnTo>
                      <a:pt x="9846" y="5571"/>
                    </a:lnTo>
                    <a:lnTo>
                      <a:pt x="9442" y="5596"/>
                    </a:lnTo>
                    <a:lnTo>
                      <a:pt x="9032" y="5614"/>
                    </a:lnTo>
                    <a:lnTo>
                      <a:pt x="8616" y="5625"/>
                    </a:lnTo>
                    <a:lnTo>
                      <a:pt x="8195" y="5628"/>
                    </a:lnTo>
                    <a:lnTo>
                      <a:pt x="7773" y="5625"/>
                    </a:lnTo>
                    <a:lnTo>
                      <a:pt x="7357" y="5614"/>
                    </a:lnTo>
                    <a:lnTo>
                      <a:pt x="6947" y="5596"/>
                    </a:lnTo>
                    <a:lnTo>
                      <a:pt x="6543" y="5571"/>
                    </a:lnTo>
                    <a:lnTo>
                      <a:pt x="6148" y="5540"/>
                    </a:lnTo>
                    <a:lnTo>
                      <a:pt x="5758" y="5502"/>
                    </a:lnTo>
                    <a:lnTo>
                      <a:pt x="5378" y="5458"/>
                    </a:lnTo>
                    <a:lnTo>
                      <a:pt x="5006" y="5408"/>
                    </a:lnTo>
                    <a:lnTo>
                      <a:pt x="4643" y="5351"/>
                    </a:lnTo>
                    <a:lnTo>
                      <a:pt x="4289" y="5289"/>
                    </a:lnTo>
                    <a:lnTo>
                      <a:pt x="3946" y="5222"/>
                    </a:lnTo>
                    <a:lnTo>
                      <a:pt x="3613" y="5148"/>
                    </a:lnTo>
                    <a:lnTo>
                      <a:pt x="3292" y="5069"/>
                    </a:lnTo>
                    <a:lnTo>
                      <a:pt x="2982" y="4986"/>
                    </a:lnTo>
                    <a:lnTo>
                      <a:pt x="2685" y="4898"/>
                    </a:lnTo>
                    <a:lnTo>
                      <a:pt x="2400" y="4804"/>
                    </a:lnTo>
                    <a:lnTo>
                      <a:pt x="2129" y="4706"/>
                    </a:lnTo>
                    <a:lnTo>
                      <a:pt x="1871" y="4605"/>
                    </a:lnTo>
                    <a:lnTo>
                      <a:pt x="1628" y="4498"/>
                    </a:lnTo>
                    <a:lnTo>
                      <a:pt x="1399" y="4387"/>
                    </a:lnTo>
                    <a:lnTo>
                      <a:pt x="1186" y="4273"/>
                    </a:lnTo>
                    <a:lnTo>
                      <a:pt x="989" y="4155"/>
                    </a:lnTo>
                    <a:lnTo>
                      <a:pt x="808" y="4034"/>
                    </a:lnTo>
                    <a:lnTo>
                      <a:pt x="644" y="3909"/>
                    </a:lnTo>
                    <a:lnTo>
                      <a:pt x="496" y="3782"/>
                    </a:lnTo>
                    <a:lnTo>
                      <a:pt x="367" y="3651"/>
                    </a:lnTo>
                    <a:lnTo>
                      <a:pt x="257" y="3518"/>
                    </a:lnTo>
                    <a:lnTo>
                      <a:pt x="165" y="3381"/>
                    </a:lnTo>
                    <a:lnTo>
                      <a:pt x="93" y="3243"/>
                    </a:lnTo>
                    <a:lnTo>
                      <a:pt x="42" y="3102"/>
                    </a:lnTo>
                    <a:lnTo>
                      <a:pt x="10" y="2959"/>
                    </a:lnTo>
                    <a:lnTo>
                      <a:pt x="0" y="2814"/>
                    </a:lnTo>
                    <a:lnTo>
                      <a:pt x="10" y="2669"/>
                    </a:lnTo>
                    <a:lnTo>
                      <a:pt x="42" y="2526"/>
                    </a:lnTo>
                    <a:lnTo>
                      <a:pt x="93" y="2386"/>
                    </a:lnTo>
                    <a:lnTo>
                      <a:pt x="165" y="2247"/>
                    </a:lnTo>
                    <a:lnTo>
                      <a:pt x="257" y="2111"/>
                    </a:lnTo>
                    <a:lnTo>
                      <a:pt x="367" y="1978"/>
                    </a:lnTo>
                    <a:lnTo>
                      <a:pt x="496" y="1847"/>
                    </a:lnTo>
                    <a:lnTo>
                      <a:pt x="644" y="1719"/>
                    </a:lnTo>
                    <a:lnTo>
                      <a:pt x="808" y="1595"/>
                    </a:lnTo>
                    <a:lnTo>
                      <a:pt x="989" y="1474"/>
                    </a:lnTo>
                    <a:lnTo>
                      <a:pt x="1186" y="1356"/>
                    </a:lnTo>
                    <a:lnTo>
                      <a:pt x="1399" y="1241"/>
                    </a:lnTo>
                    <a:lnTo>
                      <a:pt x="1628" y="1131"/>
                    </a:lnTo>
                    <a:lnTo>
                      <a:pt x="1871" y="1024"/>
                    </a:lnTo>
                    <a:lnTo>
                      <a:pt x="2129" y="922"/>
                    </a:lnTo>
                    <a:lnTo>
                      <a:pt x="2400" y="825"/>
                    </a:lnTo>
                    <a:lnTo>
                      <a:pt x="2685" y="732"/>
                    </a:lnTo>
                    <a:lnTo>
                      <a:pt x="2982" y="643"/>
                    </a:lnTo>
                    <a:lnTo>
                      <a:pt x="3292" y="560"/>
                    </a:lnTo>
                    <a:lnTo>
                      <a:pt x="3613" y="481"/>
                    </a:lnTo>
                    <a:lnTo>
                      <a:pt x="3946" y="408"/>
                    </a:lnTo>
                    <a:lnTo>
                      <a:pt x="4289" y="340"/>
                    </a:lnTo>
                    <a:lnTo>
                      <a:pt x="4643" y="277"/>
                    </a:lnTo>
                    <a:lnTo>
                      <a:pt x="5006" y="221"/>
                    </a:lnTo>
                    <a:lnTo>
                      <a:pt x="5378" y="171"/>
                    </a:lnTo>
                    <a:lnTo>
                      <a:pt x="5758" y="126"/>
                    </a:lnTo>
                    <a:lnTo>
                      <a:pt x="6148" y="89"/>
                    </a:lnTo>
                    <a:lnTo>
                      <a:pt x="6543" y="57"/>
                    </a:lnTo>
                    <a:lnTo>
                      <a:pt x="6947" y="32"/>
                    </a:lnTo>
                    <a:lnTo>
                      <a:pt x="7357" y="14"/>
                    </a:lnTo>
                    <a:lnTo>
                      <a:pt x="7773" y="4"/>
                    </a:lnTo>
                    <a:lnTo>
                      <a:pt x="8195" y="0"/>
                    </a:lnTo>
                    <a:lnTo>
                      <a:pt x="8616" y="4"/>
                    </a:lnTo>
                    <a:lnTo>
                      <a:pt x="9032" y="14"/>
                    </a:lnTo>
                    <a:lnTo>
                      <a:pt x="9442" y="32"/>
                    </a:lnTo>
                    <a:lnTo>
                      <a:pt x="9846" y="57"/>
                    </a:lnTo>
                    <a:lnTo>
                      <a:pt x="10241" y="89"/>
                    </a:lnTo>
                    <a:lnTo>
                      <a:pt x="10631" y="126"/>
                    </a:lnTo>
                    <a:lnTo>
                      <a:pt x="11011" y="171"/>
                    </a:lnTo>
                    <a:lnTo>
                      <a:pt x="11383" y="221"/>
                    </a:lnTo>
                    <a:lnTo>
                      <a:pt x="11746" y="277"/>
                    </a:lnTo>
                    <a:lnTo>
                      <a:pt x="12100" y="340"/>
                    </a:lnTo>
                    <a:lnTo>
                      <a:pt x="12443" y="408"/>
                    </a:lnTo>
                    <a:lnTo>
                      <a:pt x="12776" y="481"/>
                    </a:lnTo>
                    <a:lnTo>
                      <a:pt x="13096" y="560"/>
                    </a:lnTo>
                    <a:lnTo>
                      <a:pt x="13407" y="643"/>
                    </a:lnTo>
                    <a:lnTo>
                      <a:pt x="13704" y="732"/>
                    </a:lnTo>
                    <a:lnTo>
                      <a:pt x="13989" y="825"/>
                    </a:lnTo>
                    <a:lnTo>
                      <a:pt x="14260" y="922"/>
                    </a:lnTo>
                    <a:lnTo>
                      <a:pt x="14518" y="1024"/>
                    </a:lnTo>
                    <a:lnTo>
                      <a:pt x="14761" y="1131"/>
                    </a:lnTo>
                    <a:lnTo>
                      <a:pt x="14990" y="1241"/>
                    </a:lnTo>
                    <a:lnTo>
                      <a:pt x="15203" y="1356"/>
                    </a:lnTo>
                    <a:lnTo>
                      <a:pt x="15400" y="1474"/>
                    </a:lnTo>
                    <a:lnTo>
                      <a:pt x="15581" y="1595"/>
                    </a:lnTo>
                    <a:lnTo>
                      <a:pt x="15745" y="1719"/>
                    </a:lnTo>
                    <a:lnTo>
                      <a:pt x="15893" y="1847"/>
                    </a:lnTo>
                    <a:lnTo>
                      <a:pt x="16022" y="1978"/>
                    </a:lnTo>
                    <a:lnTo>
                      <a:pt x="16132" y="2111"/>
                    </a:lnTo>
                    <a:lnTo>
                      <a:pt x="16224" y="2247"/>
                    </a:lnTo>
                    <a:lnTo>
                      <a:pt x="16296" y="2386"/>
                    </a:lnTo>
                    <a:lnTo>
                      <a:pt x="16347" y="2526"/>
                    </a:lnTo>
                    <a:lnTo>
                      <a:pt x="16379" y="2669"/>
                    </a:lnTo>
                    <a:lnTo>
                      <a:pt x="16389" y="2814"/>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90" name="Freeform 41"/>
              <p:cNvSpPr>
                <a:spLocks/>
              </p:cNvSpPr>
              <p:nvPr>
                <p:custDataLst>
                  <p:tags r:id="rId233"/>
                </p:custDataLst>
              </p:nvPr>
            </p:nvSpPr>
            <p:spPr bwMode="auto">
              <a:xfrm>
                <a:off x="725" y="3629"/>
                <a:ext cx="361" cy="115"/>
              </a:xfrm>
              <a:custGeom>
                <a:avLst/>
                <a:gdLst>
                  <a:gd name="T0" fmla="*/ 472 w 8295"/>
                  <a:gd name="T1" fmla="*/ 2861 h 2865"/>
                  <a:gd name="T2" fmla="*/ 1300 w 8295"/>
                  <a:gd name="T3" fmla="*/ 2832 h 2865"/>
                  <a:gd name="T4" fmla="*/ 2102 w 8295"/>
                  <a:gd name="T5" fmla="*/ 2776 h 2865"/>
                  <a:gd name="T6" fmla="*/ 2873 w 8295"/>
                  <a:gd name="T7" fmla="*/ 2694 h 2865"/>
                  <a:gd name="T8" fmla="*/ 3609 w 8295"/>
                  <a:gd name="T9" fmla="*/ 2587 h 2865"/>
                  <a:gd name="T10" fmla="*/ 4308 w 8295"/>
                  <a:gd name="T11" fmla="*/ 2456 h 2865"/>
                  <a:gd name="T12" fmla="*/ 4964 w 8295"/>
                  <a:gd name="T13" fmla="*/ 2304 h 2865"/>
                  <a:gd name="T14" fmla="*/ 5426 w 8295"/>
                  <a:gd name="T15" fmla="*/ 2177 h 2865"/>
                  <a:gd name="T16" fmla="*/ 5718 w 8295"/>
                  <a:gd name="T17" fmla="*/ 2085 h 2865"/>
                  <a:gd name="T18" fmla="*/ 5998 w 8295"/>
                  <a:gd name="T19" fmla="*/ 1989 h 2865"/>
                  <a:gd name="T20" fmla="*/ 6264 w 8295"/>
                  <a:gd name="T21" fmla="*/ 1889 h 2865"/>
                  <a:gd name="T22" fmla="*/ 6516 w 8295"/>
                  <a:gd name="T23" fmla="*/ 1783 h 2865"/>
                  <a:gd name="T24" fmla="*/ 6754 w 8295"/>
                  <a:gd name="T25" fmla="*/ 1675 h 2865"/>
                  <a:gd name="T26" fmla="*/ 6977 w 8295"/>
                  <a:gd name="T27" fmla="*/ 1561 h 2865"/>
                  <a:gd name="T28" fmla="*/ 7184 w 8295"/>
                  <a:gd name="T29" fmla="*/ 1444 h 2865"/>
                  <a:gd name="T30" fmla="*/ 7376 w 8295"/>
                  <a:gd name="T31" fmla="*/ 1323 h 2865"/>
                  <a:gd name="T32" fmla="*/ 7551 w 8295"/>
                  <a:gd name="T33" fmla="*/ 1199 h 2865"/>
                  <a:gd name="T34" fmla="*/ 7709 w 8295"/>
                  <a:gd name="T35" fmla="*/ 1070 h 2865"/>
                  <a:gd name="T36" fmla="*/ 7850 w 8295"/>
                  <a:gd name="T37" fmla="*/ 938 h 2865"/>
                  <a:gd name="T38" fmla="*/ 7972 w 8295"/>
                  <a:gd name="T39" fmla="*/ 802 h 2865"/>
                  <a:gd name="T40" fmla="*/ 8076 w 8295"/>
                  <a:gd name="T41" fmla="*/ 663 h 2865"/>
                  <a:gd name="T42" fmla="*/ 8161 w 8295"/>
                  <a:gd name="T43" fmla="*/ 522 h 2865"/>
                  <a:gd name="T44" fmla="*/ 8226 w 8295"/>
                  <a:gd name="T45" fmla="*/ 376 h 2865"/>
                  <a:gd name="T46" fmla="*/ 8269 w 8295"/>
                  <a:gd name="T47" fmla="*/ 228 h 2865"/>
                  <a:gd name="T48" fmla="*/ 8292 w 8295"/>
                  <a:gd name="T49" fmla="*/ 77 h 2865"/>
                  <a:gd name="T50" fmla="*/ 8194 w 8295"/>
                  <a:gd name="T51" fmla="*/ 35 h 2865"/>
                  <a:gd name="T52" fmla="*/ 8180 w 8295"/>
                  <a:gd name="T53" fmla="*/ 172 h 2865"/>
                  <a:gd name="T54" fmla="*/ 8145 w 8295"/>
                  <a:gd name="T55" fmla="*/ 307 h 2865"/>
                  <a:gd name="T56" fmla="*/ 8089 w 8295"/>
                  <a:gd name="T57" fmla="*/ 442 h 2865"/>
                  <a:gd name="T58" fmla="*/ 8016 w 8295"/>
                  <a:gd name="T59" fmla="*/ 574 h 2865"/>
                  <a:gd name="T60" fmla="*/ 7922 w 8295"/>
                  <a:gd name="T61" fmla="*/ 706 h 2865"/>
                  <a:gd name="T62" fmla="*/ 7810 w 8295"/>
                  <a:gd name="T63" fmla="*/ 835 h 2865"/>
                  <a:gd name="T64" fmla="*/ 7679 w 8295"/>
                  <a:gd name="T65" fmla="*/ 963 h 2865"/>
                  <a:gd name="T66" fmla="*/ 7530 w 8295"/>
                  <a:gd name="T67" fmla="*/ 1088 h 2865"/>
                  <a:gd name="T68" fmla="*/ 7364 w 8295"/>
                  <a:gd name="T69" fmla="*/ 1210 h 2865"/>
                  <a:gd name="T70" fmla="*/ 7182 w 8295"/>
                  <a:gd name="T71" fmla="*/ 1329 h 2865"/>
                  <a:gd name="T72" fmla="*/ 6982 w 8295"/>
                  <a:gd name="T73" fmla="*/ 1444 h 2865"/>
                  <a:gd name="T74" fmla="*/ 6766 w 8295"/>
                  <a:gd name="T75" fmla="*/ 1557 h 2865"/>
                  <a:gd name="T76" fmla="*/ 6537 w 8295"/>
                  <a:gd name="T77" fmla="*/ 1665 h 2865"/>
                  <a:gd name="T78" fmla="*/ 6290 w 8295"/>
                  <a:gd name="T79" fmla="*/ 1770 h 2865"/>
                  <a:gd name="T80" fmla="*/ 6032 w 8295"/>
                  <a:gd name="T81" fmla="*/ 1870 h 2865"/>
                  <a:gd name="T82" fmla="*/ 5757 w 8295"/>
                  <a:gd name="T83" fmla="*/ 1967 h 2865"/>
                  <a:gd name="T84" fmla="*/ 5471 w 8295"/>
                  <a:gd name="T85" fmla="*/ 2058 h 2865"/>
                  <a:gd name="T86" fmla="*/ 5096 w 8295"/>
                  <a:gd name="T87" fmla="*/ 2165 h 2865"/>
                  <a:gd name="T88" fmla="*/ 4455 w 8295"/>
                  <a:gd name="T89" fmla="*/ 2323 h 2865"/>
                  <a:gd name="T90" fmla="*/ 3771 w 8295"/>
                  <a:gd name="T91" fmla="*/ 2457 h 2865"/>
                  <a:gd name="T92" fmla="*/ 3047 w 8295"/>
                  <a:gd name="T93" fmla="*/ 2570 h 2865"/>
                  <a:gd name="T94" fmla="*/ 2287 w 8295"/>
                  <a:gd name="T95" fmla="*/ 2658 h 2865"/>
                  <a:gd name="T96" fmla="*/ 1497 w 8295"/>
                  <a:gd name="T97" fmla="*/ 2721 h 2865"/>
                  <a:gd name="T98" fmla="*/ 678 w 8295"/>
                  <a:gd name="T99" fmla="*/ 2756 h 2865"/>
                  <a:gd name="T100" fmla="*/ 50 w 8295"/>
                  <a:gd name="T101" fmla="*/ 2765 h 2865"/>
                  <a:gd name="T102" fmla="*/ 33 w 8295"/>
                  <a:gd name="T103" fmla="*/ 2767 h 2865"/>
                  <a:gd name="T104" fmla="*/ 15 w 8295"/>
                  <a:gd name="T105" fmla="*/ 2777 h 2865"/>
                  <a:gd name="T106" fmla="*/ 0 w 8295"/>
                  <a:gd name="T107" fmla="*/ 2805 h 2865"/>
                  <a:gd name="T108" fmla="*/ 6 w 8295"/>
                  <a:gd name="T109" fmla="*/ 2842 h 2865"/>
                  <a:gd name="T110" fmla="*/ 23 w 8295"/>
                  <a:gd name="T111" fmla="*/ 2859 h 2865"/>
                  <a:gd name="T112" fmla="*/ 43 w 8295"/>
                  <a:gd name="T113" fmla="*/ 2865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5">
                    <a:moveTo>
                      <a:pt x="50" y="2865"/>
                    </a:moveTo>
                    <a:lnTo>
                      <a:pt x="50" y="2865"/>
                    </a:lnTo>
                    <a:lnTo>
                      <a:pt x="262" y="2864"/>
                    </a:lnTo>
                    <a:lnTo>
                      <a:pt x="472" y="2861"/>
                    </a:lnTo>
                    <a:lnTo>
                      <a:pt x="681" y="2857"/>
                    </a:lnTo>
                    <a:lnTo>
                      <a:pt x="888" y="2851"/>
                    </a:lnTo>
                    <a:lnTo>
                      <a:pt x="1095" y="2842"/>
                    </a:lnTo>
                    <a:lnTo>
                      <a:pt x="1300" y="2832"/>
                    </a:lnTo>
                    <a:lnTo>
                      <a:pt x="1503" y="2820"/>
                    </a:lnTo>
                    <a:lnTo>
                      <a:pt x="1704" y="2808"/>
                    </a:lnTo>
                    <a:lnTo>
                      <a:pt x="1904" y="2793"/>
                    </a:lnTo>
                    <a:lnTo>
                      <a:pt x="2102" y="2776"/>
                    </a:lnTo>
                    <a:lnTo>
                      <a:pt x="2296" y="2757"/>
                    </a:lnTo>
                    <a:lnTo>
                      <a:pt x="2491" y="2738"/>
                    </a:lnTo>
                    <a:lnTo>
                      <a:pt x="2683" y="2717"/>
                    </a:lnTo>
                    <a:lnTo>
                      <a:pt x="2873" y="2694"/>
                    </a:lnTo>
                    <a:lnTo>
                      <a:pt x="3060" y="2669"/>
                    </a:lnTo>
                    <a:lnTo>
                      <a:pt x="3246" y="2644"/>
                    </a:lnTo>
                    <a:lnTo>
                      <a:pt x="3429" y="2616"/>
                    </a:lnTo>
                    <a:lnTo>
                      <a:pt x="3609" y="2587"/>
                    </a:lnTo>
                    <a:lnTo>
                      <a:pt x="3788" y="2557"/>
                    </a:lnTo>
                    <a:lnTo>
                      <a:pt x="3964" y="2524"/>
                    </a:lnTo>
                    <a:lnTo>
                      <a:pt x="4137" y="2491"/>
                    </a:lnTo>
                    <a:lnTo>
                      <a:pt x="4308" y="2456"/>
                    </a:lnTo>
                    <a:lnTo>
                      <a:pt x="4476" y="2420"/>
                    </a:lnTo>
                    <a:lnTo>
                      <a:pt x="4642" y="2383"/>
                    </a:lnTo>
                    <a:lnTo>
                      <a:pt x="4804" y="2344"/>
                    </a:lnTo>
                    <a:lnTo>
                      <a:pt x="4964" y="2304"/>
                    </a:lnTo>
                    <a:lnTo>
                      <a:pt x="5122" y="2263"/>
                    </a:lnTo>
                    <a:lnTo>
                      <a:pt x="5275" y="2220"/>
                    </a:lnTo>
                    <a:lnTo>
                      <a:pt x="5351" y="2198"/>
                    </a:lnTo>
                    <a:lnTo>
                      <a:pt x="5426" y="2177"/>
                    </a:lnTo>
                    <a:lnTo>
                      <a:pt x="5500" y="2154"/>
                    </a:lnTo>
                    <a:lnTo>
                      <a:pt x="5574" y="2131"/>
                    </a:lnTo>
                    <a:lnTo>
                      <a:pt x="5646" y="2108"/>
                    </a:lnTo>
                    <a:lnTo>
                      <a:pt x="5718" y="2085"/>
                    </a:lnTo>
                    <a:lnTo>
                      <a:pt x="5789" y="2062"/>
                    </a:lnTo>
                    <a:lnTo>
                      <a:pt x="5859" y="2038"/>
                    </a:lnTo>
                    <a:lnTo>
                      <a:pt x="5930" y="2013"/>
                    </a:lnTo>
                    <a:lnTo>
                      <a:pt x="5998" y="1989"/>
                    </a:lnTo>
                    <a:lnTo>
                      <a:pt x="6066" y="1965"/>
                    </a:lnTo>
                    <a:lnTo>
                      <a:pt x="6133" y="1940"/>
                    </a:lnTo>
                    <a:lnTo>
                      <a:pt x="6199" y="1914"/>
                    </a:lnTo>
                    <a:lnTo>
                      <a:pt x="6264" y="1889"/>
                    </a:lnTo>
                    <a:lnTo>
                      <a:pt x="6328" y="1863"/>
                    </a:lnTo>
                    <a:lnTo>
                      <a:pt x="6391" y="1836"/>
                    </a:lnTo>
                    <a:lnTo>
                      <a:pt x="6454" y="1810"/>
                    </a:lnTo>
                    <a:lnTo>
                      <a:pt x="6516" y="1783"/>
                    </a:lnTo>
                    <a:lnTo>
                      <a:pt x="6577" y="1756"/>
                    </a:lnTo>
                    <a:lnTo>
                      <a:pt x="6637" y="1730"/>
                    </a:lnTo>
                    <a:lnTo>
                      <a:pt x="6695" y="1702"/>
                    </a:lnTo>
                    <a:lnTo>
                      <a:pt x="6754" y="1675"/>
                    </a:lnTo>
                    <a:lnTo>
                      <a:pt x="6811" y="1647"/>
                    </a:lnTo>
                    <a:lnTo>
                      <a:pt x="6867" y="1619"/>
                    </a:lnTo>
                    <a:lnTo>
                      <a:pt x="6922" y="1590"/>
                    </a:lnTo>
                    <a:lnTo>
                      <a:pt x="6977" y="1561"/>
                    </a:lnTo>
                    <a:lnTo>
                      <a:pt x="7030" y="1532"/>
                    </a:lnTo>
                    <a:lnTo>
                      <a:pt x="7082" y="1503"/>
                    </a:lnTo>
                    <a:lnTo>
                      <a:pt x="7133" y="1474"/>
                    </a:lnTo>
                    <a:lnTo>
                      <a:pt x="7184" y="1444"/>
                    </a:lnTo>
                    <a:lnTo>
                      <a:pt x="7233" y="1414"/>
                    </a:lnTo>
                    <a:lnTo>
                      <a:pt x="7282" y="1384"/>
                    </a:lnTo>
                    <a:lnTo>
                      <a:pt x="7329" y="1354"/>
                    </a:lnTo>
                    <a:lnTo>
                      <a:pt x="7376" y="1323"/>
                    </a:lnTo>
                    <a:lnTo>
                      <a:pt x="7421" y="1292"/>
                    </a:lnTo>
                    <a:lnTo>
                      <a:pt x="7465" y="1261"/>
                    </a:lnTo>
                    <a:lnTo>
                      <a:pt x="7509" y="1230"/>
                    </a:lnTo>
                    <a:lnTo>
                      <a:pt x="7551" y="1199"/>
                    </a:lnTo>
                    <a:lnTo>
                      <a:pt x="7592" y="1167"/>
                    </a:lnTo>
                    <a:lnTo>
                      <a:pt x="7632" y="1134"/>
                    </a:lnTo>
                    <a:lnTo>
                      <a:pt x="7670" y="1102"/>
                    </a:lnTo>
                    <a:lnTo>
                      <a:pt x="7709" y="1070"/>
                    </a:lnTo>
                    <a:lnTo>
                      <a:pt x="7746" y="1037"/>
                    </a:lnTo>
                    <a:lnTo>
                      <a:pt x="7782" y="1004"/>
                    </a:lnTo>
                    <a:lnTo>
                      <a:pt x="7816" y="971"/>
                    </a:lnTo>
                    <a:lnTo>
                      <a:pt x="7850" y="938"/>
                    </a:lnTo>
                    <a:lnTo>
                      <a:pt x="7882" y="905"/>
                    </a:lnTo>
                    <a:lnTo>
                      <a:pt x="7914" y="870"/>
                    </a:lnTo>
                    <a:lnTo>
                      <a:pt x="7944" y="837"/>
                    </a:lnTo>
                    <a:lnTo>
                      <a:pt x="7972" y="802"/>
                    </a:lnTo>
                    <a:lnTo>
                      <a:pt x="8000" y="768"/>
                    </a:lnTo>
                    <a:lnTo>
                      <a:pt x="8027" y="734"/>
                    </a:lnTo>
                    <a:lnTo>
                      <a:pt x="8052" y="699"/>
                    </a:lnTo>
                    <a:lnTo>
                      <a:pt x="8076" y="663"/>
                    </a:lnTo>
                    <a:lnTo>
                      <a:pt x="8099" y="628"/>
                    </a:lnTo>
                    <a:lnTo>
                      <a:pt x="8121" y="593"/>
                    </a:lnTo>
                    <a:lnTo>
                      <a:pt x="8141" y="558"/>
                    </a:lnTo>
                    <a:lnTo>
                      <a:pt x="8161" y="522"/>
                    </a:lnTo>
                    <a:lnTo>
                      <a:pt x="8180" y="485"/>
                    </a:lnTo>
                    <a:lnTo>
                      <a:pt x="8196" y="449"/>
                    </a:lnTo>
                    <a:lnTo>
                      <a:pt x="8212" y="413"/>
                    </a:lnTo>
                    <a:lnTo>
                      <a:pt x="8226" y="376"/>
                    </a:lnTo>
                    <a:lnTo>
                      <a:pt x="8238" y="340"/>
                    </a:lnTo>
                    <a:lnTo>
                      <a:pt x="8251" y="302"/>
                    </a:lnTo>
                    <a:lnTo>
                      <a:pt x="8261" y="265"/>
                    </a:lnTo>
                    <a:lnTo>
                      <a:pt x="8269" y="228"/>
                    </a:lnTo>
                    <a:lnTo>
                      <a:pt x="8277" y="190"/>
                    </a:lnTo>
                    <a:lnTo>
                      <a:pt x="8284" y="152"/>
                    </a:lnTo>
                    <a:lnTo>
                      <a:pt x="8289" y="115"/>
                    </a:lnTo>
                    <a:lnTo>
                      <a:pt x="8292" y="77"/>
                    </a:lnTo>
                    <a:lnTo>
                      <a:pt x="8294" y="38"/>
                    </a:lnTo>
                    <a:lnTo>
                      <a:pt x="8295" y="0"/>
                    </a:lnTo>
                    <a:lnTo>
                      <a:pt x="8195" y="0"/>
                    </a:lnTo>
                    <a:lnTo>
                      <a:pt x="8194" y="35"/>
                    </a:lnTo>
                    <a:lnTo>
                      <a:pt x="8192" y="69"/>
                    </a:lnTo>
                    <a:lnTo>
                      <a:pt x="8189" y="104"/>
                    </a:lnTo>
                    <a:lnTo>
                      <a:pt x="8185" y="138"/>
                    </a:lnTo>
                    <a:lnTo>
                      <a:pt x="8180" y="172"/>
                    </a:lnTo>
                    <a:lnTo>
                      <a:pt x="8172" y="206"/>
                    </a:lnTo>
                    <a:lnTo>
                      <a:pt x="8164" y="240"/>
                    </a:lnTo>
                    <a:lnTo>
                      <a:pt x="8155" y="274"/>
                    </a:lnTo>
                    <a:lnTo>
                      <a:pt x="8145" y="307"/>
                    </a:lnTo>
                    <a:lnTo>
                      <a:pt x="8132" y="342"/>
                    </a:lnTo>
                    <a:lnTo>
                      <a:pt x="8119" y="375"/>
                    </a:lnTo>
                    <a:lnTo>
                      <a:pt x="8105" y="409"/>
                    </a:lnTo>
                    <a:lnTo>
                      <a:pt x="8089" y="442"/>
                    </a:lnTo>
                    <a:lnTo>
                      <a:pt x="8072" y="475"/>
                    </a:lnTo>
                    <a:lnTo>
                      <a:pt x="8055" y="508"/>
                    </a:lnTo>
                    <a:lnTo>
                      <a:pt x="8035" y="541"/>
                    </a:lnTo>
                    <a:lnTo>
                      <a:pt x="8016" y="574"/>
                    </a:lnTo>
                    <a:lnTo>
                      <a:pt x="7993" y="608"/>
                    </a:lnTo>
                    <a:lnTo>
                      <a:pt x="7970" y="641"/>
                    </a:lnTo>
                    <a:lnTo>
                      <a:pt x="7947" y="673"/>
                    </a:lnTo>
                    <a:lnTo>
                      <a:pt x="7922" y="706"/>
                    </a:lnTo>
                    <a:lnTo>
                      <a:pt x="7895" y="739"/>
                    </a:lnTo>
                    <a:lnTo>
                      <a:pt x="7868" y="771"/>
                    </a:lnTo>
                    <a:lnTo>
                      <a:pt x="7839" y="803"/>
                    </a:lnTo>
                    <a:lnTo>
                      <a:pt x="7810" y="835"/>
                    </a:lnTo>
                    <a:lnTo>
                      <a:pt x="7779" y="867"/>
                    </a:lnTo>
                    <a:lnTo>
                      <a:pt x="7747" y="899"/>
                    </a:lnTo>
                    <a:lnTo>
                      <a:pt x="7714" y="931"/>
                    </a:lnTo>
                    <a:lnTo>
                      <a:pt x="7679" y="963"/>
                    </a:lnTo>
                    <a:lnTo>
                      <a:pt x="7644" y="994"/>
                    </a:lnTo>
                    <a:lnTo>
                      <a:pt x="7607" y="1026"/>
                    </a:lnTo>
                    <a:lnTo>
                      <a:pt x="7569" y="1057"/>
                    </a:lnTo>
                    <a:lnTo>
                      <a:pt x="7530" y="1088"/>
                    </a:lnTo>
                    <a:lnTo>
                      <a:pt x="7490" y="1118"/>
                    </a:lnTo>
                    <a:lnTo>
                      <a:pt x="7450" y="1149"/>
                    </a:lnTo>
                    <a:lnTo>
                      <a:pt x="7408" y="1179"/>
                    </a:lnTo>
                    <a:lnTo>
                      <a:pt x="7364" y="1210"/>
                    </a:lnTo>
                    <a:lnTo>
                      <a:pt x="7320" y="1240"/>
                    </a:lnTo>
                    <a:lnTo>
                      <a:pt x="7275" y="1270"/>
                    </a:lnTo>
                    <a:lnTo>
                      <a:pt x="7228" y="1299"/>
                    </a:lnTo>
                    <a:lnTo>
                      <a:pt x="7182" y="1329"/>
                    </a:lnTo>
                    <a:lnTo>
                      <a:pt x="7133" y="1358"/>
                    </a:lnTo>
                    <a:lnTo>
                      <a:pt x="7084" y="1387"/>
                    </a:lnTo>
                    <a:lnTo>
                      <a:pt x="7033" y="1416"/>
                    </a:lnTo>
                    <a:lnTo>
                      <a:pt x="6982" y="1444"/>
                    </a:lnTo>
                    <a:lnTo>
                      <a:pt x="6929" y="1473"/>
                    </a:lnTo>
                    <a:lnTo>
                      <a:pt x="6877" y="1501"/>
                    </a:lnTo>
                    <a:lnTo>
                      <a:pt x="6822" y="1529"/>
                    </a:lnTo>
                    <a:lnTo>
                      <a:pt x="6766" y="1557"/>
                    </a:lnTo>
                    <a:lnTo>
                      <a:pt x="6711" y="1584"/>
                    </a:lnTo>
                    <a:lnTo>
                      <a:pt x="6653" y="1612"/>
                    </a:lnTo>
                    <a:lnTo>
                      <a:pt x="6595" y="1638"/>
                    </a:lnTo>
                    <a:lnTo>
                      <a:pt x="6537" y="1665"/>
                    </a:lnTo>
                    <a:lnTo>
                      <a:pt x="6476" y="1691"/>
                    </a:lnTo>
                    <a:lnTo>
                      <a:pt x="6415" y="1718"/>
                    </a:lnTo>
                    <a:lnTo>
                      <a:pt x="6354" y="1744"/>
                    </a:lnTo>
                    <a:lnTo>
                      <a:pt x="6290" y="1770"/>
                    </a:lnTo>
                    <a:lnTo>
                      <a:pt x="6227" y="1795"/>
                    </a:lnTo>
                    <a:lnTo>
                      <a:pt x="6163" y="1821"/>
                    </a:lnTo>
                    <a:lnTo>
                      <a:pt x="6098" y="1845"/>
                    </a:lnTo>
                    <a:lnTo>
                      <a:pt x="6032" y="1870"/>
                    </a:lnTo>
                    <a:lnTo>
                      <a:pt x="5965" y="1895"/>
                    </a:lnTo>
                    <a:lnTo>
                      <a:pt x="5897" y="1919"/>
                    </a:lnTo>
                    <a:lnTo>
                      <a:pt x="5828" y="1943"/>
                    </a:lnTo>
                    <a:lnTo>
                      <a:pt x="5757" y="1967"/>
                    </a:lnTo>
                    <a:lnTo>
                      <a:pt x="5687" y="1989"/>
                    </a:lnTo>
                    <a:lnTo>
                      <a:pt x="5616" y="2013"/>
                    </a:lnTo>
                    <a:lnTo>
                      <a:pt x="5544" y="2036"/>
                    </a:lnTo>
                    <a:lnTo>
                      <a:pt x="5471" y="2058"/>
                    </a:lnTo>
                    <a:lnTo>
                      <a:pt x="5398" y="2080"/>
                    </a:lnTo>
                    <a:lnTo>
                      <a:pt x="5324" y="2102"/>
                    </a:lnTo>
                    <a:lnTo>
                      <a:pt x="5248" y="2124"/>
                    </a:lnTo>
                    <a:lnTo>
                      <a:pt x="5096" y="2165"/>
                    </a:lnTo>
                    <a:lnTo>
                      <a:pt x="4940" y="2207"/>
                    </a:lnTo>
                    <a:lnTo>
                      <a:pt x="4781" y="2247"/>
                    </a:lnTo>
                    <a:lnTo>
                      <a:pt x="4620" y="2285"/>
                    </a:lnTo>
                    <a:lnTo>
                      <a:pt x="4455" y="2323"/>
                    </a:lnTo>
                    <a:lnTo>
                      <a:pt x="4288" y="2358"/>
                    </a:lnTo>
                    <a:lnTo>
                      <a:pt x="4119" y="2392"/>
                    </a:lnTo>
                    <a:lnTo>
                      <a:pt x="3945" y="2426"/>
                    </a:lnTo>
                    <a:lnTo>
                      <a:pt x="3771" y="2457"/>
                    </a:lnTo>
                    <a:lnTo>
                      <a:pt x="3593" y="2487"/>
                    </a:lnTo>
                    <a:lnTo>
                      <a:pt x="3414" y="2516"/>
                    </a:lnTo>
                    <a:lnTo>
                      <a:pt x="3231" y="2544"/>
                    </a:lnTo>
                    <a:lnTo>
                      <a:pt x="3047" y="2570"/>
                    </a:lnTo>
                    <a:lnTo>
                      <a:pt x="2860" y="2594"/>
                    </a:lnTo>
                    <a:lnTo>
                      <a:pt x="2672" y="2617"/>
                    </a:lnTo>
                    <a:lnTo>
                      <a:pt x="2481" y="2638"/>
                    </a:lnTo>
                    <a:lnTo>
                      <a:pt x="2287" y="2658"/>
                    </a:lnTo>
                    <a:lnTo>
                      <a:pt x="2092" y="2676"/>
                    </a:lnTo>
                    <a:lnTo>
                      <a:pt x="1895" y="2692"/>
                    </a:lnTo>
                    <a:lnTo>
                      <a:pt x="1698" y="2708"/>
                    </a:lnTo>
                    <a:lnTo>
                      <a:pt x="1497" y="2721"/>
                    </a:lnTo>
                    <a:lnTo>
                      <a:pt x="1295" y="2733"/>
                    </a:lnTo>
                    <a:lnTo>
                      <a:pt x="1090" y="2742"/>
                    </a:lnTo>
                    <a:lnTo>
                      <a:pt x="885" y="2750"/>
                    </a:lnTo>
                    <a:lnTo>
                      <a:pt x="678" y="2756"/>
                    </a:lnTo>
                    <a:lnTo>
                      <a:pt x="470" y="2761"/>
                    </a:lnTo>
                    <a:lnTo>
                      <a:pt x="261" y="2764"/>
                    </a:lnTo>
                    <a:lnTo>
                      <a:pt x="50" y="2765"/>
                    </a:lnTo>
                    <a:lnTo>
                      <a:pt x="50" y="2765"/>
                    </a:lnTo>
                    <a:lnTo>
                      <a:pt x="50" y="2765"/>
                    </a:lnTo>
                    <a:lnTo>
                      <a:pt x="43" y="2765"/>
                    </a:lnTo>
                    <a:lnTo>
                      <a:pt x="38" y="2766"/>
                    </a:lnTo>
                    <a:lnTo>
                      <a:pt x="33" y="2767"/>
                    </a:lnTo>
                    <a:lnTo>
                      <a:pt x="28" y="2769"/>
                    </a:lnTo>
                    <a:lnTo>
                      <a:pt x="23" y="2771"/>
                    </a:lnTo>
                    <a:lnTo>
                      <a:pt x="19" y="2774"/>
                    </a:lnTo>
                    <a:lnTo>
                      <a:pt x="15" y="2777"/>
                    </a:lnTo>
                    <a:lnTo>
                      <a:pt x="12" y="2780"/>
                    </a:lnTo>
                    <a:lnTo>
                      <a:pt x="6" y="2787"/>
                    </a:lnTo>
                    <a:lnTo>
                      <a:pt x="3" y="2797"/>
                    </a:lnTo>
                    <a:lnTo>
                      <a:pt x="0" y="2805"/>
                    </a:lnTo>
                    <a:lnTo>
                      <a:pt x="0" y="2814"/>
                    </a:lnTo>
                    <a:lnTo>
                      <a:pt x="0" y="2825"/>
                    </a:lnTo>
                    <a:lnTo>
                      <a:pt x="3" y="2833"/>
                    </a:lnTo>
                    <a:lnTo>
                      <a:pt x="6" y="2842"/>
                    </a:lnTo>
                    <a:lnTo>
                      <a:pt x="12" y="2849"/>
                    </a:lnTo>
                    <a:lnTo>
                      <a:pt x="15" y="2853"/>
                    </a:lnTo>
                    <a:lnTo>
                      <a:pt x="19" y="2856"/>
                    </a:lnTo>
                    <a:lnTo>
                      <a:pt x="23" y="2859"/>
                    </a:lnTo>
                    <a:lnTo>
                      <a:pt x="28" y="2861"/>
                    </a:lnTo>
                    <a:lnTo>
                      <a:pt x="33" y="2863"/>
                    </a:lnTo>
                    <a:lnTo>
                      <a:pt x="38" y="2864"/>
                    </a:lnTo>
                    <a:lnTo>
                      <a:pt x="43" y="2865"/>
                    </a:lnTo>
                    <a:lnTo>
                      <a:pt x="50"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91" name="Freeform 42"/>
              <p:cNvSpPr>
                <a:spLocks/>
              </p:cNvSpPr>
              <p:nvPr>
                <p:custDataLst>
                  <p:tags r:id="rId234"/>
                </p:custDataLst>
              </p:nvPr>
            </p:nvSpPr>
            <p:spPr bwMode="auto">
              <a:xfrm>
                <a:off x="369" y="3627"/>
                <a:ext cx="359" cy="117"/>
              </a:xfrm>
              <a:custGeom>
                <a:avLst/>
                <a:gdLst>
                  <a:gd name="T0" fmla="*/ 3 w 8246"/>
                  <a:gd name="T1" fmla="*/ 127 h 2915"/>
                  <a:gd name="T2" fmla="*/ 25 w 8246"/>
                  <a:gd name="T3" fmla="*/ 278 h 2915"/>
                  <a:gd name="T4" fmla="*/ 69 w 8246"/>
                  <a:gd name="T5" fmla="*/ 426 h 2915"/>
                  <a:gd name="T6" fmla="*/ 134 w 8246"/>
                  <a:gd name="T7" fmla="*/ 572 h 2915"/>
                  <a:gd name="T8" fmla="*/ 219 w 8246"/>
                  <a:gd name="T9" fmla="*/ 713 h 2915"/>
                  <a:gd name="T10" fmla="*/ 323 w 8246"/>
                  <a:gd name="T11" fmla="*/ 852 h 2915"/>
                  <a:gd name="T12" fmla="*/ 445 w 8246"/>
                  <a:gd name="T13" fmla="*/ 988 h 2915"/>
                  <a:gd name="T14" fmla="*/ 586 w 8246"/>
                  <a:gd name="T15" fmla="*/ 1120 h 2915"/>
                  <a:gd name="T16" fmla="*/ 744 w 8246"/>
                  <a:gd name="T17" fmla="*/ 1249 h 2915"/>
                  <a:gd name="T18" fmla="*/ 919 w 8246"/>
                  <a:gd name="T19" fmla="*/ 1373 h 2915"/>
                  <a:gd name="T20" fmla="*/ 1111 w 8246"/>
                  <a:gd name="T21" fmla="*/ 1494 h 2915"/>
                  <a:gd name="T22" fmla="*/ 1318 w 8246"/>
                  <a:gd name="T23" fmla="*/ 1611 h 2915"/>
                  <a:gd name="T24" fmla="*/ 1541 w 8246"/>
                  <a:gd name="T25" fmla="*/ 1725 h 2915"/>
                  <a:gd name="T26" fmla="*/ 1779 w 8246"/>
                  <a:gd name="T27" fmla="*/ 1833 h 2915"/>
                  <a:gd name="T28" fmla="*/ 2030 w 8246"/>
                  <a:gd name="T29" fmla="*/ 1939 h 2915"/>
                  <a:gd name="T30" fmla="*/ 2297 w 8246"/>
                  <a:gd name="T31" fmla="*/ 2039 h 2915"/>
                  <a:gd name="T32" fmla="*/ 2577 w 8246"/>
                  <a:gd name="T33" fmla="*/ 2135 h 2915"/>
                  <a:gd name="T34" fmla="*/ 2869 w 8246"/>
                  <a:gd name="T35" fmla="*/ 2227 h 2915"/>
                  <a:gd name="T36" fmla="*/ 3331 w 8246"/>
                  <a:gd name="T37" fmla="*/ 2354 h 2915"/>
                  <a:gd name="T38" fmla="*/ 3987 w 8246"/>
                  <a:gd name="T39" fmla="*/ 2506 h 2915"/>
                  <a:gd name="T40" fmla="*/ 4686 w 8246"/>
                  <a:gd name="T41" fmla="*/ 2637 h 2915"/>
                  <a:gd name="T42" fmla="*/ 5422 w 8246"/>
                  <a:gd name="T43" fmla="*/ 2744 h 2915"/>
                  <a:gd name="T44" fmla="*/ 6193 w 8246"/>
                  <a:gd name="T45" fmla="*/ 2826 h 2915"/>
                  <a:gd name="T46" fmla="*/ 6995 w 8246"/>
                  <a:gd name="T47" fmla="*/ 2882 h 2915"/>
                  <a:gd name="T48" fmla="*/ 7823 w 8246"/>
                  <a:gd name="T49" fmla="*/ 2911 h 2915"/>
                  <a:gd name="T50" fmla="*/ 8034 w 8246"/>
                  <a:gd name="T51" fmla="*/ 2814 h 2915"/>
                  <a:gd name="T52" fmla="*/ 7205 w 8246"/>
                  <a:gd name="T53" fmla="*/ 2792 h 2915"/>
                  <a:gd name="T54" fmla="*/ 6400 w 8246"/>
                  <a:gd name="T55" fmla="*/ 2742 h 2915"/>
                  <a:gd name="T56" fmla="*/ 5623 w 8246"/>
                  <a:gd name="T57" fmla="*/ 2667 h 2915"/>
                  <a:gd name="T58" fmla="*/ 4881 w 8246"/>
                  <a:gd name="T59" fmla="*/ 2566 h 2915"/>
                  <a:gd name="T60" fmla="*/ 4176 w 8246"/>
                  <a:gd name="T61" fmla="*/ 2442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2 h 2915"/>
                  <a:gd name="T76" fmla="*/ 1418 w 8246"/>
                  <a:gd name="T77" fmla="*/ 1551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8 h 2915"/>
                  <a:gd name="T94" fmla="*/ 175 w 8246"/>
                  <a:gd name="T95" fmla="*/ 425 h 2915"/>
                  <a:gd name="T96" fmla="*/ 131 w 8246"/>
                  <a:gd name="T97" fmla="*/ 290 h 2915"/>
                  <a:gd name="T98" fmla="*/ 106 w 8246"/>
                  <a:gd name="T99" fmla="*/ 154 h 2915"/>
                  <a:gd name="T100" fmla="*/ 100 w 8246"/>
                  <a:gd name="T101" fmla="*/ 50 h 2915"/>
                  <a:gd name="T102" fmla="*/ 98 w 8246"/>
                  <a:gd name="T103" fmla="*/ 33 h 2915"/>
                  <a:gd name="T104" fmla="*/ 88 w 8246"/>
                  <a:gd name="T105" fmla="*/ 16 h 2915"/>
                  <a:gd name="T106" fmla="*/ 60 w 8246"/>
                  <a:gd name="T107" fmla="*/ 0 h 2915"/>
                  <a:gd name="T108" fmla="*/ 23 w 8246"/>
                  <a:gd name="T109" fmla="*/ 8 h 2915"/>
                  <a:gd name="T110" fmla="*/ 6 w 8246"/>
                  <a:gd name="T111" fmla="*/ 24 h 2915"/>
                  <a:gd name="T112" fmla="*/ 0 w 8246"/>
                  <a:gd name="T113" fmla="*/ 44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0"/>
                    </a:moveTo>
                    <a:lnTo>
                      <a:pt x="0" y="50"/>
                    </a:lnTo>
                    <a:lnTo>
                      <a:pt x="1" y="88"/>
                    </a:lnTo>
                    <a:lnTo>
                      <a:pt x="3" y="127"/>
                    </a:lnTo>
                    <a:lnTo>
                      <a:pt x="6" y="165"/>
                    </a:lnTo>
                    <a:lnTo>
                      <a:pt x="11" y="202"/>
                    </a:lnTo>
                    <a:lnTo>
                      <a:pt x="18" y="240"/>
                    </a:lnTo>
                    <a:lnTo>
                      <a:pt x="25" y="278"/>
                    </a:lnTo>
                    <a:lnTo>
                      <a:pt x="34" y="315"/>
                    </a:lnTo>
                    <a:lnTo>
                      <a:pt x="44" y="352"/>
                    </a:lnTo>
                    <a:lnTo>
                      <a:pt x="56" y="390"/>
                    </a:lnTo>
                    <a:lnTo>
                      <a:pt x="69" y="426"/>
                    </a:lnTo>
                    <a:lnTo>
                      <a:pt x="83" y="463"/>
                    </a:lnTo>
                    <a:lnTo>
                      <a:pt x="99" y="499"/>
                    </a:lnTo>
                    <a:lnTo>
                      <a:pt x="115" y="535"/>
                    </a:lnTo>
                    <a:lnTo>
                      <a:pt x="134" y="572"/>
                    </a:lnTo>
                    <a:lnTo>
                      <a:pt x="154" y="608"/>
                    </a:lnTo>
                    <a:lnTo>
                      <a:pt x="174" y="643"/>
                    </a:lnTo>
                    <a:lnTo>
                      <a:pt x="196" y="678"/>
                    </a:lnTo>
                    <a:lnTo>
                      <a:pt x="219" y="713"/>
                    </a:lnTo>
                    <a:lnTo>
                      <a:pt x="243" y="749"/>
                    </a:lnTo>
                    <a:lnTo>
                      <a:pt x="268" y="784"/>
                    </a:lnTo>
                    <a:lnTo>
                      <a:pt x="295" y="818"/>
                    </a:lnTo>
                    <a:lnTo>
                      <a:pt x="323" y="852"/>
                    </a:lnTo>
                    <a:lnTo>
                      <a:pt x="351" y="887"/>
                    </a:lnTo>
                    <a:lnTo>
                      <a:pt x="381" y="920"/>
                    </a:lnTo>
                    <a:lnTo>
                      <a:pt x="413" y="955"/>
                    </a:lnTo>
                    <a:lnTo>
                      <a:pt x="445" y="988"/>
                    </a:lnTo>
                    <a:lnTo>
                      <a:pt x="479" y="1021"/>
                    </a:lnTo>
                    <a:lnTo>
                      <a:pt x="513" y="1054"/>
                    </a:lnTo>
                    <a:lnTo>
                      <a:pt x="549" y="1087"/>
                    </a:lnTo>
                    <a:lnTo>
                      <a:pt x="586" y="1120"/>
                    </a:lnTo>
                    <a:lnTo>
                      <a:pt x="624" y="1152"/>
                    </a:lnTo>
                    <a:lnTo>
                      <a:pt x="663" y="1184"/>
                    </a:lnTo>
                    <a:lnTo>
                      <a:pt x="703" y="1217"/>
                    </a:lnTo>
                    <a:lnTo>
                      <a:pt x="744" y="1249"/>
                    </a:lnTo>
                    <a:lnTo>
                      <a:pt x="786" y="1280"/>
                    </a:lnTo>
                    <a:lnTo>
                      <a:pt x="830" y="1311"/>
                    </a:lnTo>
                    <a:lnTo>
                      <a:pt x="874" y="1342"/>
                    </a:lnTo>
                    <a:lnTo>
                      <a:pt x="919" y="1373"/>
                    </a:lnTo>
                    <a:lnTo>
                      <a:pt x="966" y="1404"/>
                    </a:lnTo>
                    <a:lnTo>
                      <a:pt x="1013" y="1434"/>
                    </a:lnTo>
                    <a:lnTo>
                      <a:pt x="1062" y="1464"/>
                    </a:lnTo>
                    <a:lnTo>
                      <a:pt x="1111" y="1494"/>
                    </a:lnTo>
                    <a:lnTo>
                      <a:pt x="1162" y="1524"/>
                    </a:lnTo>
                    <a:lnTo>
                      <a:pt x="1212" y="1553"/>
                    </a:lnTo>
                    <a:lnTo>
                      <a:pt x="1265" y="1582"/>
                    </a:lnTo>
                    <a:lnTo>
                      <a:pt x="1318" y="1611"/>
                    </a:lnTo>
                    <a:lnTo>
                      <a:pt x="1373" y="1640"/>
                    </a:lnTo>
                    <a:lnTo>
                      <a:pt x="1428" y="1669"/>
                    </a:lnTo>
                    <a:lnTo>
                      <a:pt x="1484" y="1697"/>
                    </a:lnTo>
                    <a:lnTo>
                      <a:pt x="1541" y="1725"/>
                    </a:lnTo>
                    <a:lnTo>
                      <a:pt x="1600" y="1752"/>
                    </a:lnTo>
                    <a:lnTo>
                      <a:pt x="1658" y="1780"/>
                    </a:lnTo>
                    <a:lnTo>
                      <a:pt x="1718" y="1806"/>
                    </a:lnTo>
                    <a:lnTo>
                      <a:pt x="1779" y="1833"/>
                    </a:lnTo>
                    <a:lnTo>
                      <a:pt x="1841" y="1860"/>
                    </a:lnTo>
                    <a:lnTo>
                      <a:pt x="1904" y="1886"/>
                    </a:lnTo>
                    <a:lnTo>
                      <a:pt x="1967" y="1913"/>
                    </a:lnTo>
                    <a:lnTo>
                      <a:pt x="2030" y="1939"/>
                    </a:lnTo>
                    <a:lnTo>
                      <a:pt x="2096" y="1964"/>
                    </a:lnTo>
                    <a:lnTo>
                      <a:pt x="2162" y="1990"/>
                    </a:lnTo>
                    <a:lnTo>
                      <a:pt x="2229" y="2015"/>
                    </a:lnTo>
                    <a:lnTo>
                      <a:pt x="2297" y="2039"/>
                    </a:lnTo>
                    <a:lnTo>
                      <a:pt x="2365" y="2063"/>
                    </a:lnTo>
                    <a:lnTo>
                      <a:pt x="2436" y="2088"/>
                    </a:lnTo>
                    <a:lnTo>
                      <a:pt x="2506" y="2112"/>
                    </a:lnTo>
                    <a:lnTo>
                      <a:pt x="2577" y="2135"/>
                    </a:lnTo>
                    <a:lnTo>
                      <a:pt x="2649" y="2158"/>
                    </a:lnTo>
                    <a:lnTo>
                      <a:pt x="2721" y="2181"/>
                    </a:lnTo>
                    <a:lnTo>
                      <a:pt x="2794" y="2204"/>
                    </a:lnTo>
                    <a:lnTo>
                      <a:pt x="2869" y="2227"/>
                    </a:lnTo>
                    <a:lnTo>
                      <a:pt x="2944" y="2248"/>
                    </a:lnTo>
                    <a:lnTo>
                      <a:pt x="3020" y="2270"/>
                    </a:lnTo>
                    <a:lnTo>
                      <a:pt x="3173" y="2313"/>
                    </a:lnTo>
                    <a:lnTo>
                      <a:pt x="3331" y="2354"/>
                    </a:lnTo>
                    <a:lnTo>
                      <a:pt x="3491" y="2394"/>
                    </a:lnTo>
                    <a:lnTo>
                      <a:pt x="3653" y="2433"/>
                    </a:lnTo>
                    <a:lnTo>
                      <a:pt x="3819" y="2470"/>
                    </a:lnTo>
                    <a:lnTo>
                      <a:pt x="3987" y="2506"/>
                    </a:lnTo>
                    <a:lnTo>
                      <a:pt x="4158" y="2541"/>
                    </a:lnTo>
                    <a:lnTo>
                      <a:pt x="4331" y="2574"/>
                    </a:lnTo>
                    <a:lnTo>
                      <a:pt x="4507" y="2607"/>
                    </a:lnTo>
                    <a:lnTo>
                      <a:pt x="4686" y="2637"/>
                    </a:lnTo>
                    <a:lnTo>
                      <a:pt x="4866" y="2666"/>
                    </a:lnTo>
                    <a:lnTo>
                      <a:pt x="5049" y="2694"/>
                    </a:lnTo>
                    <a:lnTo>
                      <a:pt x="5235" y="2719"/>
                    </a:lnTo>
                    <a:lnTo>
                      <a:pt x="5422" y="2744"/>
                    </a:lnTo>
                    <a:lnTo>
                      <a:pt x="5612" y="2767"/>
                    </a:lnTo>
                    <a:lnTo>
                      <a:pt x="5804" y="2788"/>
                    </a:lnTo>
                    <a:lnTo>
                      <a:pt x="5998" y="2807"/>
                    </a:lnTo>
                    <a:lnTo>
                      <a:pt x="6193" y="2826"/>
                    </a:lnTo>
                    <a:lnTo>
                      <a:pt x="6391" y="2843"/>
                    </a:lnTo>
                    <a:lnTo>
                      <a:pt x="6591" y="2858"/>
                    </a:lnTo>
                    <a:lnTo>
                      <a:pt x="6792" y="2870"/>
                    </a:lnTo>
                    <a:lnTo>
                      <a:pt x="6995" y="2882"/>
                    </a:lnTo>
                    <a:lnTo>
                      <a:pt x="7200" y="2892"/>
                    </a:lnTo>
                    <a:lnTo>
                      <a:pt x="7407" y="2901"/>
                    </a:lnTo>
                    <a:lnTo>
                      <a:pt x="7614" y="2907"/>
                    </a:lnTo>
                    <a:lnTo>
                      <a:pt x="7823" y="2911"/>
                    </a:lnTo>
                    <a:lnTo>
                      <a:pt x="8034" y="2914"/>
                    </a:lnTo>
                    <a:lnTo>
                      <a:pt x="8246" y="2915"/>
                    </a:lnTo>
                    <a:lnTo>
                      <a:pt x="8246" y="2815"/>
                    </a:lnTo>
                    <a:lnTo>
                      <a:pt x="8034" y="2814"/>
                    </a:lnTo>
                    <a:lnTo>
                      <a:pt x="7825" y="2811"/>
                    </a:lnTo>
                    <a:lnTo>
                      <a:pt x="7617" y="2806"/>
                    </a:lnTo>
                    <a:lnTo>
                      <a:pt x="7410" y="2800"/>
                    </a:lnTo>
                    <a:lnTo>
                      <a:pt x="7205" y="2792"/>
                    </a:lnTo>
                    <a:lnTo>
                      <a:pt x="7000" y="2783"/>
                    </a:lnTo>
                    <a:lnTo>
                      <a:pt x="6798" y="2771"/>
                    </a:lnTo>
                    <a:lnTo>
                      <a:pt x="6597" y="2758"/>
                    </a:lnTo>
                    <a:lnTo>
                      <a:pt x="6400" y="2742"/>
                    </a:lnTo>
                    <a:lnTo>
                      <a:pt x="6203" y="2726"/>
                    </a:lnTo>
                    <a:lnTo>
                      <a:pt x="6008" y="2708"/>
                    </a:lnTo>
                    <a:lnTo>
                      <a:pt x="5814" y="2688"/>
                    </a:lnTo>
                    <a:lnTo>
                      <a:pt x="5623" y="2667"/>
                    </a:lnTo>
                    <a:lnTo>
                      <a:pt x="5435" y="2644"/>
                    </a:lnTo>
                    <a:lnTo>
                      <a:pt x="5248" y="2620"/>
                    </a:lnTo>
                    <a:lnTo>
                      <a:pt x="5064" y="2594"/>
                    </a:lnTo>
                    <a:lnTo>
                      <a:pt x="4881" y="2566"/>
                    </a:lnTo>
                    <a:lnTo>
                      <a:pt x="4702" y="2537"/>
                    </a:lnTo>
                    <a:lnTo>
                      <a:pt x="4524" y="2507"/>
                    </a:lnTo>
                    <a:lnTo>
                      <a:pt x="4350" y="2476"/>
                    </a:lnTo>
                    <a:lnTo>
                      <a:pt x="4176" y="2442"/>
                    </a:lnTo>
                    <a:lnTo>
                      <a:pt x="4007" y="2408"/>
                    </a:lnTo>
                    <a:lnTo>
                      <a:pt x="3839" y="2373"/>
                    </a:lnTo>
                    <a:lnTo>
                      <a:pt x="3675" y="2335"/>
                    </a:lnTo>
                    <a:lnTo>
                      <a:pt x="3514" y="2297"/>
                    </a:lnTo>
                    <a:lnTo>
                      <a:pt x="3355" y="2257"/>
                    </a:lnTo>
                    <a:lnTo>
                      <a:pt x="3199" y="2215"/>
                    </a:lnTo>
                    <a:lnTo>
                      <a:pt x="3047" y="2174"/>
                    </a:lnTo>
                    <a:lnTo>
                      <a:pt x="2971" y="2152"/>
                    </a:lnTo>
                    <a:lnTo>
                      <a:pt x="2897" y="2130"/>
                    </a:lnTo>
                    <a:lnTo>
                      <a:pt x="2824" y="2108"/>
                    </a:lnTo>
                    <a:lnTo>
                      <a:pt x="2751" y="2086"/>
                    </a:lnTo>
                    <a:lnTo>
                      <a:pt x="2679" y="2063"/>
                    </a:lnTo>
                    <a:lnTo>
                      <a:pt x="2608" y="2039"/>
                    </a:lnTo>
                    <a:lnTo>
                      <a:pt x="2538" y="2017"/>
                    </a:lnTo>
                    <a:lnTo>
                      <a:pt x="2467" y="1993"/>
                    </a:lnTo>
                    <a:lnTo>
                      <a:pt x="2398" y="1969"/>
                    </a:lnTo>
                    <a:lnTo>
                      <a:pt x="2330" y="1945"/>
                    </a:lnTo>
                    <a:lnTo>
                      <a:pt x="2263" y="1920"/>
                    </a:lnTo>
                    <a:lnTo>
                      <a:pt x="2197" y="1895"/>
                    </a:lnTo>
                    <a:lnTo>
                      <a:pt x="2132" y="1871"/>
                    </a:lnTo>
                    <a:lnTo>
                      <a:pt x="2068" y="1845"/>
                    </a:lnTo>
                    <a:lnTo>
                      <a:pt x="2004" y="1820"/>
                    </a:lnTo>
                    <a:lnTo>
                      <a:pt x="1941" y="1794"/>
                    </a:lnTo>
                    <a:lnTo>
                      <a:pt x="1880" y="1768"/>
                    </a:lnTo>
                    <a:lnTo>
                      <a:pt x="1819" y="1741"/>
                    </a:lnTo>
                    <a:lnTo>
                      <a:pt x="1758" y="1715"/>
                    </a:lnTo>
                    <a:lnTo>
                      <a:pt x="1700" y="1688"/>
                    </a:lnTo>
                    <a:lnTo>
                      <a:pt x="1642" y="1662"/>
                    </a:lnTo>
                    <a:lnTo>
                      <a:pt x="1584" y="1634"/>
                    </a:lnTo>
                    <a:lnTo>
                      <a:pt x="1529" y="1607"/>
                    </a:lnTo>
                    <a:lnTo>
                      <a:pt x="1473" y="1579"/>
                    </a:lnTo>
                    <a:lnTo>
                      <a:pt x="1418" y="1551"/>
                    </a:lnTo>
                    <a:lnTo>
                      <a:pt x="1366" y="1523"/>
                    </a:lnTo>
                    <a:lnTo>
                      <a:pt x="1313" y="1494"/>
                    </a:lnTo>
                    <a:lnTo>
                      <a:pt x="1262" y="1466"/>
                    </a:lnTo>
                    <a:lnTo>
                      <a:pt x="1211" y="1437"/>
                    </a:lnTo>
                    <a:lnTo>
                      <a:pt x="1162" y="1408"/>
                    </a:lnTo>
                    <a:lnTo>
                      <a:pt x="1113" y="1379"/>
                    </a:lnTo>
                    <a:lnTo>
                      <a:pt x="1066" y="1349"/>
                    </a:lnTo>
                    <a:lnTo>
                      <a:pt x="1020" y="1320"/>
                    </a:lnTo>
                    <a:lnTo>
                      <a:pt x="975" y="1290"/>
                    </a:lnTo>
                    <a:lnTo>
                      <a:pt x="931" y="1260"/>
                    </a:lnTo>
                    <a:lnTo>
                      <a:pt x="887" y="1229"/>
                    </a:lnTo>
                    <a:lnTo>
                      <a:pt x="845" y="1199"/>
                    </a:lnTo>
                    <a:lnTo>
                      <a:pt x="804" y="1168"/>
                    </a:lnTo>
                    <a:lnTo>
                      <a:pt x="765" y="1138"/>
                    </a:lnTo>
                    <a:lnTo>
                      <a:pt x="726" y="1107"/>
                    </a:lnTo>
                    <a:lnTo>
                      <a:pt x="688" y="1076"/>
                    </a:lnTo>
                    <a:lnTo>
                      <a:pt x="651" y="1044"/>
                    </a:lnTo>
                    <a:lnTo>
                      <a:pt x="616" y="1013"/>
                    </a:lnTo>
                    <a:lnTo>
                      <a:pt x="581" y="981"/>
                    </a:lnTo>
                    <a:lnTo>
                      <a:pt x="548" y="949"/>
                    </a:lnTo>
                    <a:lnTo>
                      <a:pt x="516" y="917"/>
                    </a:lnTo>
                    <a:lnTo>
                      <a:pt x="485" y="885"/>
                    </a:lnTo>
                    <a:lnTo>
                      <a:pt x="456" y="853"/>
                    </a:lnTo>
                    <a:lnTo>
                      <a:pt x="427" y="821"/>
                    </a:lnTo>
                    <a:lnTo>
                      <a:pt x="400" y="789"/>
                    </a:lnTo>
                    <a:lnTo>
                      <a:pt x="373" y="756"/>
                    </a:lnTo>
                    <a:lnTo>
                      <a:pt x="348" y="724"/>
                    </a:lnTo>
                    <a:lnTo>
                      <a:pt x="324" y="691"/>
                    </a:lnTo>
                    <a:lnTo>
                      <a:pt x="301" y="658"/>
                    </a:lnTo>
                    <a:lnTo>
                      <a:pt x="280" y="624"/>
                    </a:lnTo>
                    <a:lnTo>
                      <a:pt x="260" y="591"/>
                    </a:lnTo>
                    <a:lnTo>
                      <a:pt x="240" y="558"/>
                    </a:lnTo>
                    <a:lnTo>
                      <a:pt x="223" y="525"/>
                    </a:lnTo>
                    <a:lnTo>
                      <a:pt x="205" y="492"/>
                    </a:lnTo>
                    <a:lnTo>
                      <a:pt x="190" y="459"/>
                    </a:lnTo>
                    <a:lnTo>
                      <a:pt x="175" y="425"/>
                    </a:lnTo>
                    <a:lnTo>
                      <a:pt x="163" y="392"/>
                    </a:lnTo>
                    <a:lnTo>
                      <a:pt x="150" y="357"/>
                    </a:lnTo>
                    <a:lnTo>
                      <a:pt x="140" y="324"/>
                    </a:lnTo>
                    <a:lnTo>
                      <a:pt x="131" y="290"/>
                    </a:lnTo>
                    <a:lnTo>
                      <a:pt x="123" y="256"/>
                    </a:lnTo>
                    <a:lnTo>
                      <a:pt x="115" y="222"/>
                    </a:lnTo>
                    <a:lnTo>
                      <a:pt x="110" y="188"/>
                    </a:lnTo>
                    <a:lnTo>
                      <a:pt x="106" y="154"/>
                    </a:lnTo>
                    <a:lnTo>
                      <a:pt x="102" y="119"/>
                    </a:lnTo>
                    <a:lnTo>
                      <a:pt x="101" y="85"/>
                    </a:lnTo>
                    <a:lnTo>
                      <a:pt x="100" y="50"/>
                    </a:lnTo>
                    <a:lnTo>
                      <a:pt x="100" y="50"/>
                    </a:lnTo>
                    <a:lnTo>
                      <a:pt x="100" y="50"/>
                    </a:lnTo>
                    <a:lnTo>
                      <a:pt x="100" y="44"/>
                    </a:lnTo>
                    <a:lnTo>
                      <a:pt x="99" y="39"/>
                    </a:lnTo>
                    <a:lnTo>
                      <a:pt x="98" y="33"/>
                    </a:lnTo>
                    <a:lnTo>
                      <a:pt x="96" y="28"/>
                    </a:lnTo>
                    <a:lnTo>
                      <a:pt x="94" y="24"/>
                    </a:lnTo>
                    <a:lnTo>
                      <a:pt x="91" y="20"/>
                    </a:lnTo>
                    <a:lnTo>
                      <a:pt x="88" y="16"/>
                    </a:lnTo>
                    <a:lnTo>
                      <a:pt x="85" y="13"/>
                    </a:lnTo>
                    <a:lnTo>
                      <a:pt x="77" y="8"/>
                    </a:lnTo>
                    <a:lnTo>
                      <a:pt x="68" y="3"/>
                    </a:lnTo>
                    <a:lnTo>
                      <a:pt x="60" y="0"/>
                    </a:lnTo>
                    <a:lnTo>
                      <a:pt x="51" y="0"/>
                    </a:lnTo>
                    <a:lnTo>
                      <a:pt x="40" y="0"/>
                    </a:lnTo>
                    <a:lnTo>
                      <a:pt x="32" y="3"/>
                    </a:lnTo>
                    <a:lnTo>
                      <a:pt x="23" y="8"/>
                    </a:lnTo>
                    <a:lnTo>
                      <a:pt x="15" y="13"/>
                    </a:lnTo>
                    <a:lnTo>
                      <a:pt x="12" y="16"/>
                    </a:lnTo>
                    <a:lnTo>
                      <a:pt x="9" y="20"/>
                    </a:lnTo>
                    <a:lnTo>
                      <a:pt x="6" y="24"/>
                    </a:lnTo>
                    <a:lnTo>
                      <a:pt x="4" y="28"/>
                    </a:lnTo>
                    <a:lnTo>
                      <a:pt x="2" y="33"/>
                    </a:lnTo>
                    <a:lnTo>
                      <a:pt x="1" y="39"/>
                    </a:lnTo>
                    <a:lnTo>
                      <a:pt x="0" y="44"/>
                    </a:lnTo>
                    <a:lnTo>
                      <a:pt x="0" y="5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92" name="Freeform 43"/>
              <p:cNvSpPr>
                <a:spLocks/>
              </p:cNvSpPr>
              <p:nvPr>
                <p:custDataLst>
                  <p:tags r:id="rId235"/>
                </p:custDataLst>
              </p:nvPr>
            </p:nvSpPr>
            <p:spPr bwMode="auto">
              <a:xfrm>
                <a:off x="369" y="3515"/>
                <a:ext cx="361" cy="114"/>
              </a:xfrm>
              <a:custGeom>
                <a:avLst/>
                <a:gdLst>
                  <a:gd name="T0" fmla="*/ 7823 w 8296"/>
                  <a:gd name="T1" fmla="*/ 3 h 2864"/>
                  <a:gd name="T2" fmla="*/ 6995 w 8296"/>
                  <a:gd name="T3" fmla="*/ 32 h 2864"/>
                  <a:gd name="T4" fmla="*/ 6193 w 8296"/>
                  <a:gd name="T5" fmla="*/ 88 h 2864"/>
                  <a:gd name="T6" fmla="*/ 5422 w 8296"/>
                  <a:gd name="T7" fmla="*/ 171 h 2864"/>
                  <a:gd name="T8" fmla="*/ 4686 w 8296"/>
                  <a:gd name="T9" fmla="*/ 279 h 2864"/>
                  <a:gd name="T10" fmla="*/ 3987 w 8296"/>
                  <a:gd name="T11" fmla="*/ 409 h 2864"/>
                  <a:gd name="T12" fmla="*/ 3331 w 8296"/>
                  <a:gd name="T13" fmla="*/ 561 h 2864"/>
                  <a:gd name="T14" fmla="*/ 2721 w 8296"/>
                  <a:gd name="T15" fmla="*/ 734 h 2864"/>
                  <a:gd name="T16" fmla="*/ 2436 w 8296"/>
                  <a:gd name="T17" fmla="*/ 827 h 2864"/>
                  <a:gd name="T18" fmla="*/ 2162 w 8296"/>
                  <a:gd name="T19" fmla="*/ 925 h 2864"/>
                  <a:gd name="T20" fmla="*/ 1904 w 8296"/>
                  <a:gd name="T21" fmla="*/ 1028 h 2864"/>
                  <a:gd name="T22" fmla="*/ 1658 w 8296"/>
                  <a:gd name="T23" fmla="*/ 1136 h 2864"/>
                  <a:gd name="T24" fmla="*/ 1428 w 8296"/>
                  <a:gd name="T25" fmla="*/ 1246 h 2864"/>
                  <a:gd name="T26" fmla="*/ 1212 w 8296"/>
                  <a:gd name="T27" fmla="*/ 1361 h 2864"/>
                  <a:gd name="T28" fmla="*/ 1013 w 8296"/>
                  <a:gd name="T29" fmla="*/ 1481 h 2864"/>
                  <a:gd name="T30" fmla="*/ 830 w 8296"/>
                  <a:gd name="T31" fmla="*/ 1603 h 2864"/>
                  <a:gd name="T32" fmla="*/ 663 w 8296"/>
                  <a:gd name="T33" fmla="*/ 1730 h 2864"/>
                  <a:gd name="T34" fmla="*/ 513 w 8296"/>
                  <a:gd name="T35" fmla="*/ 1860 h 2864"/>
                  <a:gd name="T36" fmla="*/ 381 w 8296"/>
                  <a:gd name="T37" fmla="*/ 1994 h 2864"/>
                  <a:gd name="T38" fmla="*/ 268 w 8296"/>
                  <a:gd name="T39" fmla="*/ 2131 h 2864"/>
                  <a:gd name="T40" fmla="*/ 174 w 8296"/>
                  <a:gd name="T41" fmla="*/ 2272 h 2864"/>
                  <a:gd name="T42" fmla="*/ 99 w 8296"/>
                  <a:gd name="T43" fmla="*/ 2416 h 2864"/>
                  <a:gd name="T44" fmla="*/ 44 w 8296"/>
                  <a:gd name="T45" fmla="*/ 2563 h 2864"/>
                  <a:gd name="T46" fmla="*/ 11 w 8296"/>
                  <a:gd name="T47" fmla="*/ 2712 h 2864"/>
                  <a:gd name="T48" fmla="*/ 0 w 8296"/>
                  <a:gd name="T49" fmla="*/ 2864 h 2864"/>
                  <a:gd name="T50" fmla="*/ 106 w 8296"/>
                  <a:gd name="T51" fmla="*/ 2762 h 2864"/>
                  <a:gd name="T52" fmla="*/ 131 w 8296"/>
                  <a:gd name="T53" fmla="*/ 2625 h 2864"/>
                  <a:gd name="T54" fmla="*/ 175 w 8296"/>
                  <a:gd name="T55" fmla="*/ 2490 h 2864"/>
                  <a:gd name="T56" fmla="*/ 240 w 8296"/>
                  <a:gd name="T57" fmla="*/ 2356 h 2864"/>
                  <a:gd name="T58" fmla="*/ 324 w 8296"/>
                  <a:gd name="T59" fmla="*/ 2224 h 2864"/>
                  <a:gd name="T60" fmla="*/ 427 w 8296"/>
                  <a:gd name="T61" fmla="*/ 2094 h 2864"/>
                  <a:gd name="T62" fmla="*/ 548 w 8296"/>
                  <a:gd name="T63" fmla="*/ 1966 h 2864"/>
                  <a:gd name="T64" fmla="*/ 688 w 8296"/>
                  <a:gd name="T65" fmla="*/ 1839 h 2864"/>
                  <a:gd name="T66" fmla="*/ 845 w 8296"/>
                  <a:gd name="T67" fmla="*/ 1716 h 2864"/>
                  <a:gd name="T68" fmla="*/ 1020 w 8296"/>
                  <a:gd name="T69" fmla="*/ 1595 h 2864"/>
                  <a:gd name="T70" fmla="*/ 1211 w 8296"/>
                  <a:gd name="T71" fmla="*/ 1478 h 2864"/>
                  <a:gd name="T72" fmla="*/ 1418 w 8296"/>
                  <a:gd name="T73" fmla="*/ 1364 h 2864"/>
                  <a:gd name="T74" fmla="*/ 1642 w 8296"/>
                  <a:gd name="T75" fmla="*/ 1254 h 2864"/>
                  <a:gd name="T76" fmla="*/ 1880 w 8296"/>
                  <a:gd name="T77" fmla="*/ 1147 h 2864"/>
                  <a:gd name="T78" fmla="*/ 2132 w 8296"/>
                  <a:gd name="T79" fmla="*/ 1044 h 2864"/>
                  <a:gd name="T80" fmla="*/ 2398 w 8296"/>
                  <a:gd name="T81" fmla="*/ 946 h 2864"/>
                  <a:gd name="T82" fmla="*/ 2679 w 8296"/>
                  <a:gd name="T83" fmla="*/ 852 h 2864"/>
                  <a:gd name="T84" fmla="*/ 3199 w 8296"/>
                  <a:gd name="T85" fmla="*/ 699 h 2864"/>
                  <a:gd name="T86" fmla="*/ 3839 w 8296"/>
                  <a:gd name="T87" fmla="*/ 542 h 2864"/>
                  <a:gd name="T88" fmla="*/ 4524 w 8296"/>
                  <a:gd name="T89" fmla="*/ 408 h 2864"/>
                  <a:gd name="T90" fmla="*/ 5248 w 8296"/>
                  <a:gd name="T91" fmla="*/ 295 h 2864"/>
                  <a:gd name="T92" fmla="*/ 6008 w 8296"/>
                  <a:gd name="T93" fmla="*/ 207 h 2864"/>
                  <a:gd name="T94" fmla="*/ 6798 w 8296"/>
                  <a:gd name="T95" fmla="*/ 144 h 2864"/>
                  <a:gd name="T96" fmla="*/ 7617 w 8296"/>
                  <a:gd name="T97" fmla="*/ 108 h 2864"/>
                  <a:gd name="T98" fmla="*/ 8246 w 8296"/>
                  <a:gd name="T99" fmla="*/ 100 h 2864"/>
                  <a:gd name="T100" fmla="*/ 8263 w 8296"/>
                  <a:gd name="T101" fmla="*/ 97 h 2864"/>
                  <a:gd name="T102" fmla="*/ 8280 w 8296"/>
                  <a:gd name="T103" fmla="*/ 88 h 2864"/>
                  <a:gd name="T104" fmla="*/ 8295 w 8296"/>
                  <a:gd name="T105" fmla="*/ 59 h 2864"/>
                  <a:gd name="T106" fmla="*/ 8289 w 8296"/>
                  <a:gd name="T107" fmla="*/ 23 h 2864"/>
                  <a:gd name="T108" fmla="*/ 8272 w 8296"/>
                  <a:gd name="T109" fmla="*/ 6 h 2864"/>
                  <a:gd name="T110" fmla="*/ 8252 w 8296"/>
                  <a:gd name="T111" fmla="*/ 0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4">
                    <a:moveTo>
                      <a:pt x="8246" y="0"/>
                    </a:moveTo>
                    <a:lnTo>
                      <a:pt x="8246" y="0"/>
                    </a:lnTo>
                    <a:lnTo>
                      <a:pt x="8034" y="0"/>
                    </a:lnTo>
                    <a:lnTo>
                      <a:pt x="7823" y="3"/>
                    </a:lnTo>
                    <a:lnTo>
                      <a:pt x="7614" y="8"/>
                    </a:lnTo>
                    <a:lnTo>
                      <a:pt x="7407" y="15"/>
                    </a:lnTo>
                    <a:lnTo>
                      <a:pt x="7200" y="23"/>
                    </a:lnTo>
                    <a:lnTo>
                      <a:pt x="6995" y="32"/>
                    </a:lnTo>
                    <a:lnTo>
                      <a:pt x="6792" y="44"/>
                    </a:lnTo>
                    <a:lnTo>
                      <a:pt x="6591" y="57"/>
                    </a:lnTo>
                    <a:lnTo>
                      <a:pt x="6391" y="72"/>
                    </a:lnTo>
                    <a:lnTo>
                      <a:pt x="6193" y="88"/>
                    </a:lnTo>
                    <a:lnTo>
                      <a:pt x="5998" y="107"/>
                    </a:lnTo>
                    <a:lnTo>
                      <a:pt x="5804" y="126"/>
                    </a:lnTo>
                    <a:lnTo>
                      <a:pt x="5612" y="148"/>
                    </a:lnTo>
                    <a:lnTo>
                      <a:pt x="5422" y="171"/>
                    </a:lnTo>
                    <a:lnTo>
                      <a:pt x="5235" y="196"/>
                    </a:lnTo>
                    <a:lnTo>
                      <a:pt x="5049" y="222"/>
                    </a:lnTo>
                    <a:lnTo>
                      <a:pt x="4866" y="250"/>
                    </a:lnTo>
                    <a:lnTo>
                      <a:pt x="4686" y="279"/>
                    </a:lnTo>
                    <a:lnTo>
                      <a:pt x="4507" y="309"/>
                    </a:lnTo>
                    <a:lnTo>
                      <a:pt x="4331" y="341"/>
                    </a:lnTo>
                    <a:lnTo>
                      <a:pt x="4158" y="374"/>
                    </a:lnTo>
                    <a:lnTo>
                      <a:pt x="3987" y="409"/>
                    </a:lnTo>
                    <a:lnTo>
                      <a:pt x="3819" y="444"/>
                    </a:lnTo>
                    <a:lnTo>
                      <a:pt x="3653" y="482"/>
                    </a:lnTo>
                    <a:lnTo>
                      <a:pt x="3491" y="521"/>
                    </a:lnTo>
                    <a:lnTo>
                      <a:pt x="3331" y="561"/>
                    </a:lnTo>
                    <a:lnTo>
                      <a:pt x="3173" y="602"/>
                    </a:lnTo>
                    <a:lnTo>
                      <a:pt x="3020" y="645"/>
                    </a:lnTo>
                    <a:lnTo>
                      <a:pt x="2869" y="688"/>
                    </a:lnTo>
                    <a:lnTo>
                      <a:pt x="2721" y="734"/>
                    </a:lnTo>
                    <a:lnTo>
                      <a:pt x="2649" y="757"/>
                    </a:lnTo>
                    <a:lnTo>
                      <a:pt x="2577" y="779"/>
                    </a:lnTo>
                    <a:lnTo>
                      <a:pt x="2506" y="803"/>
                    </a:lnTo>
                    <a:lnTo>
                      <a:pt x="2436" y="827"/>
                    </a:lnTo>
                    <a:lnTo>
                      <a:pt x="2365" y="851"/>
                    </a:lnTo>
                    <a:lnTo>
                      <a:pt x="2297" y="876"/>
                    </a:lnTo>
                    <a:lnTo>
                      <a:pt x="2229" y="901"/>
                    </a:lnTo>
                    <a:lnTo>
                      <a:pt x="2162" y="925"/>
                    </a:lnTo>
                    <a:lnTo>
                      <a:pt x="2096" y="950"/>
                    </a:lnTo>
                    <a:lnTo>
                      <a:pt x="2030" y="976"/>
                    </a:lnTo>
                    <a:lnTo>
                      <a:pt x="1967" y="1002"/>
                    </a:lnTo>
                    <a:lnTo>
                      <a:pt x="1904" y="1028"/>
                    </a:lnTo>
                    <a:lnTo>
                      <a:pt x="1841" y="1055"/>
                    </a:lnTo>
                    <a:lnTo>
                      <a:pt x="1779" y="1081"/>
                    </a:lnTo>
                    <a:lnTo>
                      <a:pt x="1718" y="1108"/>
                    </a:lnTo>
                    <a:lnTo>
                      <a:pt x="1658" y="1136"/>
                    </a:lnTo>
                    <a:lnTo>
                      <a:pt x="1600" y="1162"/>
                    </a:lnTo>
                    <a:lnTo>
                      <a:pt x="1541" y="1190"/>
                    </a:lnTo>
                    <a:lnTo>
                      <a:pt x="1484" y="1218"/>
                    </a:lnTo>
                    <a:lnTo>
                      <a:pt x="1428" y="1246"/>
                    </a:lnTo>
                    <a:lnTo>
                      <a:pt x="1373" y="1275"/>
                    </a:lnTo>
                    <a:lnTo>
                      <a:pt x="1318" y="1303"/>
                    </a:lnTo>
                    <a:lnTo>
                      <a:pt x="1265" y="1332"/>
                    </a:lnTo>
                    <a:lnTo>
                      <a:pt x="1212" y="1361"/>
                    </a:lnTo>
                    <a:lnTo>
                      <a:pt x="1162" y="1391"/>
                    </a:lnTo>
                    <a:lnTo>
                      <a:pt x="1111" y="1420"/>
                    </a:lnTo>
                    <a:lnTo>
                      <a:pt x="1062" y="1450"/>
                    </a:lnTo>
                    <a:lnTo>
                      <a:pt x="1013" y="1481"/>
                    </a:lnTo>
                    <a:lnTo>
                      <a:pt x="966" y="1511"/>
                    </a:lnTo>
                    <a:lnTo>
                      <a:pt x="919" y="1542"/>
                    </a:lnTo>
                    <a:lnTo>
                      <a:pt x="874" y="1572"/>
                    </a:lnTo>
                    <a:lnTo>
                      <a:pt x="830" y="1603"/>
                    </a:lnTo>
                    <a:lnTo>
                      <a:pt x="786" y="1635"/>
                    </a:lnTo>
                    <a:lnTo>
                      <a:pt x="744" y="1667"/>
                    </a:lnTo>
                    <a:lnTo>
                      <a:pt x="703" y="1699"/>
                    </a:lnTo>
                    <a:lnTo>
                      <a:pt x="663" y="1730"/>
                    </a:lnTo>
                    <a:lnTo>
                      <a:pt x="624" y="1763"/>
                    </a:lnTo>
                    <a:lnTo>
                      <a:pt x="586" y="1795"/>
                    </a:lnTo>
                    <a:lnTo>
                      <a:pt x="549" y="1828"/>
                    </a:lnTo>
                    <a:lnTo>
                      <a:pt x="513" y="1860"/>
                    </a:lnTo>
                    <a:lnTo>
                      <a:pt x="479" y="1893"/>
                    </a:lnTo>
                    <a:lnTo>
                      <a:pt x="445" y="1926"/>
                    </a:lnTo>
                    <a:lnTo>
                      <a:pt x="413" y="1960"/>
                    </a:lnTo>
                    <a:lnTo>
                      <a:pt x="381" y="1994"/>
                    </a:lnTo>
                    <a:lnTo>
                      <a:pt x="351" y="2028"/>
                    </a:lnTo>
                    <a:lnTo>
                      <a:pt x="323" y="2062"/>
                    </a:lnTo>
                    <a:lnTo>
                      <a:pt x="295" y="2097"/>
                    </a:lnTo>
                    <a:lnTo>
                      <a:pt x="268" y="2131"/>
                    </a:lnTo>
                    <a:lnTo>
                      <a:pt x="243" y="2166"/>
                    </a:lnTo>
                    <a:lnTo>
                      <a:pt x="219" y="2201"/>
                    </a:lnTo>
                    <a:lnTo>
                      <a:pt x="196" y="2236"/>
                    </a:lnTo>
                    <a:lnTo>
                      <a:pt x="174" y="2272"/>
                    </a:lnTo>
                    <a:lnTo>
                      <a:pt x="154" y="2307"/>
                    </a:lnTo>
                    <a:lnTo>
                      <a:pt x="134" y="2343"/>
                    </a:lnTo>
                    <a:lnTo>
                      <a:pt x="115" y="2380"/>
                    </a:lnTo>
                    <a:lnTo>
                      <a:pt x="99" y="2416"/>
                    </a:lnTo>
                    <a:lnTo>
                      <a:pt x="83" y="2452"/>
                    </a:lnTo>
                    <a:lnTo>
                      <a:pt x="69" y="2488"/>
                    </a:lnTo>
                    <a:lnTo>
                      <a:pt x="56" y="2526"/>
                    </a:lnTo>
                    <a:lnTo>
                      <a:pt x="44" y="2563"/>
                    </a:lnTo>
                    <a:lnTo>
                      <a:pt x="34" y="2600"/>
                    </a:lnTo>
                    <a:lnTo>
                      <a:pt x="25" y="2637"/>
                    </a:lnTo>
                    <a:lnTo>
                      <a:pt x="18" y="2675"/>
                    </a:lnTo>
                    <a:lnTo>
                      <a:pt x="11" y="2712"/>
                    </a:lnTo>
                    <a:lnTo>
                      <a:pt x="6" y="2750"/>
                    </a:lnTo>
                    <a:lnTo>
                      <a:pt x="3" y="2788"/>
                    </a:lnTo>
                    <a:lnTo>
                      <a:pt x="1" y="2826"/>
                    </a:lnTo>
                    <a:lnTo>
                      <a:pt x="0" y="2864"/>
                    </a:lnTo>
                    <a:lnTo>
                      <a:pt x="100" y="2864"/>
                    </a:lnTo>
                    <a:lnTo>
                      <a:pt x="101" y="2830"/>
                    </a:lnTo>
                    <a:lnTo>
                      <a:pt x="102" y="2796"/>
                    </a:lnTo>
                    <a:lnTo>
                      <a:pt x="106" y="2762"/>
                    </a:lnTo>
                    <a:lnTo>
                      <a:pt x="110" y="2726"/>
                    </a:lnTo>
                    <a:lnTo>
                      <a:pt x="115" y="2693"/>
                    </a:lnTo>
                    <a:lnTo>
                      <a:pt x="123" y="2659"/>
                    </a:lnTo>
                    <a:lnTo>
                      <a:pt x="131" y="2625"/>
                    </a:lnTo>
                    <a:lnTo>
                      <a:pt x="140" y="2591"/>
                    </a:lnTo>
                    <a:lnTo>
                      <a:pt x="150" y="2558"/>
                    </a:lnTo>
                    <a:lnTo>
                      <a:pt x="163" y="2524"/>
                    </a:lnTo>
                    <a:lnTo>
                      <a:pt x="175" y="2490"/>
                    </a:lnTo>
                    <a:lnTo>
                      <a:pt x="190" y="2456"/>
                    </a:lnTo>
                    <a:lnTo>
                      <a:pt x="205" y="2423"/>
                    </a:lnTo>
                    <a:lnTo>
                      <a:pt x="223" y="2390"/>
                    </a:lnTo>
                    <a:lnTo>
                      <a:pt x="240" y="2356"/>
                    </a:lnTo>
                    <a:lnTo>
                      <a:pt x="260" y="2323"/>
                    </a:lnTo>
                    <a:lnTo>
                      <a:pt x="279" y="2290"/>
                    </a:lnTo>
                    <a:lnTo>
                      <a:pt x="301" y="2258"/>
                    </a:lnTo>
                    <a:lnTo>
                      <a:pt x="324" y="2224"/>
                    </a:lnTo>
                    <a:lnTo>
                      <a:pt x="348" y="2191"/>
                    </a:lnTo>
                    <a:lnTo>
                      <a:pt x="373" y="2159"/>
                    </a:lnTo>
                    <a:lnTo>
                      <a:pt x="400" y="2126"/>
                    </a:lnTo>
                    <a:lnTo>
                      <a:pt x="427" y="2094"/>
                    </a:lnTo>
                    <a:lnTo>
                      <a:pt x="456" y="2062"/>
                    </a:lnTo>
                    <a:lnTo>
                      <a:pt x="485" y="2030"/>
                    </a:lnTo>
                    <a:lnTo>
                      <a:pt x="516" y="1998"/>
                    </a:lnTo>
                    <a:lnTo>
                      <a:pt x="548" y="1966"/>
                    </a:lnTo>
                    <a:lnTo>
                      <a:pt x="581" y="1934"/>
                    </a:lnTo>
                    <a:lnTo>
                      <a:pt x="616" y="1902"/>
                    </a:lnTo>
                    <a:lnTo>
                      <a:pt x="651" y="1870"/>
                    </a:lnTo>
                    <a:lnTo>
                      <a:pt x="688" y="1839"/>
                    </a:lnTo>
                    <a:lnTo>
                      <a:pt x="726" y="1808"/>
                    </a:lnTo>
                    <a:lnTo>
                      <a:pt x="765" y="1777"/>
                    </a:lnTo>
                    <a:lnTo>
                      <a:pt x="804" y="1746"/>
                    </a:lnTo>
                    <a:lnTo>
                      <a:pt x="845" y="1716"/>
                    </a:lnTo>
                    <a:lnTo>
                      <a:pt x="887" y="1685"/>
                    </a:lnTo>
                    <a:lnTo>
                      <a:pt x="931" y="1655"/>
                    </a:lnTo>
                    <a:lnTo>
                      <a:pt x="975" y="1625"/>
                    </a:lnTo>
                    <a:lnTo>
                      <a:pt x="1020" y="1595"/>
                    </a:lnTo>
                    <a:lnTo>
                      <a:pt x="1066" y="1565"/>
                    </a:lnTo>
                    <a:lnTo>
                      <a:pt x="1113" y="1536"/>
                    </a:lnTo>
                    <a:lnTo>
                      <a:pt x="1162" y="1507"/>
                    </a:lnTo>
                    <a:lnTo>
                      <a:pt x="1211" y="1478"/>
                    </a:lnTo>
                    <a:lnTo>
                      <a:pt x="1262" y="1449"/>
                    </a:lnTo>
                    <a:lnTo>
                      <a:pt x="1313" y="1420"/>
                    </a:lnTo>
                    <a:lnTo>
                      <a:pt x="1366" y="1392"/>
                    </a:lnTo>
                    <a:lnTo>
                      <a:pt x="1418" y="1364"/>
                    </a:lnTo>
                    <a:lnTo>
                      <a:pt x="1473" y="1336"/>
                    </a:lnTo>
                    <a:lnTo>
                      <a:pt x="1529" y="1308"/>
                    </a:lnTo>
                    <a:lnTo>
                      <a:pt x="1584" y="1280"/>
                    </a:lnTo>
                    <a:lnTo>
                      <a:pt x="1642" y="1254"/>
                    </a:lnTo>
                    <a:lnTo>
                      <a:pt x="1700" y="1227"/>
                    </a:lnTo>
                    <a:lnTo>
                      <a:pt x="1758" y="1200"/>
                    </a:lnTo>
                    <a:lnTo>
                      <a:pt x="1819" y="1173"/>
                    </a:lnTo>
                    <a:lnTo>
                      <a:pt x="1880" y="1147"/>
                    </a:lnTo>
                    <a:lnTo>
                      <a:pt x="1941" y="1121"/>
                    </a:lnTo>
                    <a:lnTo>
                      <a:pt x="2004" y="1095"/>
                    </a:lnTo>
                    <a:lnTo>
                      <a:pt x="2068" y="1069"/>
                    </a:lnTo>
                    <a:lnTo>
                      <a:pt x="2132" y="1044"/>
                    </a:lnTo>
                    <a:lnTo>
                      <a:pt x="2197" y="1020"/>
                    </a:lnTo>
                    <a:lnTo>
                      <a:pt x="2263" y="995"/>
                    </a:lnTo>
                    <a:lnTo>
                      <a:pt x="2330" y="970"/>
                    </a:lnTo>
                    <a:lnTo>
                      <a:pt x="2398" y="946"/>
                    </a:lnTo>
                    <a:lnTo>
                      <a:pt x="2467" y="922"/>
                    </a:lnTo>
                    <a:lnTo>
                      <a:pt x="2538" y="899"/>
                    </a:lnTo>
                    <a:lnTo>
                      <a:pt x="2608" y="875"/>
                    </a:lnTo>
                    <a:lnTo>
                      <a:pt x="2679" y="852"/>
                    </a:lnTo>
                    <a:lnTo>
                      <a:pt x="2751" y="829"/>
                    </a:lnTo>
                    <a:lnTo>
                      <a:pt x="2897" y="785"/>
                    </a:lnTo>
                    <a:lnTo>
                      <a:pt x="3047" y="741"/>
                    </a:lnTo>
                    <a:lnTo>
                      <a:pt x="3199" y="699"/>
                    </a:lnTo>
                    <a:lnTo>
                      <a:pt x="3355" y="658"/>
                    </a:lnTo>
                    <a:lnTo>
                      <a:pt x="3514" y="618"/>
                    </a:lnTo>
                    <a:lnTo>
                      <a:pt x="3675" y="580"/>
                    </a:lnTo>
                    <a:lnTo>
                      <a:pt x="3839" y="542"/>
                    </a:lnTo>
                    <a:lnTo>
                      <a:pt x="4007" y="506"/>
                    </a:lnTo>
                    <a:lnTo>
                      <a:pt x="4176" y="472"/>
                    </a:lnTo>
                    <a:lnTo>
                      <a:pt x="4350" y="439"/>
                    </a:lnTo>
                    <a:lnTo>
                      <a:pt x="4524" y="408"/>
                    </a:lnTo>
                    <a:lnTo>
                      <a:pt x="4702" y="377"/>
                    </a:lnTo>
                    <a:lnTo>
                      <a:pt x="4881" y="348"/>
                    </a:lnTo>
                    <a:lnTo>
                      <a:pt x="5064" y="321"/>
                    </a:lnTo>
                    <a:lnTo>
                      <a:pt x="5248" y="295"/>
                    </a:lnTo>
                    <a:lnTo>
                      <a:pt x="5435" y="270"/>
                    </a:lnTo>
                    <a:lnTo>
                      <a:pt x="5623" y="247"/>
                    </a:lnTo>
                    <a:lnTo>
                      <a:pt x="5814" y="227"/>
                    </a:lnTo>
                    <a:lnTo>
                      <a:pt x="6008" y="207"/>
                    </a:lnTo>
                    <a:lnTo>
                      <a:pt x="6203" y="188"/>
                    </a:lnTo>
                    <a:lnTo>
                      <a:pt x="6400" y="172"/>
                    </a:lnTo>
                    <a:lnTo>
                      <a:pt x="6597" y="157"/>
                    </a:lnTo>
                    <a:lnTo>
                      <a:pt x="6798" y="144"/>
                    </a:lnTo>
                    <a:lnTo>
                      <a:pt x="7000" y="133"/>
                    </a:lnTo>
                    <a:lnTo>
                      <a:pt x="7205" y="122"/>
                    </a:lnTo>
                    <a:lnTo>
                      <a:pt x="7410" y="115"/>
                    </a:lnTo>
                    <a:lnTo>
                      <a:pt x="7617" y="108"/>
                    </a:lnTo>
                    <a:lnTo>
                      <a:pt x="7825" y="104"/>
                    </a:lnTo>
                    <a:lnTo>
                      <a:pt x="8034" y="102"/>
                    </a:lnTo>
                    <a:lnTo>
                      <a:pt x="8246" y="100"/>
                    </a:lnTo>
                    <a:lnTo>
                      <a:pt x="8246" y="100"/>
                    </a:lnTo>
                    <a:lnTo>
                      <a:pt x="8246" y="100"/>
                    </a:lnTo>
                    <a:lnTo>
                      <a:pt x="8252" y="99"/>
                    </a:lnTo>
                    <a:lnTo>
                      <a:pt x="8257" y="99"/>
                    </a:lnTo>
                    <a:lnTo>
                      <a:pt x="8263" y="97"/>
                    </a:lnTo>
                    <a:lnTo>
                      <a:pt x="8267" y="96"/>
                    </a:lnTo>
                    <a:lnTo>
                      <a:pt x="8272" y="93"/>
                    </a:lnTo>
                    <a:lnTo>
                      <a:pt x="8276" y="91"/>
                    </a:lnTo>
                    <a:lnTo>
                      <a:pt x="8280" y="88"/>
                    </a:lnTo>
                    <a:lnTo>
                      <a:pt x="8284" y="84"/>
                    </a:lnTo>
                    <a:lnTo>
                      <a:pt x="8289" y="77"/>
                    </a:lnTo>
                    <a:lnTo>
                      <a:pt x="8293" y="68"/>
                    </a:lnTo>
                    <a:lnTo>
                      <a:pt x="8295" y="59"/>
                    </a:lnTo>
                    <a:lnTo>
                      <a:pt x="8296" y="50"/>
                    </a:lnTo>
                    <a:lnTo>
                      <a:pt x="8295" y="40"/>
                    </a:lnTo>
                    <a:lnTo>
                      <a:pt x="8293" y="31"/>
                    </a:lnTo>
                    <a:lnTo>
                      <a:pt x="8289" y="23"/>
                    </a:lnTo>
                    <a:lnTo>
                      <a:pt x="8284" y="16"/>
                    </a:lnTo>
                    <a:lnTo>
                      <a:pt x="8280" y="13"/>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93" name="Freeform 44"/>
              <p:cNvSpPr>
                <a:spLocks/>
              </p:cNvSpPr>
              <p:nvPr>
                <p:custDataLst>
                  <p:tags r:id="rId236"/>
                </p:custDataLst>
              </p:nvPr>
            </p:nvSpPr>
            <p:spPr bwMode="auto">
              <a:xfrm>
                <a:off x="728" y="3515"/>
                <a:ext cx="358" cy="114"/>
              </a:xfrm>
              <a:custGeom>
                <a:avLst/>
                <a:gdLst>
                  <a:gd name="T0" fmla="*/ 8239 w 8245"/>
                  <a:gd name="T1" fmla="*/ 2750 h 2864"/>
                  <a:gd name="T2" fmla="*/ 8211 w 8245"/>
                  <a:gd name="T3" fmla="*/ 2600 h 2864"/>
                  <a:gd name="T4" fmla="*/ 8162 w 8245"/>
                  <a:gd name="T5" fmla="*/ 2452 h 2864"/>
                  <a:gd name="T6" fmla="*/ 8091 w 8245"/>
                  <a:gd name="T7" fmla="*/ 2307 h 2864"/>
                  <a:gd name="T8" fmla="*/ 8002 w 8245"/>
                  <a:gd name="T9" fmla="*/ 2166 h 2864"/>
                  <a:gd name="T10" fmla="*/ 7894 w 8245"/>
                  <a:gd name="T11" fmla="*/ 2028 h 2864"/>
                  <a:gd name="T12" fmla="*/ 7766 w 8245"/>
                  <a:gd name="T13" fmla="*/ 1893 h 2864"/>
                  <a:gd name="T14" fmla="*/ 7620 w 8245"/>
                  <a:gd name="T15" fmla="*/ 1763 h 2864"/>
                  <a:gd name="T16" fmla="*/ 7459 w 8245"/>
                  <a:gd name="T17" fmla="*/ 1635 h 2864"/>
                  <a:gd name="T18" fmla="*/ 7279 w 8245"/>
                  <a:gd name="T19" fmla="*/ 1511 h 2864"/>
                  <a:gd name="T20" fmla="*/ 7083 w 8245"/>
                  <a:gd name="T21" fmla="*/ 1391 h 2864"/>
                  <a:gd name="T22" fmla="*/ 6872 w 8245"/>
                  <a:gd name="T23" fmla="*/ 1275 h 2864"/>
                  <a:gd name="T24" fmla="*/ 6645 w 8245"/>
                  <a:gd name="T25" fmla="*/ 1162 h 2864"/>
                  <a:gd name="T26" fmla="*/ 6404 w 8245"/>
                  <a:gd name="T27" fmla="*/ 1055 h 2864"/>
                  <a:gd name="T28" fmla="*/ 6149 w 8245"/>
                  <a:gd name="T29" fmla="*/ 950 h 2864"/>
                  <a:gd name="T30" fmla="*/ 5880 w 8245"/>
                  <a:gd name="T31" fmla="*/ 851 h 2864"/>
                  <a:gd name="T32" fmla="*/ 5596 w 8245"/>
                  <a:gd name="T33" fmla="*/ 757 h 2864"/>
                  <a:gd name="T34" fmla="*/ 5072 w 8245"/>
                  <a:gd name="T35" fmla="*/ 602 h 2864"/>
                  <a:gd name="T36" fmla="*/ 4426 w 8245"/>
                  <a:gd name="T37" fmla="*/ 444 h 2864"/>
                  <a:gd name="T38" fmla="*/ 3738 w 8245"/>
                  <a:gd name="T39" fmla="*/ 309 h 2864"/>
                  <a:gd name="T40" fmla="*/ 3010 w 8245"/>
                  <a:gd name="T41" fmla="*/ 196 h 2864"/>
                  <a:gd name="T42" fmla="*/ 2246 w 8245"/>
                  <a:gd name="T43" fmla="*/ 107 h 2864"/>
                  <a:gd name="T44" fmla="*/ 1453 w 8245"/>
                  <a:gd name="T45" fmla="*/ 44 h 2864"/>
                  <a:gd name="T46" fmla="*/ 631 w 8245"/>
                  <a:gd name="T47" fmla="*/ 8 h 2864"/>
                  <a:gd name="T48" fmla="*/ 0 w 8245"/>
                  <a:gd name="T49" fmla="*/ 100 h 2864"/>
                  <a:gd name="T50" fmla="*/ 835 w 8245"/>
                  <a:gd name="T51" fmla="*/ 115 h 2864"/>
                  <a:gd name="T52" fmla="*/ 1648 w 8245"/>
                  <a:gd name="T53" fmla="*/ 157 h 2864"/>
                  <a:gd name="T54" fmla="*/ 2431 w 8245"/>
                  <a:gd name="T55" fmla="*/ 227 h 2864"/>
                  <a:gd name="T56" fmla="*/ 3181 w 8245"/>
                  <a:gd name="T57" fmla="*/ 321 h 2864"/>
                  <a:gd name="T58" fmla="*/ 3895 w 8245"/>
                  <a:gd name="T59" fmla="*/ 439 h 2864"/>
                  <a:gd name="T60" fmla="*/ 4570 w 8245"/>
                  <a:gd name="T61" fmla="*/ 580 h 2864"/>
                  <a:gd name="T62" fmla="*/ 5198 w 8245"/>
                  <a:gd name="T63" fmla="*/ 741 h 2864"/>
                  <a:gd name="T64" fmla="*/ 5637 w 8245"/>
                  <a:gd name="T65" fmla="*/ 875 h 2864"/>
                  <a:gd name="T66" fmla="*/ 5915 w 8245"/>
                  <a:gd name="T67" fmla="*/ 970 h 2864"/>
                  <a:gd name="T68" fmla="*/ 6177 w 8245"/>
                  <a:gd name="T69" fmla="*/ 1069 h 2864"/>
                  <a:gd name="T70" fmla="*/ 6426 w 8245"/>
                  <a:gd name="T71" fmla="*/ 1173 h 2864"/>
                  <a:gd name="T72" fmla="*/ 6661 w 8245"/>
                  <a:gd name="T73" fmla="*/ 1280 h 2864"/>
                  <a:gd name="T74" fmla="*/ 6879 w 8245"/>
                  <a:gd name="T75" fmla="*/ 1392 h 2864"/>
                  <a:gd name="T76" fmla="*/ 7083 w 8245"/>
                  <a:gd name="T77" fmla="*/ 1507 h 2864"/>
                  <a:gd name="T78" fmla="*/ 7270 w 8245"/>
                  <a:gd name="T79" fmla="*/ 1625 h 2864"/>
                  <a:gd name="T80" fmla="*/ 7440 w 8245"/>
                  <a:gd name="T81" fmla="*/ 1746 h 2864"/>
                  <a:gd name="T82" fmla="*/ 7594 w 8245"/>
                  <a:gd name="T83" fmla="*/ 1870 h 2864"/>
                  <a:gd name="T84" fmla="*/ 7729 w 8245"/>
                  <a:gd name="T85" fmla="*/ 1998 h 2864"/>
                  <a:gd name="T86" fmla="*/ 7845 w 8245"/>
                  <a:gd name="T87" fmla="*/ 2126 h 2864"/>
                  <a:gd name="T88" fmla="*/ 7943 w 8245"/>
                  <a:gd name="T89" fmla="*/ 2258 h 2864"/>
                  <a:gd name="T90" fmla="*/ 8022 w 8245"/>
                  <a:gd name="T91" fmla="*/ 2390 h 2864"/>
                  <a:gd name="T92" fmla="*/ 8082 w 8245"/>
                  <a:gd name="T93" fmla="*/ 2524 h 2864"/>
                  <a:gd name="T94" fmla="*/ 8122 w 8245"/>
                  <a:gd name="T95" fmla="*/ 2659 h 2864"/>
                  <a:gd name="T96" fmla="*/ 8142 w 8245"/>
                  <a:gd name="T97" fmla="*/ 2796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4">
                    <a:moveTo>
                      <a:pt x="8245" y="2864"/>
                    </a:moveTo>
                    <a:lnTo>
                      <a:pt x="8244" y="2826"/>
                    </a:lnTo>
                    <a:lnTo>
                      <a:pt x="8242" y="2788"/>
                    </a:lnTo>
                    <a:lnTo>
                      <a:pt x="8239" y="2750"/>
                    </a:lnTo>
                    <a:lnTo>
                      <a:pt x="8234" y="2712"/>
                    </a:lnTo>
                    <a:lnTo>
                      <a:pt x="8227" y="2675"/>
                    </a:lnTo>
                    <a:lnTo>
                      <a:pt x="8219" y="2637"/>
                    </a:lnTo>
                    <a:lnTo>
                      <a:pt x="8211" y="2600"/>
                    </a:lnTo>
                    <a:lnTo>
                      <a:pt x="8201" y="2563"/>
                    </a:lnTo>
                    <a:lnTo>
                      <a:pt x="8188" y="2526"/>
                    </a:lnTo>
                    <a:lnTo>
                      <a:pt x="8176" y="2488"/>
                    </a:lnTo>
                    <a:lnTo>
                      <a:pt x="8162" y="2452"/>
                    </a:lnTo>
                    <a:lnTo>
                      <a:pt x="8146" y="2416"/>
                    </a:lnTo>
                    <a:lnTo>
                      <a:pt x="8130" y="2380"/>
                    </a:lnTo>
                    <a:lnTo>
                      <a:pt x="8111" y="2343"/>
                    </a:lnTo>
                    <a:lnTo>
                      <a:pt x="8091" y="2307"/>
                    </a:lnTo>
                    <a:lnTo>
                      <a:pt x="8071" y="2272"/>
                    </a:lnTo>
                    <a:lnTo>
                      <a:pt x="8049" y="2236"/>
                    </a:lnTo>
                    <a:lnTo>
                      <a:pt x="8026" y="2201"/>
                    </a:lnTo>
                    <a:lnTo>
                      <a:pt x="8002" y="2166"/>
                    </a:lnTo>
                    <a:lnTo>
                      <a:pt x="7977" y="2131"/>
                    </a:lnTo>
                    <a:lnTo>
                      <a:pt x="7950" y="2096"/>
                    </a:lnTo>
                    <a:lnTo>
                      <a:pt x="7922" y="2062"/>
                    </a:lnTo>
                    <a:lnTo>
                      <a:pt x="7894" y="2028"/>
                    </a:lnTo>
                    <a:lnTo>
                      <a:pt x="7864" y="1994"/>
                    </a:lnTo>
                    <a:lnTo>
                      <a:pt x="7832" y="1960"/>
                    </a:lnTo>
                    <a:lnTo>
                      <a:pt x="7800" y="1926"/>
                    </a:lnTo>
                    <a:lnTo>
                      <a:pt x="7766" y="1893"/>
                    </a:lnTo>
                    <a:lnTo>
                      <a:pt x="7732" y="1860"/>
                    </a:lnTo>
                    <a:lnTo>
                      <a:pt x="7696" y="1828"/>
                    </a:lnTo>
                    <a:lnTo>
                      <a:pt x="7659" y="1795"/>
                    </a:lnTo>
                    <a:lnTo>
                      <a:pt x="7620" y="1763"/>
                    </a:lnTo>
                    <a:lnTo>
                      <a:pt x="7582" y="1730"/>
                    </a:lnTo>
                    <a:lnTo>
                      <a:pt x="7542" y="1699"/>
                    </a:lnTo>
                    <a:lnTo>
                      <a:pt x="7501" y="1667"/>
                    </a:lnTo>
                    <a:lnTo>
                      <a:pt x="7459" y="1635"/>
                    </a:lnTo>
                    <a:lnTo>
                      <a:pt x="7415" y="1603"/>
                    </a:lnTo>
                    <a:lnTo>
                      <a:pt x="7371" y="1572"/>
                    </a:lnTo>
                    <a:lnTo>
                      <a:pt x="7326" y="1542"/>
                    </a:lnTo>
                    <a:lnTo>
                      <a:pt x="7279" y="1511"/>
                    </a:lnTo>
                    <a:lnTo>
                      <a:pt x="7232" y="1481"/>
                    </a:lnTo>
                    <a:lnTo>
                      <a:pt x="7183" y="1450"/>
                    </a:lnTo>
                    <a:lnTo>
                      <a:pt x="7134" y="1420"/>
                    </a:lnTo>
                    <a:lnTo>
                      <a:pt x="7083" y="1391"/>
                    </a:lnTo>
                    <a:lnTo>
                      <a:pt x="7032" y="1361"/>
                    </a:lnTo>
                    <a:lnTo>
                      <a:pt x="6980" y="1332"/>
                    </a:lnTo>
                    <a:lnTo>
                      <a:pt x="6927" y="1303"/>
                    </a:lnTo>
                    <a:lnTo>
                      <a:pt x="6872" y="1275"/>
                    </a:lnTo>
                    <a:lnTo>
                      <a:pt x="6817" y="1246"/>
                    </a:lnTo>
                    <a:lnTo>
                      <a:pt x="6761" y="1218"/>
                    </a:lnTo>
                    <a:lnTo>
                      <a:pt x="6704" y="1190"/>
                    </a:lnTo>
                    <a:lnTo>
                      <a:pt x="6645" y="1162"/>
                    </a:lnTo>
                    <a:lnTo>
                      <a:pt x="6587" y="1136"/>
                    </a:lnTo>
                    <a:lnTo>
                      <a:pt x="6527" y="1108"/>
                    </a:lnTo>
                    <a:lnTo>
                      <a:pt x="6466" y="1081"/>
                    </a:lnTo>
                    <a:lnTo>
                      <a:pt x="6404" y="1055"/>
                    </a:lnTo>
                    <a:lnTo>
                      <a:pt x="6341" y="1028"/>
                    </a:lnTo>
                    <a:lnTo>
                      <a:pt x="6278" y="1002"/>
                    </a:lnTo>
                    <a:lnTo>
                      <a:pt x="6214" y="976"/>
                    </a:lnTo>
                    <a:lnTo>
                      <a:pt x="6149" y="950"/>
                    </a:lnTo>
                    <a:lnTo>
                      <a:pt x="6083" y="925"/>
                    </a:lnTo>
                    <a:lnTo>
                      <a:pt x="6016" y="901"/>
                    </a:lnTo>
                    <a:lnTo>
                      <a:pt x="5948" y="876"/>
                    </a:lnTo>
                    <a:lnTo>
                      <a:pt x="5880" y="851"/>
                    </a:lnTo>
                    <a:lnTo>
                      <a:pt x="5809" y="827"/>
                    </a:lnTo>
                    <a:lnTo>
                      <a:pt x="5739" y="803"/>
                    </a:lnTo>
                    <a:lnTo>
                      <a:pt x="5668" y="779"/>
                    </a:lnTo>
                    <a:lnTo>
                      <a:pt x="5596" y="757"/>
                    </a:lnTo>
                    <a:lnTo>
                      <a:pt x="5524" y="734"/>
                    </a:lnTo>
                    <a:lnTo>
                      <a:pt x="5376" y="688"/>
                    </a:lnTo>
                    <a:lnTo>
                      <a:pt x="5225" y="645"/>
                    </a:lnTo>
                    <a:lnTo>
                      <a:pt x="5072" y="602"/>
                    </a:lnTo>
                    <a:lnTo>
                      <a:pt x="4914" y="561"/>
                    </a:lnTo>
                    <a:lnTo>
                      <a:pt x="4754" y="521"/>
                    </a:lnTo>
                    <a:lnTo>
                      <a:pt x="4592" y="482"/>
                    </a:lnTo>
                    <a:lnTo>
                      <a:pt x="4426" y="444"/>
                    </a:lnTo>
                    <a:lnTo>
                      <a:pt x="4258" y="409"/>
                    </a:lnTo>
                    <a:lnTo>
                      <a:pt x="4087" y="374"/>
                    </a:lnTo>
                    <a:lnTo>
                      <a:pt x="3914" y="341"/>
                    </a:lnTo>
                    <a:lnTo>
                      <a:pt x="3738" y="309"/>
                    </a:lnTo>
                    <a:lnTo>
                      <a:pt x="3559" y="279"/>
                    </a:lnTo>
                    <a:lnTo>
                      <a:pt x="3379" y="250"/>
                    </a:lnTo>
                    <a:lnTo>
                      <a:pt x="3196" y="222"/>
                    </a:lnTo>
                    <a:lnTo>
                      <a:pt x="3010" y="196"/>
                    </a:lnTo>
                    <a:lnTo>
                      <a:pt x="2823" y="171"/>
                    </a:lnTo>
                    <a:lnTo>
                      <a:pt x="2633" y="148"/>
                    </a:lnTo>
                    <a:lnTo>
                      <a:pt x="2441" y="126"/>
                    </a:lnTo>
                    <a:lnTo>
                      <a:pt x="2246" y="107"/>
                    </a:lnTo>
                    <a:lnTo>
                      <a:pt x="2052" y="88"/>
                    </a:lnTo>
                    <a:lnTo>
                      <a:pt x="1854" y="72"/>
                    </a:lnTo>
                    <a:lnTo>
                      <a:pt x="1654" y="57"/>
                    </a:lnTo>
                    <a:lnTo>
                      <a:pt x="1453" y="44"/>
                    </a:lnTo>
                    <a:lnTo>
                      <a:pt x="1250" y="32"/>
                    </a:lnTo>
                    <a:lnTo>
                      <a:pt x="1045" y="23"/>
                    </a:lnTo>
                    <a:lnTo>
                      <a:pt x="838" y="15"/>
                    </a:lnTo>
                    <a:lnTo>
                      <a:pt x="631" y="8"/>
                    </a:lnTo>
                    <a:lnTo>
                      <a:pt x="422" y="3"/>
                    </a:lnTo>
                    <a:lnTo>
                      <a:pt x="212" y="0"/>
                    </a:lnTo>
                    <a:lnTo>
                      <a:pt x="0" y="0"/>
                    </a:lnTo>
                    <a:lnTo>
                      <a:pt x="0" y="100"/>
                    </a:lnTo>
                    <a:lnTo>
                      <a:pt x="211" y="102"/>
                    </a:lnTo>
                    <a:lnTo>
                      <a:pt x="420" y="104"/>
                    </a:lnTo>
                    <a:lnTo>
                      <a:pt x="628" y="108"/>
                    </a:lnTo>
                    <a:lnTo>
                      <a:pt x="835" y="115"/>
                    </a:lnTo>
                    <a:lnTo>
                      <a:pt x="1040" y="122"/>
                    </a:lnTo>
                    <a:lnTo>
                      <a:pt x="1245" y="133"/>
                    </a:lnTo>
                    <a:lnTo>
                      <a:pt x="1447" y="144"/>
                    </a:lnTo>
                    <a:lnTo>
                      <a:pt x="1648" y="157"/>
                    </a:lnTo>
                    <a:lnTo>
                      <a:pt x="1845" y="172"/>
                    </a:lnTo>
                    <a:lnTo>
                      <a:pt x="2042" y="188"/>
                    </a:lnTo>
                    <a:lnTo>
                      <a:pt x="2237" y="207"/>
                    </a:lnTo>
                    <a:lnTo>
                      <a:pt x="2431" y="227"/>
                    </a:lnTo>
                    <a:lnTo>
                      <a:pt x="2622" y="247"/>
                    </a:lnTo>
                    <a:lnTo>
                      <a:pt x="2810" y="270"/>
                    </a:lnTo>
                    <a:lnTo>
                      <a:pt x="2997" y="295"/>
                    </a:lnTo>
                    <a:lnTo>
                      <a:pt x="3181" y="321"/>
                    </a:lnTo>
                    <a:lnTo>
                      <a:pt x="3364" y="348"/>
                    </a:lnTo>
                    <a:lnTo>
                      <a:pt x="3543" y="377"/>
                    </a:lnTo>
                    <a:lnTo>
                      <a:pt x="3721" y="408"/>
                    </a:lnTo>
                    <a:lnTo>
                      <a:pt x="3895" y="439"/>
                    </a:lnTo>
                    <a:lnTo>
                      <a:pt x="4069" y="472"/>
                    </a:lnTo>
                    <a:lnTo>
                      <a:pt x="4238" y="506"/>
                    </a:lnTo>
                    <a:lnTo>
                      <a:pt x="4405" y="542"/>
                    </a:lnTo>
                    <a:lnTo>
                      <a:pt x="4570" y="580"/>
                    </a:lnTo>
                    <a:lnTo>
                      <a:pt x="4731" y="618"/>
                    </a:lnTo>
                    <a:lnTo>
                      <a:pt x="4890" y="658"/>
                    </a:lnTo>
                    <a:lnTo>
                      <a:pt x="5046" y="699"/>
                    </a:lnTo>
                    <a:lnTo>
                      <a:pt x="5198" y="741"/>
                    </a:lnTo>
                    <a:lnTo>
                      <a:pt x="5348" y="785"/>
                    </a:lnTo>
                    <a:lnTo>
                      <a:pt x="5494" y="829"/>
                    </a:lnTo>
                    <a:lnTo>
                      <a:pt x="5566" y="852"/>
                    </a:lnTo>
                    <a:lnTo>
                      <a:pt x="5637" y="875"/>
                    </a:lnTo>
                    <a:lnTo>
                      <a:pt x="5707" y="899"/>
                    </a:lnTo>
                    <a:lnTo>
                      <a:pt x="5778" y="922"/>
                    </a:lnTo>
                    <a:lnTo>
                      <a:pt x="5847" y="946"/>
                    </a:lnTo>
                    <a:lnTo>
                      <a:pt x="5915" y="970"/>
                    </a:lnTo>
                    <a:lnTo>
                      <a:pt x="5982" y="995"/>
                    </a:lnTo>
                    <a:lnTo>
                      <a:pt x="6048" y="1020"/>
                    </a:lnTo>
                    <a:lnTo>
                      <a:pt x="6113" y="1044"/>
                    </a:lnTo>
                    <a:lnTo>
                      <a:pt x="6177" y="1069"/>
                    </a:lnTo>
                    <a:lnTo>
                      <a:pt x="6241" y="1095"/>
                    </a:lnTo>
                    <a:lnTo>
                      <a:pt x="6304" y="1121"/>
                    </a:lnTo>
                    <a:lnTo>
                      <a:pt x="6365" y="1147"/>
                    </a:lnTo>
                    <a:lnTo>
                      <a:pt x="6426" y="1173"/>
                    </a:lnTo>
                    <a:lnTo>
                      <a:pt x="6487" y="1200"/>
                    </a:lnTo>
                    <a:lnTo>
                      <a:pt x="6545" y="1227"/>
                    </a:lnTo>
                    <a:lnTo>
                      <a:pt x="6603" y="1254"/>
                    </a:lnTo>
                    <a:lnTo>
                      <a:pt x="6661" y="1280"/>
                    </a:lnTo>
                    <a:lnTo>
                      <a:pt x="6716" y="1308"/>
                    </a:lnTo>
                    <a:lnTo>
                      <a:pt x="6772" y="1336"/>
                    </a:lnTo>
                    <a:lnTo>
                      <a:pt x="6827" y="1364"/>
                    </a:lnTo>
                    <a:lnTo>
                      <a:pt x="6879" y="1392"/>
                    </a:lnTo>
                    <a:lnTo>
                      <a:pt x="6932" y="1420"/>
                    </a:lnTo>
                    <a:lnTo>
                      <a:pt x="6983" y="1449"/>
                    </a:lnTo>
                    <a:lnTo>
                      <a:pt x="7034" y="1478"/>
                    </a:lnTo>
                    <a:lnTo>
                      <a:pt x="7083" y="1507"/>
                    </a:lnTo>
                    <a:lnTo>
                      <a:pt x="7132" y="1536"/>
                    </a:lnTo>
                    <a:lnTo>
                      <a:pt x="7178" y="1565"/>
                    </a:lnTo>
                    <a:lnTo>
                      <a:pt x="7225" y="1595"/>
                    </a:lnTo>
                    <a:lnTo>
                      <a:pt x="7270" y="1625"/>
                    </a:lnTo>
                    <a:lnTo>
                      <a:pt x="7314" y="1655"/>
                    </a:lnTo>
                    <a:lnTo>
                      <a:pt x="7358" y="1685"/>
                    </a:lnTo>
                    <a:lnTo>
                      <a:pt x="7400" y="1716"/>
                    </a:lnTo>
                    <a:lnTo>
                      <a:pt x="7440" y="1746"/>
                    </a:lnTo>
                    <a:lnTo>
                      <a:pt x="7480" y="1777"/>
                    </a:lnTo>
                    <a:lnTo>
                      <a:pt x="7519" y="1808"/>
                    </a:lnTo>
                    <a:lnTo>
                      <a:pt x="7557" y="1839"/>
                    </a:lnTo>
                    <a:lnTo>
                      <a:pt x="7594" y="1870"/>
                    </a:lnTo>
                    <a:lnTo>
                      <a:pt x="7629" y="1902"/>
                    </a:lnTo>
                    <a:lnTo>
                      <a:pt x="7664" y="1934"/>
                    </a:lnTo>
                    <a:lnTo>
                      <a:pt x="7697" y="1966"/>
                    </a:lnTo>
                    <a:lnTo>
                      <a:pt x="7729" y="1998"/>
                    </a:lnTo>
                    <a:lnTo>
                      <a:pt x="7760" y="2030"/>
                    </a:lnTo>
                    <a:lnTo>
                      <a:pt x="7789" y="2062"/>
                    </a:lnTo>
                    <a:lnTo>
                      <a:pt x="7818" y="2094"/>
                    </a:lnTo>
                    <a:lnTo>
                      <a:pt x="7845" y="2126"/>
                    </a:lnTo>
                    <a:lnTo>
                      <a:pt x="7872" y="2159"/>
                    </a:lnTo>
                    <a:lnTo>
                      <a:pt x="7897" y="2191"/>
                    </a:lnTo>
                    <a:lnTo>
                      <a:pt x="7920" y="2224"/>
                    </a:lnTo>
                    <a:lnTo>
                      <a:pt x="7943" y="2258"/>
                    </a:lnTo>
                    <a:lnTo>
                      <a:pt x="7966" y="2290"/>
                    </a:lnTo>
                    <a:lnTo>
                      <a:pt x="7985" y="2323"/>
                    </a:lnTo>
                    <a:lnTo>
                      <a:pt x="8005" y="2356"/>
                    </a:lnTo>
                    <a:lnTo>
                      <a:pt x="8022" y="2390"/>
                    </a:lnTo>
                    <a:lnTo>
                      <a:pt x="8039" y="2423"/>
                    </a:lnTo>
                    <a:lnTo>
                      <a:pt x="8055" y="2456"/>
                    </a:lnTo>
                    <a:lnTo>
                      <a:pt x="8069" y="2489"/>
                    </a:lnTo>
                    <a:lnTo>
                      <a:pt x="8082" y="2524"/>
                    </a:lnTo>
                    <a:lnTo>
                      <a:pt x="8095" y="2558"/>
                    </a:lnTo>
                    <a:lnTo>
                      <a:pt x="8105" y="2591"/>
                    </a:lnTo>
                    <a:lnTo>
                      <a:pt x="8114" y="2625"/>
                    </a:lnTo>
                    <a:lnTo>
                      <a:pt x="8122" y="2659"/>
                    </a:lnTo>
                    <a:lnTo>
                      <a:pt x="8130" y="2693"/>
                    </a:lnTo>
                    <a:lnTo>
                      <a:pt x="8135" y="2726"/>
                    </a:lnTo>
                    <a:lnTo>
                      <a:pt x="8139" y="2762"/>
                    </a:lnTo>
                    <a:lnTo>
                      <a:pt x="8142" y="2796"/>
                    </a:lnTo>
                    <a:lnTo>
                      <a:pt x="8144" y="2830"/>
                    </a:lnTo>
                    <a:lnTo>
                      <a:pt x="8145" y="2864"/>
                    </a:lnTo>
                    <a:lnTo>
                      <a:pt x="8245"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94" name="Freeform 45"/>
              <p:cNvSpPr>
                <a:spLocks/>
              </p:cNvSpPr>
              <p:nvPr>
                <p:custDataLst>
                  <p:tags r:id="rId237"/>
                </p:custDataLst>
              </p:nvPr>
            </p:nvSpPr>
            <p:spPr bwMode="auto">
              <a:xfrm>
                <a:off x="370" y="3472"/>
                <a:ext cx="714" cy="160"/>
              </a:xfrm>
              <a:custGeom>
                <a:avLst/>
                <a:gdLst>
                  <a:gd name="T0" fmla="*/ 0 w 16419"/>
                  <a:gd name="T1" fmla="*/ 0 h 4020"/>
                  <a:gd name="T2" fmla="*/ 0 w 16419"/>
                  <a:gd name="T3" fmla="*/ 4020 h 4020"/>
                  <a:gd name="T4" fmla="*/ 16415 w 16419"/>
                  <a:gd name="T5" fmla="*/ 4020 h 4020"/>
                  <a:gd name="T6" fmla="*/ 16419 w 16419"/>
                  <a:gd name="T7" fmla="*/ 2 h 4020"/>
                  <a:gd name="T8" fmla="*/ 0 w 16419"/>
                  <a:gd name="T9" fmla="*/ 0 h 4020"/>
                </a:gdLst>
                <a:ahLst/>
                <a:cxnLst>
                  <a:cxn ang="0">
                    <a:pos x="T0" y="T1"/>
                  </a:cxn>
                  <a:cxn ang="0">
                    <a:pos x="T2" y="T3"/>
                  </a:cxn>
                  <a:cxn ang="0">
                    <a:pos x="T4" y="T5"/>
                  </a:cxn>
                  <a:cxn ang="0">
                    <a:pos x="T6" y="T7"/>
                  </a:cxn>
                  <a:cxn ang="0">
                    <a:pos x="T8" y="T9"/>
                  </a:cxn>
                </a:cxnLst>
                <a:rect l="0" t="0" r="r" b="b"/>
                <a:pathLst>
                  <a:path w="16419" h="4020">
                    <a:moveTo>
                      <a:pt x="0" y="0"/>
                    </a:moveTo>
                    <a:lnTo>
                      <a:pt x="0" y="4020"/>
                    </a:lnTo>
                    <a:lnTo>
                      <a:pt x="16415" y="4020"/>
                    </a:lnTo>
                    <a:lnTo>
                      <a:pt x="16419" y="2"/>
                    </a:lnTo>
                    <a:lnTo>
                      <a:pt x="0" y="0"/>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95" name="Freeform 46"/>
              <p:cNvSpPr>
                <a:spLocks/>
              </p:cNvSpPr>
              <p:nvPr>
                <p:custDataLst>
                  <p:tags r:id="rId238"/>
                </p:custDataLst>
              </p:nvPr>
            </p:nvSpPr>
            <p:spPr bwMode="auto">
              <a:xfrm>
                <a:off x="371" y="3356"/>
                <a:ext cx="713" cy="225"/>
              </a:xfrm>
              <a:custGeom>
                <a:avLst/>
                <a:gdLst>
                  <a:gd name="T0" fmla="*/ 16347 w 16389"/>
                  <a:gd name="T1" fmla="*/ 3102 h 5628"/>
                  <a:gd name="T2" fmla="*/ 16132 w 16389"/>
                  <a:gd name="T3" fmla="*/ 3517 h 5628"/>
                  <a:gd name="T4" fmla="*/ 15745 w 16389"/>
                  <a:gd name="T5" fmla="*/ 3909 h 5628"/>
                  <a:gd name="T6" fmla="*/ 15203 w 16389"/>
                  <a:gd name="T7" fmla="*/ 4272 h 5628"/>
                  <a:gd name="T8" fmla="*/ 14518 w 16389"/>
                  <a:gd name="T9" fmla="*/ 4604 h 5628"/>
                  <a:gd name="T10" fmla="*/ 13704 w 16389"/>
                  <a:gd name="T11" fmla="*/ 4896 h 5628"/>
                  <a:gd name="T12" fmla="*/ 12776 w 16389"/>
                  <a:gd name="T13" fmla="*/ 5147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7 h 5628"/>
                  <a:gd name="T30" fmla="*/ 2685 w 16389"/>
                  <a:gd name="T31" fmla="*/ 4896 h 5628"/>
                  <a:gd name="T32" fmla="*/ 1871 w 16389"/>
                  <a:gd name="T33" fmla="*/ 4604 h 5628"/>
                  <a:gd name="T34" fmla="*/ 1186 w 16389"/>
                  <a:gd name="T35" fmla="*/ 4272 h 5628"/>
                  <a:gd name="T36" fmla="*/ 644 w 16389"/>
                  <a:gd name="T37" fmla="*/ 3909 h 5628"/>
                  <a:gd name="T38" fmla="*/ 257 w 16389"/>
                  <a:gd name="T39" fmla="*/ 3517 h 5628"/>
                  <a:gd name="T40" fmla="*/ 42 w 16389"/>
                  <a:gd name="T41" fmla="*/ 3102 h 5628"/>
                  <a:gd name="T42" fmla="*/ 10 w 16389"/>
                  <a:gd name="T43" fmla="*/ 2669 h 5628"/>
                  <a:gd name="T44" fmla="*/ 165 w 16389"/>
                  <a:gd name="T45" fmla="*/ 2247 h 5628"/>
                  <a:gd name="T46" fmla="*/ 496 w 16389"/>
                  <a:gd name="T47" fmla="*/ 1846 h 5628"/>
                  <a:gd name="T48" fmla="*/ 989 w 16389"/>
                  <a:gd name="T49" fmla="*/ 1473 h 5628"/>
                  <a:gd name="T50" fmla="*/ 1628 w 16389"/>
                  <a:gd name="T51" fmla="*/ 1130 h 5628"/>
                  <a:gd name="T52" fmla="*/ 2400 w 16389"/>
                  <a:gd name="T53" fmla="*/ 824 h 5628"/>
                  <a:gd name="T54" fmla="*/ 3292 w 16389"/>
                  <a:gd name="T55" fmla="*/ 559 h 5628"/>
                  <a:gd name="T56" fmla="*/ 4289 w 16389"/>
                  <a:gd name="T57" fmla="*/ 339 h 5628"/>
                  <a:gd name="T58" fmla="*/ 5378 w 16389"/>
                  <a:gd name="T59" fmla="*/ 170 h 5628"/>
                  <a:gd name="T60" fmla="*/ 6543 w 16389"/>
                  <a:gd name="T61" fmla="*/ 57 h 5628"/>
                  <a:gd name="T62" fmla="*/ 7773 w 16389"/>
                  <a:gd name="T63" fmla="*/ 3 h 5628"/>
                  <a:gd name="T64" fmla="*/ 9032 w 16389"/>
                  <a:gd name="T65" fmla="*/ 14 h 5628"/>
                  <a:gd name="T66" fmla="*/ 10241 w 16389"/>
                  <a:gd name="T67" fmla="*/ 88 h 5628"/>
                  <a:gd name="T68" fmla="*/ 11383 w 16389"/>
                  <a:gd name="T69" fmla="*/ 220 h 5628"/>
                  <a:gd name="T70" fmla="*/ 12443 w 16389"/>
                  <a:gd name="T71" fmla="*/ 406 h 5628"/>
                  <a:gd name="T72" fmla="*/ 13407 w 16389"/>
                  <a:gd name="T73" fmla="*/ 642 h 5628"/>
                  <a:gd name="T74" fmla="*/ 14260 w 16389"/>
                  <a:gd name="T75" fmla="*/ 922 h 5628"/>
                  <a:gd name="T76" fmla="*/ 14990 w 16389"/>
                  <a:gd name="T77" fmla="*/ 1241 h 5628"/>
                  <a:gd name="T78" fmla="*/ 15581 w 16389"/>
                  <a:gd name="T79" fmla="*/ 1594 h 5628"/>
                  <a:gd name="T80" fmla="*/ 16022 w 16389"/>
                  <a:gd name="T81" fmla="*/ 1977 h 5628"/>
                  <a:gd name="T82" fmla="*/ 16296 w 16389"/>
                  <a:gd name="T83" fmla="*/ 2385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2"/>
                    </a:lnTo>
                    <a:lnTo>
                      <a:pt x="16224" y="3381"/>
                    </a:lnTo>
                    <a:lnTo>
                      <a:pt x="16132" y="3517"/>
                    </a:lnTo>
                    <a:lnTo>
                      <a:pt x="16022" y="3650"/>
                    </a:lnTo>
                    <a:lnTo>
                      <a:pt x="15893" y="3781"/>
                    </a:lnTo>
                    <a:lnTo>
                      <a:pt x="15745" y="3909"/>
                    </a:lnTo>
                    <a:lnTo>
                      <a:pt x="15581" y="4033"/>
                    </a:lnTo>
                    <a:lnTo>
                      <a:pt x="15400" y="4155"/>
                    </a:lnTo>
                    <a:lnTo>
                      <a:pt x="15203" y="4272"/>
                    </a:lnTo>
                    <a:lnTo>
                      <a:pt x="14990" y="4387"/>
                    </a:lnTo>
                    <a:lnTo>
                      <a:pt x="14761" y="4497"/>
                    </a:lnTo>
                    <a:lnTo>
                      <a:pt x="14518" y="4604"/>
                    </a:lnTo>
                    <a:lnTo>
                      <a:pt x="14260" y="4706"/>
                    </a:lnTo>
                    <a:lnTo>
                      <a:pt x="13989" y="4803"/>
                    </a:lnTo>
                    <a:lnTo>
                      <a:pt x="13704" y="4896"/>
                    </a:lnTo>
                    <a:lnTo>
                      <a:pt x="13407" y="4985"/>
                    </a:lnTo>
                    <a:lnTo>
                      <a:pt x="13096" y="5069"/>
                    </a:lnTo>
                    <a:lnTo>
                      <a:pt x="12776" y="5147"/>
                    </a:lnTo>
                    <a:lnTo>
                      <a:pt x="12443" y="5220"/>
                    </a:lnTo>
                    <a:lnTo>
                      <a:pt x="12100" y="5289"/>
                    </a:lnTo>
                    <a:lnTo>
                      <a:pt x="11746" y="5351"/>
                    </a:lnTo>
                    <a:lnTo>
                      <a:pt x="11383" y="5407"/>
                    </a:lnTo>
                    <a:lnTo>
                      <a:pt x="11011" y="5457"/>
                    </a:lnTo>
                    <a:lnTo>
                      <a:pt x="10631" y="5502"/>
                    </a:lnTo>
                    <a:lnTo>
                      <a:pt x="10241" y="5539"/>
                    </a:lnTo>
                    <a:lnTo>
                      <a:pt x="9846" y="5571"/>
                    </a:lnTo>
                    <a:lnTo>
                      <a:pt x="9442" y="5596"/>
                    </a:lnTo>
                    <a:lnTo>
                      <a:pt x="9032" y="5614"/>
                    </a:lnTo>
                    <a:lnTo>
                      <a:pt x="8616" y="5624"/>
                    </a:lnTo>
                    <a:lnTo>
                      <a:pt x="8195" y="5628"/>
                    </a:lnTo>
                    <a:lnTo>
                      <a:pt x="7773" y="5624"/>
                    </a:lnTo>
                    <a:lnTo>
                      <a:pt x="7357" y="5614"/>
                    </a:lnTo>
                    <a:lnTo>
                      <a:pt x="6947" y="5596"/>
                    </a:lnTo>
                    <a:lnTo>
                      <a:pt x="6543" y="5571"/>
                    </a:lnTo>
                    <a:lnTo>
                      <a:pt x="6148" y="5539"/>
                    </a:lnTo>
                    <a:lnTo>
                      <a:pt x="5758" y="5502"/>
                    </a:lnTo>
                    <a:lnTo>
                      <a:pt x="5378" y="5457"/>
                    </a:lnTo>
                    <a:lnTo>
                      <a:pt x="5006" y="5407"/>
                    </a:lnTo>
                    <a:lnTo>
                      <a:pt x="4643" y="5351"/>
                    </a:lnTo>
                    <a:lnTo>
                      <a:pt x="4289" y="5289"/>
                    </a:lnTo>
                    <a:lnTo>
                      <a:pt x="3946" y="5220"/>
                    </a:lnTo>
                    <a:lnTo>
                      <a:pt x="3613" y="5147"/>
                    </a:lnTo>
                    <a:lnTo>
                      <a:pt x="3292" y="5069"/>
                    </a:lnTo>
                    <a:lnTo>
                      <a:pt x="2982" y="4985"/>
                    </a:lnTo>
                    <a:lnTo>
                      <a:pt x="2685" y="4896"/>
                    </a:lnTo>
                    <a:lnTo>
                      <a:pt x="2400" y="4803"/>
                    </a:lnTo>
                    <a:lnTo>
                      <a:pt x="2129" y="4706"/>
                    </a:lnTo>
                    <a:lnTo>
                      <a:pt x="1871" y="4604"/>
                    </a:lnTo>
                    <a:lnTo>
                      <a:pt x="1628" y="4497"/>
                    </a:lnTo>
                    <a:lnTo>
                      <a:pt x="1399" y="4387"/>
                    </a:lnTo>
                    <a:lnTo>
                      <a:pt x="1186" y="4272"/>
                    </a:lnTo>
                    <a:lnTo>
                      <a:pt x="989" y="4155"/>
                    </a:lnTo>
                    <a:lnTo>
                      <a:pt x="808" y="4033"/>
                    </a:lnTo>
                    <a:lnTo>
                      <a:pt x="644" y="3909"/>
                    </a:lnTo>
                    <a:lnTo>
                      <a:pt x="496" y="3781"/>
                    </a:lnTo>
                    <a:lnTo>
                      <a:pt x="367" y="3650"/>
                    </a:lnTo>
                    <a:lnTo>
                      <a:pt x="257" y="3517"/>
                    </a:lnTo>
                    <a:lnTo>
                      <a:pt x="165" y="3381"/>
                    </a:lnTo>
                    <a:lnTo>
                      <a:pt x="93" y="3242"/>
                    </a:lnTo>
                    <a:lnTo>
                      <a:pt x="42" y="3102"/>
                    </a:lnTo>
                    <a:lnTo>
                      <a:pt x="10" y="2959"/>
                    </a:lnTo>
                    <a:lnTo>
                      <a:pt x="0" y="2814"/>
                    </a:lnTo>
                    <a:lnTo>
                      <a:pt x="10" y="2669"/>
                    </a:lnTo>
                    <a:lnTo>
                      <a:pt x="42" y="2526"/>
                    </a:lnTo>
                    <a:lnTo>
                      <a:pt x="93" y="2385"/>
                    </a:lnTo>
                    <a:lnTo>
                      <a:pt x="165" y="2247"/>
                    </a:lnTo>
                    <a:lnTo>
                      <a:pt x="257" y="2111"/>
                    </a:lnTo>
                    <a:lnTo>
                      <a:pt x="367" y="1977"/>
                    </a:lnTo>
                    <a:lnTo>
                      <a:pt x="496" y="1846"/>
                    </a:lnTo>
                    <a:lnTo>
                      <a:pt x="644" y="1719"/>
                    </a:lnTo>
                    <a:lnTo>
                      <a:pt x="808" y="1594"/>
                    </a:lnTo>
                    <a:lnTo>
                      <a:pt x="989" y="1473"/>
                    </a:lnTo>
                    <a:lnTo>
                      <a:pt x="1186" y="1355"/>
                    </a:lnTo>
                    <a:lnTo>
                      <a:pt x="1399" y="1241"/>
                    </a:lnTo>
                    <a:lnTo>
                      <a:pt x="1628" y="1130"/>
                    </a:lnTo>
                    <a:lnTo>
                      <a:pt x="1871" y="1023"/>
                    </a:lnTo>
                    <a:lnTo>
                      <a:pt x="2129" y="922"/>
                    </a:lnTo>
                    <a:lnTo>
                      <a:pt x="2400" y="824"/>
                    </a:lnTo>
                    <a:lnTo>
                      <a:pt x="2685" y="730"/>
                    </a:lnTo>
                    <a:lnTo>
                      <a:pt x="2982" y="642"/>
                    </a:lnTo>
                    <a:lnTo>
                      <a:pt x="3292" y="559"/>
                    </a:lnTo>
                    <a:lnTo>
                      <a:pt x="3613" y="480"/>
                    </a:lnTo>
                    <a:lnTo>
                      <a:pt x="3946" y="406"/>
                    </a:lnTo>
                    <a:lnTo>
                      <a:pt x="4289" y="339"/>
                    </a:lnTo>
                    <a:lnTo>
                      <a:pt x="4643" y="277"/>
                    </a:lnTo>
                    <a:lnTo>
                      <a:pt x="5006" y="220"/>
                    </a:lnTo>
                    <a:lnTo>
                      <a:pt x="5378" y="170"/>
                    </a:lnTo>
                    <a:lnTo>
                      <a:pt x="5758" y="126"/>
                    </a:lnTo>
                    <a:lnTo>
                      <a:pt x="6148" y="88"/>
                    </a:lnTo>
                    <a:lnTo>
                      <a:pt x="6543" y="57"/>
                    </a:lnTo>
                    <a:lnTo>
                      <a:pt x="6947" y="32"/>
                    </a:lnTo>
                    <a:lnTo>
                      <a:pt x="7357" y="14"/>
                    </a:lnTo>
                    <a:lnTo>
                      <a:pt x="7773" y="3"/>
                    </a:lnTo>
                    <a:lnTo>
                      <a:pt x="8195" y="0"/>
                    </a:lnTo>
                    <a:lnTo>
                      <a:pt x="8616" y="3"/>
                    </a:lnTo>
                    <a:lnTo>
                      <a:pt x="9032" y="14"/>
                    </a:lnTo>
                    <a:lnTo>
                      <a:pt x="9442" y="32"/>
                    </a:lnTo>
                    <a:lnTo>
                      <a:pt x="9846" y="57"/>
                    </a:lnTo>
                    <a:lnTo>
                      <a:pt x="10241" y="88"/>
                    </a:lnTo>
                    <a:lnTo>
                      <a:pt x="10631" y="126"/>
                    </a:lnTo>
                    <a:lnTo>
                      <a:pt x="11011" y="170"/>
                    </a:lnTo>
                    <a:lnTo>
                      <a:pt x="11383" y="220"/>
                    </a:lnTo>
                    <a:lnTo>
                      <a:pt x="11746" y="277"/>
                    </a:lnTo>
                    <a:lnTo>
                      <a:pt x="12100" y="339"/>
                    </a:lnTo>
                    <a:lnTo>
                      <a:pt x="12443" y="406"/>
                    </a:lnTo>
                    <a:lnTo>
                      <a:pt x="12776" y="480"/>
                    </a:lnTo>
                    <a:lnTo>
                      <a:pt x="13096" y="559"/>
                    </a:lnTo>
                    <a:lnTo>
                      <a:pt x="13407" y="642"/>
                    </a:lnTo>
                    <a:lnTo>
                      <a:pt x="13704" y="730"/>
                    </a:lnTo>
                    <a:lnTo>
                      <a:pt x="13989" y="824"/>
                    </a:lnTo>
                    <a:lnTo>
                      <a:pt x="14260" y="922"/>
                    </a:lnTo>
                    <a:lnTo>
                      <a:pt x="14518" y="1023"/>
                    </a:lnTo>
                    <a:lnTo>
                      <a:pt x="14761" y="1130"/>
                    </a:lnTo>
                    <a:lnTo>
                      <a:pt x="14990" y="1241"/>
                    </a:lnTo>
                    <a:lnTo>
                      <a:pt x="15203" y="1355"/>
                    </a:lnTo>
                    <a:lnTo>
                      <a:pt x="15400" y="1473"/>
                    </a:lnTo>
                    <a:lnTo>
                      <a:pt x="15581" y="1594"/>
                    </a:lnTo>
                    <a:lnTo>
                      <a:pt x="15745" y="1719"/>
                    </a:lnTo>
                    <a:lnTo>
                      <a:pt x="15893" y="1846"/>
                    </a:lnTo>
                    <a:lnTo>
                      <a:pt x="16022" y="1977"/>
                    </a:lnTo>
                    <a:lnTo>
                      <a:pt x="16132" y="2111"/>
                    </a:lnTo>
                    <a:lnTo>
                      <a:pt x="16224" y="2247"/>
                    </a:lnTo>
                    <a:lnTo>
                      <a:pt x="16296" y="2385"/>
                    </a:lnTo>
                    <a:lnTo>
                      <a:pt x="16347" y="2526"/>
                    </a:lnTo>
                    <a:lnTo>
                      <a:pt x="16379" y="2669"/>
                    </a:lnTo>
                    <a:lnTo>
                      <a:pt x="16389" y="2814"/>
                    </a:lnTo>
                    <a:close/>
                  </a:path>
                </a:pathLst>
              </a:custGeom>
              <a:solidFill>
                <a:srgbClr val="B8CAD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96" name="Freeform 47"/>
              <p:cNvSpPr>
                <a:spLocks/>
              </p:cNvSpPr>
              <p:nvPr>
                <p:custDataLst>
                  <p:tags r:id="rId239"/>
                </p:custDataLst>
              </p:nvPr>
            </p:nvSpPr>
            <p:spPr bwMode="auto">
              <a:xfrm>
                <a:off x="725" y="3469"/>
                <a:ext cx="361" cy="114"/>
              </a:xfrm>
              <a:custGeom>
                <a:avLst/>
                <a:gdLst>
                  <a:gd name="T0" fmla="*/ 472 w 8295"/>
                  <a:gd name="T1" fmla="*/ 2861 h 2864"/>
                  <a:gd name="T2" fmla="*/ 1300 w 8295"/>
                  <a:gd name="T3" fmla="*/ 2832 h 2864"/>
                  <a:gd name="T4" fmla="*/ 2102 w 8295"/>
                  <a:gd name="T5" fmla="*/ 2776 h 2864"/>
                  <a:gd name="T6" fmla="*/ 2873 w 8295"/>
                  <a:gd name="T7" fmla="*/ 2693 h 2864"/>
                  <a:gd name="T8" fmla="*/ 3609 w 8295"/>
                  <a:gd name="T9" fmla="*/ 2587 h 2864"/>
                  <a:gd name="T10" fmla="*/ 4308 w 8295"/>
                  <a:gd name="T11" fmla="*/ 2456 h 2864"/>
                  <a:gd name="T12" fmla="*/ 4964 w 8295"/>
                  <a:gd name="T13" fmla="*/ 2304 h 2864"/>
                  <a:gd name="T14" fmla="*/ 5426 w 8295"/>
                  <a:gd name="T15" fmla="*/ 2176 h 2864"/>
                  <a:gd name="T16" fmla="*/ 5718 w 8295"/>
                  <a:gd name="T17" fmla="*/ 2085 h 2864"/>
                  <a:gd name="T18" fmla="*/ 5998 w 8295"/>
                  <a:gd name="T19" fmla="*/ 1988 h 2864"/>
                  <a:gd name="T20" fmla="*/ 6264 w 8295"/>
                  <a:gd name="T21" fmla="*/ 1888 h 2864"/>
                  <a:gd name="T22" fmla="*/ 6516 w 8295"/>
                  <a:gd name="T23" fmla="*/ 1783 h 2864"/>
                  <a:gd name="T24" fmla="*/ 6754 w 8295"/>
                  <a:gd name="T25" fmla="*/ 1674 h 2864"/>
                  <a:gd name="T26" fmla="*/ 6977 w 8295"/>
                  <a:gd name="T27" fmla="*/ 1561 h 2864"/>
                  <a:gd name="T28" fmla="*/ 7184 w 8295"/>
                  <a:gd name="T29" fmla="*/ 1444 h 2864"/>
                  <a:gd name="T30" fmla="*/ 7376 w 8295"/>
                  <a:gd name="T31" fmla="*/ 1323 h 2864"/>
                  <a:gd name="T32" fmla="*/ 7551 w 8295"/>
                  <a:gd name="T33" fmla="*/ 1198 h 2864"/>
                  <a:gd name="T34" fmla="*/ 7709 w 8295"/>
                  <a:gd name="T35" fmla="*/ 1069 h 2864"/>
                  <a:gd name="T36" fmla="*/ 7850 w 8295"/>
                  <a:gd name="T37" fmla="*/ 938 h 2864"/>
                  <a:gd name="T38" fmla="*/ 7972 w 8295"/>
                  <a:gd name="T39" fmla="*/ 802 h 2864"/>
                  <a:gd name="T40" fmla="*/ 8076 w 8295"/>
                  <a:gd name="T41" fmla="*/ 663 h 2864"/>
                  <a:gd name="T42" fmla="*/ 8161 w 8295"/>
                  <a:gd name="T43" fmla="*/ 521 h 2864"/>
                  <a:gd name="T44" fmla="*/ 8226 w 8295"/>
                  <a:gd name="T45" fmla="*/ 376 h 2864"/>
                  <a:gd name="T46" fmla="*/ 8269 w 8295"/>
                  <a:gd name="T47" fmla="*/ 227 h 2864"/>
                  <a:gd name="T48" fmla="*/ 8292 w 8295"/>
                  <a:gd name="T49" fmla="*/ 76 h 2864"/>
                  <a:gd name="T50" fmla="*/ 8194 w 8295"/>
                  <a:gd name="T51" fmla="*/ 34 h 2864"/>
                  <a:gd name="T52" fmla="*/ 8180 w 8295"/>
                  <a:gd name="T53" fmla="*/ 172 h 2864"/>
                  <a:gd name="T54" fmla="*/ 8145 w 8295"/>
                  <a:gd name="T55" fmla="*/ 307 h 2864"/>
                  <a:gd name="T56" fmla="*/ 8089 w 8295"/>
                  <a:gd name="T57" fmla="*/ 441 h 2864"/>
                  <a:gd name="T58" fmla="*/ 8016 w 8295"/>
                  <a:gd name="T59" fmla="*/ 574 h 2864"/>
                  <a:gd name="T60" fmla="*/ 7922 w 8295"/>
                  <a:gd name="T61" fmla="*/ 706 h 2864"/>
                  <a:gd name="T62" fmla="*/ 7810 w 8295"/>
                  <a:gd name="T63" fmla="*/ 835 h 2864"/>
                  <a:gd name="T64" fmla="*/ 7679 w 8295"/>
                  <a:gd name="T65" fmla="*/ 963 h 2864"/>
                  <a:gd name="T66" fmla="*/ 7530 w 8295"/>
                  <a:gd name="T67" fmla="*/ 1087 h 2864"/>
                  <a:gd name="T68" fmla="*/ 7364 w 8295"/>
                  <a:gd name="T69" fmla="*/ 1209 h 2864"/>
                  <a:gd name="T70" fmla="*/ 7182 w 8295"/>
                  <a:gd name="T71" fmla="*/ 1328 h 2864"/>
                  <a:gd name="T72" fmla="*/ 6982 w 8295"/>
                  <a:gd name="T73" fmla="*/ 1444 h 2864"/>
                  <a:gd name="T74" fmla="*/ 6766 w 8295"/>
                  <a:gd name="T75" fmla="*/ 1556 h 2864"/>
                  <a:gd name="T76" fmla="*/ 6537 w 8295"/>
                  <a:gd name="T77" fmla="*/ 1664 h 2864"/>
                  <a:gd name="T78" fmla="*/ 6290 w 8295"/>
                  <a:gd name="T79" fmla="*/ 1769 h 2864"/>
                  <a:gd name="T80" fmla="*/ 6032 w 8295"/>
                  <a:gd name="T81" fmla="*/ 1869 h 2864"/>
                  <a:gd name="T82" fmla="*/ 5757 w 8295"/>
                  <a:gd name="T83" fmla="*/ 1965 h 2864"/>
                  <a:gd name="T84" fmla="*/ 5471 w 8295"/>
                  <a:gd name="T85" fmla="*/ 2058 h 2864"/>
                  <a:gd name="T86" fmla="*/ 5096 w 8295"/>
                  <a:gd name="T87" fmla="*/ 2165 h 2864"/>
                  <a:gd name="T88" fmla="*/ 4455 w 8295"/>
                  <a:gd name="T89" fmla="*/ 2322 h 2864"/>
                  <a:gd name="T90" fmla="*/ 3771 w 8295"/>
                  <a:gd name="T91" fmla="*/ 2457 h 2864"/>
                  <a:gd name="T92" fmla="*/ 3047 w 8295"/>
                  <a:gd name="T93" fmla="*/ 2569 h 2864"/>
                  <a:gd name="T94" fmla="*/ 2287 w 8295"/>
                  <a:gd name="T95" fmla="*/ 2658 h 2864"/>
                  <a:gd name="T96" fmla="*/ 1497 w 8295"/>
                  <a:gd name="T97" fmla="*/ 2720 h 2864"/>
                  <a:gd name="T98" fmla="*/ 678 w 8295"/>
                  <a:gd name="T99" fmla="*/ 2756 h 2864"/>
                  <a:gd name="T100" fmla="*/ 50 w 8295"/>
                  <a:gd name="T101" fmla="*/ 2764 h 2864"/>
                  <a:gd name="T102" fmla="*/ 33 w 8295"/>
                  <a:gd name="T103" fmla="*/ 2767 h 2864"/>
                  <a:gd name="T104" fmla="*/ 15 w 8295"/>
                  <a:gd name="T105" fmla="*/ 2776 h 2864"/>
                  <a:gd name="T106" fmla="*/ 0 w 8295"/>
                  <a:gd name="T107" fmla="*/ 2805 h 2864"/>
                  <a:gd name="T108" fmla="*/ 6 w 8295"/>
                  <a:gd name="T109" fmla="*/ 2841 h 2864"/>
                  <a:gd name="T110" fmla="*/ 23 w 8295"/>
                  <a:gd name="T111" fmla="*/ 2858 h 2864"/>
                  <a:gd name="T112" fmla="*/ 43 w 8295"/>
                  <a:gd name="T113" fmla="*/ 2864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4">
                    <a:moveTo>
                      <a:pt x="50" y="2864"/>
                    </a:moveTo>
                    <a:lnTo>
                      <a:pt x="50" y="2864"/>
                    </a:lnTo>
                    <a:lnTo>
                      <a:pt x="262" y="2864"/>
                    </a:lnTo>
                    <a:lnTo>
                      <a:pt x="472" y="2861"/>
                    </a:lnTo>
                    <a:lnTo>
                      <a:pt x="681" y="2856"/>
                    </a:lnTo>
                    <a:lnTo>
                      <a:pt x="888" y="2849"/>
                    </a:lnTo>
                    <a:lnTo>
                      <a:pt x="1095" y="2841"/>
                    </a:lnTo>
                    <a:lnTo>
                      <a:pt x="1300" y="2832"/>
                    </a:lnTo>
                    <a:lnTo>
                      <a:pt x="1503" y="2820"/>
                    </a:lnTo>
                    <a:lnTo>
                      <a:pt x="1704" y="2807"/>
                    </a:lnTo>
                    <a:lnTo>
                      <a:pt x="1904" y="2792"/>
                    </a:lnTo>
                    <a:lnTo>
                      <a:pt x="2102" y="2776"/>
                    </a:lnTo>
                    <a:lnTo>
                      <a:pt x="2296" y="2757"/>
                    </a:lnTo>
                    <a:lnTo>
                      <a:pt x="2491" y="2738"/>
                    </a:lnTo>
                    <a:lnTo>
                      <a:pt x="2683" y="2716"/>
                    </a:lnTo>
                    <a:lnTo>
                      <a:pt x="2873" y="2693"/>
                    </a:lnTo>
                    <a:lnTo>
                      <a:pt x="3060" y="2668"/>
                    </a:lnTo>
                    <a:lnTo>
                      <a:pt x="3246" y="2642"/>
                    </a:lnTo>
                    <a:lnTo>
                      <a:pt x="3429" y="2615"/>
                    </a:lnTo>
                    <a:lnTo>
                      <a:pt x="3609" y="2587"/>
                    </a:lnTo>
                    <a:lnTo>
                      <a:pt x="3788" y="2555"/>
                    </a:lnTo>
                    <a:lnTo>
                      <a:pt x="3964" y="2523"/>
                    </a:lnTo>
                    <a:lnTo>
                      <a:pt x="4137" y="2490"/>
                    </a:lnTo>
                    <a:lnTo>
                      <a:pt x="4308" y="2456"/>
                    </a:lnTo>
                    <a:lnTo>
                      <a:pt x="4476" y="2420"/>
                    </a:lnTo>
                    <a:lnTo>
                      <a:pt x="4642" y="2383"/>
                    </a:lnTo>
                    <a:lnTo>
                      <a:pt x="4804" y="2343"/>
                    </a:lnTo>
                    <a:lnTo>
                      <a:pt x="4964" y="2304"/>
                    </a:lnTo>
                    <a:lnTo>
                      <a:pt x="5122" y="2263"/>
                    </a:lnTo>
                    <a:lnTo>
                      <a:pt x="5275" y="2219"/>
                    </a:lnTo>
                    <a:lnTo>
                      <a:pt x="5351" y="2197"/>
                    </a:lnTo>
                    <a:lnTo>
                      <a:pt x="5426" y="2176"/>
                    </a:lnTo>
                    <a:lnTo>
                      <a:pt x="5500" y="2153"/>
                    </a:lnTo>
                    <a:lnTo>
                      <a:pt x="5574" y="2131"/>
                    </a:lnTo>
                    <a:lnTo>
                      <a:pt x="5646" y="2107"/>
                    </a:lnTo>
                    <a:lnTo>
                      <a:pt x="5718" y="2085"/>
                    </a:lnTo>
                    <a:lnTo>
                      <a:pt x="5789" y="2061"/>
                    </a:lnTo>
                    <a:lnTo>
                      <a:pt x="5859" y="2037"/>
                    </a:lnTo>
                    <a:lnTo>
                      <a:pt x="5930" y="2013"/>
                    </a:lnTo>
                    <a:lnTo>
                      <a:pt x="5998" y="1988"/>
                    </a:lnTo>
                    <a:lnTo>
                      <a:pt x="6066" y="1963"/>
                    </a:lnTo>
                    <a:lnTo>
                      <a:pt x="6133" y="1939"/>
                    </a:lnTo>
                    <a:lnTo>
                      <a:pt x="6199" y="1914"/>
                    </a:lnTo>
                    <a:lnTo>
                      <a:pt x="6264" y="1888"/>
                    </a:lnTo>
                    <a:lnTo>
                      <a:pt x="6328" y="1862"/>
                    </a:lnTo>
                    <a:lnTo>
                      <a:pt x="6391" y="1836"/>
                    </a:lnTo>
                    <a:lnTo>
                      <a:pt x="6454" y="1809"/>
                    </a:lnTo>
                    <a:lnTo>
                      <a:pt x="6516" y="1783"/>
                    </a:lnTo>
                    <a:lnTo>
                      <a:pt x="6577" y="1756"/>
                    </a:lnTo>
                    <a:lnTo>
                      <a:pt x="6637" y="1728"/>
                    </a:lnTo>
                    <a:lnTo>
                      <a:pt x="6695" y="1702"/>
                    </a:lnTo>
                    <a:lnTo>
                      <a:pt x="6754" y="1674"/>
                    </a:lnTo>
                    <a:lnTo>
                      <a:pt x="6811" y="1646"/>
                    </a:lnTo>
                    <a:lnTo>
                      <a:pt x="6867" y="1618"/>
                    </a:lnTo>
                    <a:lnTo>
                      <a:pt x="6922" y="1590"/>
                    </a:lnTo>
                    <a:lnTo>
                      <a:pt x="6977" y="1561"/>
                    </a:lnTo>
                    <a:lnTo>
                      <a:pt x="7030" y="1532"/>
                    </a:lnTo>
                    <a:lnTo>
                      <a:pt x="7082" y="1503"/>
                    </a:lnTo>
                    <a:lnTo>
                      <a:pt x="7133" y="1473"/>
                    </a:lnTo>
                    <a:lnTo>
                      <a:pt x="7184" y="1444"/>
                    </a:lnTo>
                    <a:lnTo>
                      <a:pt x="7233" y="1414"/>
                    </a:lnTo>
                    <a:lnTo>
                      <a:pt x="7282" y="1384"/>
                    </a:lnTo>
                    <a:lnTo>
                      <a:pt x="7329" y="1353"/>
                    </a:lnTo>
                    <a:lnTo>
                      <a:pt x="7376" y="1323"/>
                    </a:lnTo>
                    <a:lnTo>
                      <a:pt x="7421" y="1292"/>
                    </a:lnTo>
                    <a:lnTo>
                      <a:pt x="7465" y="1261"/>
                    </a:lnTo>
                    <a:lnTo>
                      <a:pt x="7509" y="1230"/>
                    </a:lnTo>
                    <a:lnTo>
                      <a:pt x="7551" y="1198"/>
                    </a:lnTo>
                    <a:lnTo>
                      <a:pt x="7592" y="1165"/>
                    </a:lnTo>
                    <a:lnTo>
                      <a:pt x="7632" y="1134"/>
                    </a:lnTo>
                    <a:lnTo>
                      <a:pt x="7670" y="1102"/>
                    </a:lnTo>
                    <a:lnTo>
                      <a:pt x="7709" y="1069"/>
                    </a:lnTo>
                    <a:lnTo>
                      <a:pt x="7746" y="1037"/>
                    </a:lnTo>
                    <a:lnTo>
                      <a:pt x="7782" y="1004"/>
                    </a:lnTo>
                    <a:lnTo>
                      <a:pt x="7816" y="971"/>
                    </a:lnTo>
                    <a:lnTo>
                      <a:pt x="7850" y="938"/>
                    </a:lnTo>
                    <a:lnTo>
                      <a:pt x="7882" y="904"/>
                    </a:lnTo>
                    <a:lnTo>
                      <a:pt x="7914" y="870"/>
                    </a:lnTo>
                    <a:lnTo>
                      <a:pt x="7944" y="836"/>
                    </a:lnTo>
                    <a:lnTo>
                      <a:pt x="7972" y="802"/>
                    </a:lnTo>
                    <a:lnTo>
                      <a:pt x="8000" y="768"/>
                    </a:lnTo>
                    <a:lnTo>
                      <a:pt x="8027" y="733"/>
                    </a:lnTo>
                    <a:lnTo>
                      <a:pt x="8052" y="699"/>
                    </a:lnTo>
                    <a:lnTo>
                      <a:pt x="8076" y="663"/>
                    </a:lnTo>
                    <a:lnTo>
                      <a:pt x="8099" y="628"/>
                    </a:lnTo>
                    <a:lnTo>
                      <a:pt x="8121" y="592"/>
                    </a:lnTo>
                    <a:lnTo>
                      <a:pt x="8141" y="557"/>
                    </a:lnTo>
                    <a:lnTo>
                      <a:pt x="8161" y="521"/>
                    </a:lnTo>
                    <a:lnTo>
                      <a:pt x="8180" y="484"/>
                    </a:lnTo>
                    <a:lnTo>
                      <a:pt x="8196" y="448"/>
                    </a:lnTo>
                    <a:lnTo>
                      <a:pt x="8212" y="412"/>
                    </a:lnTo>
                    <a:lnTo>
                      <a:pt x="8226" y="376"/>
                    </a:lnTo>
                    <a:lnTo>
                      <a:pt x="8238" y="338"/>
                    </a:lnTo>
                    <a:lnTo>
                      <a:pt x="8251" y="301"/>
                    </a:lnTo>
                    <a:lnTo>
                      <a:pt x="8261" y="265"/>
                    </a:lnTo>
                    <a:lnTo>
                      <a:pt x="8269" y="227"/>
                    </a:lnTo>
                    <a:lnTo>
                      <a:pt x="8277" y="189"/>
                    </a:lnTo>
                    <a:lnTo>
                      <a:pt x="8284" y="152"/>
                    </a:lnTo>
                    <a:lnTo>
                      <a:pt x="8289" y="114"/>
                    </a:lnTo>
                    <a:lnTo>
                      <a:pt x="8292" y="76"/>
                    </a:lnTo>
                    <a:lnTo>
                      <a:pt x="8294" y="38"/>
                    </a:lnTo>
                    <a:lnTo>
                      <a:pt x="8295" y="0"/>
                    </a:lnTo>
                    <a:lnTo>
                      <a:pt x="8195" y="0"/>
                    </a:lnTo>
                    <a:lnTo>
                      <a:pt x="8194" y="34"/>
                    </a:lnTo>
                    <a:lnTo>
                      <a:pt x="8192" y="69"/>
                    </a:lnTo>
                    <a:lnTo>
                      <a:pt x="8189" y="103"/>
                    </a:lnTo>
                    <a:lnTo>
                      <a:pt x="8185" y="138"/>
                    </a:lnTo>
                    <a:lnTo>
                      <a:pt x="8180" y="172"/>
                    </a:lnTo>
                    <a:lnTo>
                      <a:pt x="8172" y="205"/>
                    </a:lnTo>
                    <a:lnTo>
                      <a:pt x="8164" y="239"/>
                    </a:lnTo>
                    <a:lnTo>
                      <a:pt x="8155" y="273"/>
                    </a:lnTo>
                    <a:lnTo>
                      <a:pt x="8145" y="307"/>
                    </a:lnTo>
                    <a:lnTo>
                      <a:pt x="8132" y="340"/>
                    </a:lnTo>
                    <a:lnTo>
                      <a:pt x="8119" y="375"/>
                    </a:lnTo>
                    <a:lnTo>
                      <a:pt x="8105" y="408"/>
                    </a:lnTo>
                    <a:lnTo>
                      <a:pt x="8089" y="441"/>
                    </a:lnTo>
                    <a:lnTo>
                      <a:pt x="8072" y="475"/>
                    </a:lnTo>
                    <a:lnTo>
                      <a:pt x="8055" y="508"/>
                    </a:lnTo>
                    <a:lnTo>
                      <a:pt x="8035" y="541"/>
                    </a:lnTo>
                    <a:lnTo>
                      <a:pt x="8016" y="574"/>
                    </a:lnTo>
                    <a:lnTo>
                      <a:pt x="7993" y="608"/>
                    </a:lnTo>
                    <a:lnTo>
                      <a:pt x="7970" y="640"/>
                    </a:lnTo>
                    <a:lnTo>
                      <a:pt x="7947" y="673"/>
                    </a:lnTo>
                    <a:lnTo>
                      <a:pt x="7922" y="706"/>
                    </a:lnTo>
                    <a:lnTo>
                      <a:pt x="7895" y="738"/>
                    </a:lnTo>
                    <a:lnTo>
                      <a:pt x="7868" y="770"/>
                    </a:lnTo>
                    <a:lnTo>
                      <a:pt x="7839" y="803"/>
                    </a:lnTo>
                    <a:lnTo>
                      <a:pt x="7810" y="835"/>
                    </a:lnTo>
                    <a:lnTo>
                      <a:pt x="7779" y="867"/>
                    </a:lnTo>
                    <a:lnTo>
                      <a:pt x="7747" y="898"/>
                    </a:lnTo>
                    <a:lnTo>
                      <a:pt x="7714" y="930"/>
                    </a:lnTo>
                    <a:lnTo>
                      <a:pt x="7679" y="963"/>
                    </a:lnTo>
                    <a:lnTo>
                      <a:pt x="7644" y="994"/>
                    </a:lnTo>
                    <a:lnTo>
                      <a:pt x="7607" y="1025"/>
                    </a:lnTo>
                    <a:lnTo>
                      <a:pt x="7569" y="1056"/>
                    </a:lnTo>
                    <a:lnTo>
                      <a:pt x="7530" y="1087"/>
                    </a:lnTo>
                    <a:lnTo>
                      <a:pt x="7490" y="1118"/>
                    </a:lnTo>
                    <a:lnTo>
                      <a:pt x="7450" y="1148"/>
                    </a:lnTo>
                    <a:lnTo>
                      <a:pt x="7408" y="1179"/>
                    </a:lnTo>
                    <a:lnTo>
                      <a:pt x="7364" y="1209"/>
                    </a:lnTo>
                    <a:lnTo>
                      <a:pt x="7320" y="1239"/>
                    </a:lnTo>
                    <a:lnTo>
                      <a:pt x="7275" y="1269"/>
                    </a:lnTo>
                    <a:lnTo>
                      <a:pt x="7228" y="1299"/>
                    </a:lnTo>
                    <a:lnTo>
                      <a:pt x="7182" y="1328"/>
                    </a:lnTo>
                    <a:lnTo>
                      <a:pt x="7133" y="1357"/>
                    </a:lnTo>
                    <a:lnTo>
                      <a:pt x="7084" y="1386"/>
                    </a:lnTo>
                    <a:lnTo>
                      <a:pt x="7033" y="1415"/>
                    </a:lnTo>
                    <a:lnTo>
                      <a:pt x="6982" y="1444"/>
                    </a:lnTo>
                    <a:lnTo>
                      <a:pt x="6929" y="1472"/>
                    </a:lnTo>
                    <a:lnTo>
                      <a:pt x="6877" y="1501"/>
                    </a:lnTo>
                    <a:lnTo>
                      <a:pt x="6822" y="1529"/>
                    </a:lnTo>
                    <a:lnTo>
                      <a:pt x="6766" y="1556"/>
                    </a:lnTo>
                    <a:lnTo>
                      <a:pt x="6711" y="1584"/>
                    </a:lnTo>
                    <a:lnTo>
                      <a:pt x="6653" y="1610"/>
                    </a:lnTo>
                    <a:lnTo>
                      <a:pt x="6595" y="1637"/>
                    </a:lnTo>
                    <a:lnTo>
                      <a:pt x="6537" y="1664"/>
                    </a:lnTo>
                    <a:lnTo>
                      <a:pt x="6476" y="1691"/>
                    </a:lnTo>
                    <a:lnTo>
                      <a:pt x="6415" y="1717"/>
                    </a:lnTo>
                    <a:lnTo>
                      <a:pt x="6354" y="1743"/>
                    </a:lnTo>
                    <a:lnTo>
                      <a:pt x="6290" y="1769"/>
                    </a:lnTo>
                    <a:lnTo>
                      <a:pt x="6227" y="1795"/>
                    </a:lnTo>
                    <a:lnTo>
                      <a:pt x="6163" y="1820"/>
                    </a:lnTo>
                    <a:lnTo>
                      <a:pt x="6098" y="1845"/>
                    </a:lnTo>
                    <a:lnTo>
                      <a:pt x="6032" y="1869"/>
                    </a:lnTo>
                    <a:lnTo>
                      <a:pt x="5965" y="1894"/>
                    </a:lnTo>
                    <a:lnTo>
                      <a:pt x="5897" y="1918"/>
                    </a:lnTo>
                    <a:lnTo>
                      <a:pt x="5828" y="1942"/>
                    </a:lnTo>
                    <a:lnTo>
                      <a:pt x="5757" y="1965"/>
                    </a:lnTo>
                    <a:lnTo>
                      <a:pt x="5687" y="1989"/>
                    </a:lnTo>
                    <a:lnTo>
                      <a:pt x="5616" y="2012"/>
                    </a:lnTo>
                    <a:lnTo>
                      <a:pt x="5544" y="2035"/>
                    </a:lnTo>
                    <a:lnTo>
                      <a:pt x="5471" y="2058"/>
                    </a:lnTo>
                    <a:lnTo>
                      <a:pt x="5398" y="2079"/>
                    </a:lnTo>
                    <a:lnTo>
                      <a:pt x="5324" y="2101"/>
                    </a:lnTo>
                    <a:lnTo>
                      <a:pt x="5248" y="2123"/>
                    </a:lnTo>
                    <a:lnTo>
                      <a:pt x="5096" y="2165"/>
                    </a:lnTo>
                    <a:lnTo>
                      <a:pt x="4940" y="2207"/>
                    </a:lnTo>
                    <a:lnTo>
                      <a:pt x="4781" y="2246"/>
                    </a:lnTo>
                    <a:lnTo>
                      <a:pt x="4620" y="2284"/>
                    </a:lnTo>
                    <a:lnTo>
                      <a:pt x="4455" y="2322"/>
                    </a:lnTo>
                    <a:lnTo>
                      <a:pt x="4288" y="2358"/>
                    </a:lnTo>
                    <a:lnTo>
                      <a:pt x="4119" y="2392"/>
                    </a:lnTo>
                    <a:lnTo>
                      <a:pt x="3945" y="2425"/>
                    </a:lnTo>
                    <a:lnTo>
                      <a:pt x="3771" y="2457"/>
                    </a:lnTo>
                    <a:lnTo>
                      <a:pt x="3593" y="2487"/>
                    </a:lnTo>
                    <a:lnTo>
                      <a:pt x="3414" y="2516"/>
                    </a:lnTo>
                    <a:lnTo>
                      <a:pt x="3231" y="2543"/>
                    </a:lnTo>
                    <a:lnTo>
                      <a:pt x="3047" y="2569"/>
                    </a:lnTo>
                    <a:lnTo>
                      <a:pt x="2860" y="2594"/>
                    </a:lnTo>
                    <a:lnTo>
                      <a:pt x="2672" y="2617"/>
                    </a:lnTo>
                    <a:lnTo>
                      <a:pt x="2481" y="2637"/>
                    </a:lnTo>
                    <a:lnTo>
                      <a:pt x="2287" y="2658"/>
                    </a:lnTo>
                    <a:lnTo>
                      <a:pt x="2092" y="2676"/>
                    </a:lnTo>
                    <a:lnTo>
                      <a:pt x="1895" y="2692"/>
                    </a:lnTo>
                    <a:lnTo>
                      <a:pt x="1698" y="2707"/>
                    </a:lnTo>
                    <a:lnTo>
                      <a:pt x="1497" y="2720"/>
                    </a:lnTo>
                    <a:lnTo>
                      <a:pt x="1295" y="2731"/>
                    </a:lnTo>
                    <a:lnTo>
                      <a:pt x="1090" y="2742"/>
                    </a:lnTo>
                    <a:lnTo>
                      <a:pt x="885" y="2750"/>
                    </a:lnTo>
                    <a:lnTo>
                      <a:pt x="678" y="2756"/>
                    </a:lnTo>
                    <a:lnTo>
                      <a:pt x="470" y="2760"/>
                    </a:lnTo>
                    <a:lnTo>
                      <a:pt x="261" y="2762"/>
                    </a:lnTo>
                    <a:lnTo>
                      <a:pt x="50" y="2764"/>
                    </a:lnTo>
                    <a:lnTo>
                      <a:pt x="50" y="2764"/>
                    </a:lnTo>
                    <a:lnTo>
                      <a:pt x="50" y="2764"/>
                    </a:lnTo>
                    <a:lnTo>
                      <a:pt x="43" y="2765"/>
                    </a:lnTo>
                    <a:lnTo>
                      <a:pt x="38" y="2765"/>
                    </a:lnTo>
                    <a:lnTo>
                      <a:pt x="33" y="2767"/>
                    </a:lnTo>
                    <a:lnTo>
                      <a:pt x="28" y="2769"/>
                    </a:lnTo>
                    <a:lnTo>
                      <a:pt x="23" y="2771"/>
                    </a:lnTo>
                    <a:lnTo>
                      <a:pt x="19" y="2773"/>
                    </a:lnTo>
                    <a:lnTo>
                      <a:pt x="15" y="2776"/>
                    </a:lnTo>
                    <a:lnTo>
                      <a:pt x="12" y="2780"/>
                    </a:lnTo>
                    <a:lnTo>
                      <a:pt x="6" y="2787"/>
                    </a:lnTo>
                    <a:lnTo>
                      <a:pt x="3" y="2796"/>
                    </a:lnTo>
                    <a:lnTo>
                      <a:pt x="0" y="2805"/>
                    </a:lnTo>
                    <a:lnTo>
                      <a:pt x="0" y="2814"/>
                    </a:lnTo>
                    <a:lnTo>
                      <a:pt x="0" y="2824"/>
                    </a:lnTo>
                    <a:lnTo>
                      <a:pt x="3" y="2833"/>
                    </a:lnTo>
                    <a:lnTo>
                      <a:pt x="6" y="2841"/>
                    </a:lnTo>
                    <a:lnTo>
                      <a:pt x="12" y="2848"/>
                    </a:lnTo>
                    <a:lnTo>
                      <a:pt x="15" y="2853"/>
                    </a:lnTo>
                    <a:lnTo>
                      <a:pt x="19" y="2856"/>
                    </a:lnTo>
                    <a:lnTo>
                      <a:pt x="23" y="2858"/>
                    </a:lnTo>
                    <a:lnTo>
                      <a:pt x="28" y="2860"/>
                    </a:lnTo>
                    <a:lnTo>
                      <a:pt x="33" y="2862"/>
                    </a:lnTo>
                    <a:lnTo>
                      <a:pt x="38" y="2863"/>
                    </a:lnTo>
                    <a:lnTo>
                      <a:pt x="43" y="2864"/>
                    </a:lnTo>
                    <a:lnTo>
                      <a:pt x="50"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97" name="Freeform 48"/>
              <p:cNvSpPr>
                <a:spLocks/>
              </p:cNvSpPr>
              <p:nvPr>
                <p:custDataLst>
                  <p:tags r:id="rId240"/>
                </p:custDataLst>
              </p:nvPr>
            </p:nvSpPr>
            <p:spPr bwMode="auto">
              <a:xfrm>
                <a:off x="369" y="3467"/>
                <a:ext cx="359" cy="116"/>
              </a:xfrm>
              <a:custGeom>
                <a:avLst/>
                <a:gdLst>
                  <a:gd name="T0" fmla="*/ 3 w 8246"/>
                  <a:gd name="T1" fmla="*/ 127 h 2915"/>
                  <a:gd name="T2" fmla="*/ 25 w 8246"/>
                  <a:gd name="T3" fmla="*/ 278 h 2915"/>
                  <a:gd name="T4" fmla="*/ 69 w 8246"/>
                  <a:gd name="T5" fmla="*/ 427 h 2915"/>
                  <a:gd name="T6" fmla="*/ 134 w 8246"/>
                  <a:gd name="T7" fmla="*/ 572 h 2915"/>
                  <a:gd name="T8" fmla="*/ 219 w 8246"/>
                  <a:gd name="T9" fmla="*/ 714 h 2915"/>
                  <a:gd name="T10" fmla="*/ 323 w 8246"/>
                  <a:gd name="T11" fmla="*/ 853 h 2915"/>
                  <a:gd name="T12" fmla="*/ 445 w 8246"/>
                  <a:gd name="T13" fmla="*/ 989 h 2915"/>
                  <a:gd name="T14" fmla="*/ 586 w 8246"/>
                  <a:gd name="T15" fmla="*/ 1120 h 2915"/>
                  <a:gd name="T16" fmla="*/ 744 w 8246"/>
                  <a:gd name="T17" fmla="*/ 1249 h 2915"/>
                  <a:gd name="T18" fmla="*/ 919 w 8246"/>
                  <a:gd name="T19" fmla="*/ 1374 h 2915"/>
                  <a:gd name="T20" fmla="*/ 1111 w 8246"/>
                  <a:gd name="T21" fmla="*/ 1495 h 2915"/>
                  <a:gd name="T22" fmla="*/ 1318 w 8246"/>
                  <a:gd name="T23" fmla="*/ 1612 h 2915"/>
                  <a:gd name="T24" fmla="*/ 1541 w 8246"/>
                  <a:gd name="T25" fmla="*/ 1725 h 2915"/>
                  <a:gd name="T26" fmla="*/ 1779 w 8246"/>
                  <a:gd name="T27" fmla="*/ 1834 h 2915"/>
                  <a:gd name="T28" fmla="*/ 2030 w 8246"/>
                  <a:gd name="T29" fmla="*/ 1939 h 2915"/>
                  <a:gd name="T30" fmla="*/ 2297 w 8246"/>
                  <a:gd name="T31" fmla="*/ 2039 h 2915"/>
                  <a:gd name="T32" fmla="*/ 2577 w 8246"/>
                  <a:gd name="T33" fmla="*/ 2136 h 2915"/>
                  <a:gd name="T34" fmla="*/ 2869 w 8246"/>
                  <a:gd name="T35" fmla="*/ 2227 h 2915"/>
                  <a:gd name="T36" fmla="*/ 3331 w 8246"/>
                  <a:gd name="T37" fmla="*/ 2355 h 2915"/>
                  <a:gd name="T38" fmla="*/ 3987 w 8246"/>
                  <a:gd name="T39" fmla="*/ 2507 h 2915"/>
                  <a:gd name="T40" fmla="*/ 4686 w 8246"/>
                  <a:gd name="T41" fmla="*/ 2638 h 2915"/>
                  <a:gd name="T42" fmla="*/ 5422 w 8246"/>
                  <a:gd name="T43" fmla="*/ 2744 h 2915"/>
                  <a:gd name="T44" fmla="*/ 6193 w 8246"/>
                  <a:gd name="T45" fmla="*/ 2827 h 2915"/>
                  <a:gd name="T46" fmla="*/ 6995 w 8246"/>
                  <a:gd name="T47" fmla="*/ 2883 h 2915"/>
                  <a:gd name="T48" fmla="*/ 7823 w 8246"/>
                  <a:gd name="T49" fmla="*/ 2912 h 2915"/>
                  <a:gd name="T50" fmla="*/ 8034 w 8246"/>
                  <a:gd name="T51" fmla="*/ 2813 h 2915"/>
                  <a:gd name="T52" fmla="*/ 7205 w 8246"/>
                  <a:gd name="T53" fmla="*/ 2793 h 2915"/>
                  <a:gd name="T54" fmla="*/ 6400 w 8246"/>
                  <a:gd name="T55" fmla="*/ 2743 h 2915"/>
                  <a:gd name="T56" fmla="*/ 5623 w 8246"/>
                  <a:gd name="T57" fmla="*/ 2668 h 2915"/>
                  <a:gd name="T58" fmla="*/ 4881 w 8246"/>
                  <a:gd name="T59" fmla="*/ 2567 h 2915"/>
                  <a:gd name="T60" fmla="*/ 4176 w 8246"/>
                  <a:gd name="T61" fmla="*/ 2443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1 h 2915"/>
                  <a:gd name="T76" fmla="*/ 1418 w 8246"/>
                  <a:gd name="T77" fmla="*/ 1552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9 h 2915"/>
                  <a:gd name="T94" fmla="*/ 175 w 8246"/>
                  <a:gd name="T95" fmla="*/ 426 h 2915"/>
                  <a:gd name="T96" fmla="*/ 131 w 8246"/>
                  <a:gd name="T97" fmla="*/ 290 h 2915"/>
                  <a:gd name="T98" fmla="*/ 106 w 8246"/>
                  <a:gd name="T99" fmla="*/ 154 h 2915"/>
                  <a:gd name="T100" fmla="*/ 100 w 8246"/>
                  <a:gd name="T101" fmla="*/ 51 h 2915"/>
                  <a:gd name="T102" fmla="*/ 98 w 8246"/>
                  <a:gd name="T103" fmla="*/ 33 h 2915"/>
                  <a:gd name="T104" fmla="*/ 88 w 8246"/>
                  <a:gd name="T105" fmla="*/ 17 h 2915"/>
                  <a:gd name="T106" fmla="*/ 60 w 8246"/>
                  <a:gd name="T107" fmla="*/ 1 h 2915"/>
                  <a:gd name="T108" fmla="*/ 23 w 8246"/>
                  <a:gd name="T109" fmla="*/ 7 h 2915"/>
                  <a:gd name="T110" fmla="*/ 6 w 8246"/>
                  <a:gd name="T111" fmla="*/ 24 h 2915"/>
                  <a:gd name="T112" fmla="*/ 0 w 8246"/>
                  <a:gd name="T113" fmla="*/ 45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1"/>
                    </a:moveTo>
                    <a:lnTo>
                      <a:pt x="0" y="51"/>
                    </a:lnTo>
                    <a:lnTo>
                      <a:pt x="1" y="89"/>
                    </a:lnTo>
                    <a:lnTo>
                      <a:pt x="3" y="127"/>
                    </a:lnTo>
                    <a:lnTo>
                      <a:pt x="6" y="165"/>
                    </a:lnTo>
                    <a:lnTo>
                      <a:pt x="11" y="203"/>
                    </a:lnTo>
                    <a:lnTo>
                      <a:pt x="18" y="240"/>
                    </a:lnTo>
                    <a:lnTo>
                      <a:pt x="25" y="278"/>
                    </a:lnTo>
                    <a:lnTo>
                      <a:pt x="34" y="316"/>
                    </a:lnTo>
                    <a:lnTo>
                      <a:pt x="44" y="352"/>
                    </a:lnTo>
                    <a:lnTo>
                      <a:pt x="56" y="389"/>
                    </a:lnTo>
                    <a:lnTo>
                      <a:pt x="69" y="427"/>
                    </a:lnTo>
                    <a:lnTo>
                      <a:pt x="83" y="463"/>
                    </a:lnTo>
                    <a:lnTo>
                      <a:pt x="99" y="499"/>
                    </a:lnTo>
                    <a:lnTo>
                      <a:pt x="115" y="535"/>
                    </a:lnTo>
                    <a:lnTo>
                      <a:pt x="134" y="572"/>
                    </a:lnTo>
                    <a:lnTo>
                      <a:pt x="154" y="608"/>
                    </a:lnTo>
                    <a:lnTo>
                      <a:pt x="174" y="643"/>
                    </a:lnTo>
                    <a:lnTo>
                      <a:pt x="196" y="679"/>
                    </a:lnTo>
                    <a:lnTo>
                      <a:pt x="219" y="714"/>
                    </a:lnTo>
                    <a:lnTo>
                      <a:pt x="243" y="750"/>
                    </a:lnTo>
                    <a:lnTo>
                      <a:pt x="268" y="784"/>
                    </a:lnTo>
                    <a:lnTo>
                      <a:pt x="295" y="819"/>
                    </a:lnTo>
                    <a:lnTo>
                      <a:pt x="323" y="853"/>
                    </a:lnTo>
                    <a:lnTo>
                      <a:pt x="351" y="887"/>
                    </a:lnTo>
                    <a:lnTo>
                      <a:pt x="381" y="921"/>
                    </a:lnTo>
                    <a:lnTo>
                      <a:pt x="413" y="955"/>
                    </a:lnTo>
                    <a:lnTo>
                      <a:pt x="445" y="989"/>
                    </a:lnTo>
                    <a:lnTo>
                      <a:pt x="479" y="1022"/>
                    </a:lnTo>
                    <a:lnTo>
                      <a:pt x="513" y="1055"/>
                    </a:lnTo>
                    <a:lnTo>
                      <a:pt x="549" y="1088"/>
                    </a:lnTo>
                    <a:lnTo>
                      <a:pt x="586" y="1120"/>
                    </a:lnTo>
                    <a:lnTo>
                      <a:pt x="624" y="1153"/>
                    </a:lnTo>
                    <a:lnTo>
                      <a:pt x="663" y="1185"/>
                    </a:lnTo>
                    <a:lnTo>
                      <a:pt x="703" y="1216"/>
                    </a:lnTo>
                    <a:lnTo>
                      <a:pt x="744" y="1249"/>
                    </a:lnTo>
                    <a:lnTo>
                      <a:pt x="786" y="1281"/>
                    </a:lnTo>
                    <a:lnTo>
                      <a:pt x="830" y="1312"/>
                    </a:lnTo>
                    <a:lnTo>
                      <a:pt x="874" y="1343"/>
                    </a:lnTo>
                    <a:lnTo>
                      <a:pt x="919" y="1374"/>
                    </a:lnTo>
                    <a:lnTo>
                      <a:pt x="966" y="1404"/>
                    </a:lnTo>
                    <a:lnTo>
                      <a:pt x="1013" y="1435"/>
                    </a:lnTo>
                    <a:lnTo>
                      <a:pt x="1062" y="1465"/>
                    </a:lnTo>
                    <a:lnTo>
                      <a:pt x="1111" y="1495"/>
                    </a:lnTo>
                    <a:lnTo>
                      <a:pt x="1162" y="1524"/>
                    </a:lnTo>
                    <a:lnTo>
                      <a:pt x="1212" y="1554"/>
                    </a:lnTo>
                    <a:lnTo>
                      <a:pt x="1265" y="1583"/>
                    </a:lnTo>
                    <a:lnTo>
                      <a:pt x="1318" y="1612"/>
                    </a:lnTo>
                    <a:lnTo>
                      <a:pt x="1373" y="1641"/>
                    </a:lnTo>
                    <a:lnTo>
                      <a:pt x="1428" y="1669"/>
                    </a:lnTo>
                    <a:lnTo>
                      <a:pt x="1484" y="1697"/>
                    </a:lnTo>
                    <a:lnTo>
                      <a:pt x="1541" y="1725"/>
                    </a:lnTo>
                    <a:lnTo>
                      <a:pt x="1600" y="1753"/>
                    </a:lnTo>
                    <a:lnTo>
                      <a:pt x="1658" y="1779"/>
                    </a:lnTo>
                    <a:lnTo>
                      <a:pt x="1718" y="1807"/>
                    </a:lnTo>
                    <a:lnTo>
                      <a:pt x="1779" y="1834"/>
                    </a:lnTo>
                    <a:lnTo>
                      <a:pt x="1841" y="1860"/>
                    </a:lnTo>
                    <a:lnTo>
                      <a:pt x="1904" y="1887"/>
                    </a:lnTo>
                    <a:lnTo>
                      <a:pt x="1967" y="1913"/>
                    </a:lnTo>
                    <a:lnTo>
                      <a:pt x="2030" y="1939"/>
                    </a:lnTo>
                    <a:lnTo>
                      <a:pt x="2096" y="1965"/>
                    </a:lnTo>
                    <a:lnTo>
                      <a:pt x="2162" y="1990"/>
                    </a:lnTo>
                    <a:lnTo>
                      <a:pt x="2229" y="2014"/>
                    </a:lnTo>
                    <a:lnTo>
                      <a:pt x="2297" y="2039"/>
                    </a:lnTo>
                    <a:lnTo>
                      <a:pt x="2365" y="2064"/>
                    </a:lnTo>
                    <a:lnTo>
                      <a:pt x="2436" y="2088"/>
                    </a:lnTo>
                    <a:lnTo>
                      <a:pt x="2506" y="2112"/>
                    </a:lnTo>
                    <a:lnTo>
                      <a:pt x="2577" y="2136"/>
                    </a:lnTo>
                    <a:lnTo>
                      <a:pt x="2649" y="2158"/>
                    </a:lnTo>
                    <a:lnTo>
                      <a:pt x="2721" y="2182"/>
                    </a:lnTo>
                    <a:lnTo>
                      <a:pt x="2794" y="2204"/>
                    </a:lnTo>
                    <a:lnTo>
                      <a:pt x="2869" y="2227"/>
                    </a:lnTo>
                    <a:lnTo>
                      <a:pt x="2944" y="2248"/>
                    </a:lnTo>
                    <a:lnTo>
                      <a:pt x="3020" y="2270"/>
                    </a:lnTo>
                    <a:lnTo>
                      <a:pt x="3173" y="2314"/>
                    </a:lnTo>
                    <a:lnTo>
                      <a:pt x="3331" y="2355"/>
                    </a:lnTo>
                    <a:lnTo>
                      <a:pt x="3491" y="2394"/>
                    </a:lnTo>
                    <a:lnTo>
                      <a:pt x="3653" y="2434"/>
                    </a:lnTo>
                    <a:lnTo>
                      <a:pt x="3819" y="2471"/>
                    </a:lnTo>
                    <a:lnTo>
                      <a:pt x="3987" y="2507"/>
                    </a:lnTo>
                    <a:lnTo>
                      <a:pt x="4158" y="2541"/>
                    </a:lnTo>
                    <a:lnTo>
                      <a:pt x="4331" y="2574"/>
                    </a:lnTo>
                    <a:lnTo>
                      <a:pt x="4507" y="2606"/>
                    </a:lnTo>
                    <a:lnTo>
                      <a:pt x="4686" y="2638"/>
                    </a:lnTo>
                    <a:lnTo>
                      <a:pt x="4866" y="2666"/>
                    </a:lnTo>
                    <a:lnTo>
                      <a:pt x="5049" y="2693"/>
                    </a:lnTo>
                    <a:lnTo>
                      <a:pt x="5235" y="2719"/>
                    </a:lnTo>
                    <a:lnTo>
                      <a:pt x="5422" y="2744"/>
                    </a:lnTo>
                    <a:lnTo>
                      <a:pt x="5612" y="2767"/>
                    </a:lnTo>
                    <a:lnTo>
                      <a:pt x="5804" y="2789"/>
                    </a:lnTo>
                    <a:lnTo>
                      <a:pt x="5998" y="2808"/>
                    </a:lnTo>
                    <a:lnTo>
                      <a:pt x="6193" y="2827"/>
                    </a:lnTo>
                    <a:lnTo>
                      <a:pt x="6391" y="2843"/>
                    </a:lnTo>
                    <a:lnTo>
                      <a:pt x="6591" y="2858"/>
                    </a:lnTo>
                    <a:lnTo>
                      <a:pt x="6792" y="2871"/>
                    </a:lnTo>
                    <a:lnTo>
                      <a:pt x="6995" y="2883"/>
                    </a:lnTo>
                    <a:lnTo>
                      <a:pt x="7200" y="2892"/>
                    </a:lnTo>
                    <a:lnTo>
                      <a:pt x="7407" y="2900"/>
                    </a:lnTo>
                    <a:lnTo>
                      <a:pt x="7614" y="2907"/>
                    </a:lnTo>
                    <a:lnTo>
                      <a:pt x="7823" y="2912"/>
                    </a:lnTo>
                    <a:lnTo>
                      <a:pt x="8034" y="2915"/>
                    </a:lnTo>
                    <a:lnTo>
                      <a:pt x="8246" y="2915"/>
                    </a:lnTo>
                    <a:lnTo>
                      <a:pt x="8246" y="2815"/>
                    </a:lnTo>
                    <a:lnTo>
                      <a:pt x="8034" y="2813"/>
                    </a:lnTo>
                    <a:lnTo>
                      <a:pt x="7825" y="2811"/>
                    </a:lnTo>
                    <a:lnTo>
                      <a:pt x="7617" y="2807"/>
                    </a:lnTo>
                    <a:lnTo>
                      <a:pt x="7410" y="2801"/>
                    </a:lnTo>
                    <a:lnTo>
                      <a:pt x="7205" y="2793"/>
                    </a:lnTo>
                    <a:lnTo>
                      <a:pt x="7000" y="2782"/>
                    </a:lnTo>
                    <a:lnTo>
                      <a:pt x="6798" y="2771"/>
                    </a:lnTo>
                    <a:lnTo>
                      <a:pt x="6597" y="2758"/>
                    </a:lnTo>
                    <a:lnTo>
                      <a:pt x="6400" y="2743"/>
                    </a:lnTo>
                    <a:lnTo>
                      <a:pt x="6203" y="2727"/>
                    </a:lnTo>
                    <a:lnTo>
                      <a:pt x="6008" y="2709"/>
                    </a:lnTo>
                    <a:lnTo>
                      <a:pt x="5814" y="2688"/>
                    </a:lnTo>
                    <a:lnTo>
                      <a:pt x="5623" y="2668"/>
                    </a:lnTo>
                    <a:lnTo>
                      <a:pt x="5435" y="2645"/>
                    </a:lnTo>
                    <a:lnTo>
                      <a:pt x="5248" y="2620"/>
                    </a:lnTo>
                    <a:lnTo>
                      <a:pt x="5064" y="2594"/>
                    </a:lnTo>
                    <a:lnTo>
                      <a:pt x="4881" y="2567"/>
                    </a:lnTo>
                    <a:lnTo>
                      <a:pt x="4702" y="2538"/>
                    </a:lnTo>
                    <a:lnTo>
                      <a:pt x="4524" y="2508"/>
                    </a:lnTo>
                    <a:lnTo>
                      <a:pt x="4350" y="2476"/>
                    </a:lnTo>
                    <a:lnTo>
                      <a:pt x="4176" y="2443"/>
                    </a:lnTo>
                    <a:lnTo>
                      <a:pt x="4007" y="2409"/>
                    </a:lnTo>
                    <a:lnTo>
                      <a:pt x="3839" y="2373"/>
                    </a:lnTo>
                    <a:lnTo>
                      <a:pt x="3675" y="2335"/>
                    </a:lnTo>
                    <a:lnTo>
                      <a:pt x="3514" y="2297"/>
                    </a:lnTo>
                    <a:lnTo>
                      <a:pt x="3355" y="2258"/>
                    </a:lnTo>
                    <a:lnTo>
                      <a:pt x="3199" y="2216"/>
                    </a:lnTo>
                    <a:lnTo>
                      <a:pt x="3047" y="2174"/>
                    </a:lnTo>
                    <a:lnTo>
                      <a:pt x="2971" y="2152"/>
                    </a:lnTo>
                    <a:lnTo>
                      <a:pt x="2897" y="2130"/>
                    </a:lnTo>
                    <a:lnTo>
                      <a:pt x="2824" y="2109"/>
                    </a:lnTo>
                    <a:lnTo>
                      <a:pt x="2751" y="2086"/>
                    </a:lnTo>
                    <a:lnTo>
                      <a:pt x="2679" y="2063"/>
                    </a:lnTo>
                    <a:lnTo>
                      <a:pt x="2608" y="2040"/>
                    </a:lnTo>
                    <a:lnTo>
                      <a:pt x="2538" y="2016"/>
                    </a:lnTo>
                    <a:lnTo>
                      <a:pt x="2467" y="1993"/>
                    </a:lnTo>
                    <a:lnTo>
                      <a:pt x="2398" y="1969"/>
                    </a:lnTo>
                    <a:lnTo>
                      <a:pt x="2330" y="1945"/>
                    </a:lnTo>
                    <a:lnTo>
                      <a:pt x="2263" y="1920"/>
                    </a:lnTo>
                    <a:lnTo>
                      <a:pt x="2197" y="1896"/>
                    </a:lnTo>
                    <a:lnTo>
                      <a:pt x="2132" y="1871"/>
                    </a:lnTo>
                    <a:lnTo>
                      <a:pt x="2068" y="1846"/>
                    </a:lnTo>
                    <a:lnTo>
                      <a:pt x="2004" y="1820"/>
                    </a:lnTo>
                    <a:lnTo>
                      <a:pt x="1941" y="1794"/>
                    </a:lnTo>
                    <a:lnTo>
                      <a:pt x="1880" y="1768"/>
                    </a:lnTo>
                    <a:lnTo>
                      <a:pt x="1819" y="1742"/>
                    </a:lnTo>
                    <a:lnTo>
                      <a:pt x="1758" y="1715"/>
                    </a:lnTo>
                    <a:lnTo>
                      <a:pt x="1700" y="1688"/>
                    </a:lnTo>
                    <a:lnTo>
                      <a:pt x="1642" y="1661"/>
                    </a:lnTo>
                    <a:lnTo>
                      <a:pt x="1584" y="1635"/>
                    </a:lnTo>
                    <a:lnTo>
                      <a:pt x="1529" y="1607"/>
                    </a:lnTo>
                    <a:lnTo>
                      <a:pt x="1473" y="1580"/>
                    </a:lnTo>
                    <a:lnTo>
                      <a:pt x="1418" y="1552"/>
                    </a:lnTo>
                    <a:lnTo>
                      <a:pt x="1366" y="1523"/>
                    </a:lnTo>
                    <a:lnTo>
                      <a:pt x="1313" y="1495"/>
                    </a:lnTo>
                    <a:lnTo>
                      <a:pt x="1262" y="1466"/>
                    </a:lnTo>
                    <a:lnTo>
                      <a:pt x="1211" y="1437"/>
                    </a:lnTo>
                    <a:lnTo>
                      <a:pt x="1162" y="1408"/>
                    </a:lnTo>
                    <a:lnTo>
                      <a:pt x="1113" y="1379"/>
                    </a:lnTo>
                    <a:lnTo>
                      <a:pt x="1066" y="1350"/>
                    </a:lnTo>
                    <a:lnTo>
                      <a:pt x="1020" y="1320"/>
                    </a:lnTo>
                    <a:lnTo>
                      <a:pt x="975" y="1290"/>
                    </a:lnTo>
                    <a:lnTo>
                      <a:pt x="931" y="1260"/>
                    </a:lnTo>
                    <a:lnTo>
                      <a:pt x="887" y="1230"/>
                    </a:lnTo>
                    <a:lnTo>
                      <a:pt x="845" y="1199"/>
                    </a:lnTo>
                    <a:lnTo>
                      <a:pt x="804" y="1169"/>
                    </a:lnTo>
                    <a:lnTo>
                      <a:pt x="765" y="1138"/>
                    </a:lnTo>
                    <a:lnTo>
                      <a:pt x="726" y="1107"/>
                    </a:lnTo>
                    <a:lnTo>
                      <a:pt x="688" y="1076"/>
                    </a:lnTo>
                    <a:lnTo>
                      <a:pt x="651" y="1045"/>
                    </a:lnTo>
                    <a:lnTo>
                      <a:pt x="616" y="1014"/>
                    </a:lnTo>
                    <a:lnTo>
                      <a:pt x="581" y="981"/>
                    </a:lnTo>
                    <a:lnTo>
                      <a:pt x="548" y="949"/>
                    </a:lnTo>
                    <a:lnTo>
                      <a:pt x="516" y="918"/>
                    </a:lnTo>
                    <a:lnTo>
                      <a:pt x="485" y="886"/>
                    </a:lnTo>
                    <a:lnTo>
                      <a:pt x="456" y="854"/>
                    </a:lnTo>
                    <a:lnTo>
                      <a:pt x="427" y="821"/>
                    </a:lnTo>
                    <a:lnTo>
                      <a:pt x="400" y="789"/>
                    </a:lnTo>
                    <a:lnTo>
                      <a:pt x="373" y="757"/>
                    </a:lnTo>
                    <a:lnTo>
                      <a:pt x="348" y="724"/>
                    </a:lnTo>
                    <a:lnTo>
                      <a:pt x="324" y="691"/>
                    </a:lnTo>
                    <a:lnTo>
                      <a:pt x="301" y="659"/>
                    </a:lnTo>
                    <a:lnTo>
                      <a:pt x="280" y="625"/>
                    </a:lnTo>
                    <a:lnTo>
                      <a:pt x="260" y="592"/>
                    </a:lnTo>
                    <a:lnTo>
                      <a:pt x="240" y="559"/>
                    </a:lnTo>
                    <a:lnTo>
                      <a:pt x="223" y="526"/>
                    </a:lnTo>
                    <a:lnTo>
                      <a:pt x="205" y="492"/>
                    </a:lnTo>
                    <a:lnTo>
                      <a:pt x="190" y="459"/>
                    </a:lnTo>
                    <a:lnTo>
                      <a:pt x="175" y="426"/>
                    </a:lnTo>
                    <a:lnTo>
                      <a:pt x="163" y="391"/>
                    </a:lnTo>
                    <a:lnTo>
                      <a:pt x="150" y="358"/>
                    </a:lnTo>
                    <a:lnTo>
                      <a:pt x="140" y="324"/>
                    </a:lnTo>
                    <a:lnTo>
                      <a:pt x="131" y="290"/>
                    </a:lnTo>
                    <a:lnTo>
                      <a:pt x="123" y="256"/>
                    </a:lnTo>
                    <a:lnTo>
                      <a:pt x="115" y="223"/>
                    </a:lnTo>
                    <a:lnTo>
                      <a:pt x="110" y="189"/>
                    </a:lnTo>
                    <a:lnTo>
                      <a:pt x="106" y="154"/>
                    </a:lnTo>
                    <a:lnTo>
                      <a:pt x="102" y="120"/>
                    </a:lnTo>
                    <a:lnTo>
                      <a:pt x="101" y="85"/>
                    </a:lnTo>
                    <a:lnTo>
                      <a:pt x="100" y="51"/>
                    </a:lnTo>
                    <a:lnTo>
                      <a:pt x="100" y="51"/>
                    </a:lnTo>
                    <a:lnTo>
                      <a:pt x="100" y="51"/>
                    </a:lnTo>
                    <a:lnTo>
                      <a:pt x="100" y="45"/>
                    </a:lnTo>
                    <a:lnTo>
                      <a:pt x="99" y="39"/>
                    </a:lnTo>
                    <a:lnTo>
                      <a:pt x="98" y="33"/>
                    </a:lnTo>
                    <a:lnTo>
                      <a:pt x="96" y="29"/>
                    </a:lnTo>
                    <a:lnTo>
                      <a:pt x="94" y="24"/>
                    </a:lnTo>
                    <a:lnTo>
                      <a:pt x="91" y="20"/>
                    </a:lnTo>
                    <a:lnTo>
                      <a:pt x="88" y="17"/>
                    </a:lnTo>
                    <a:lnTo>
                      <a:pt x="85" y="13"/>
                    </a:lnTo>
                    <a:lnTo>
                      <a:pt x="77" y="7"/>
                    </a:lnTo>
                    <a:lnTo>
                      <a:pt x="68" y="3"/>
                    </a:lnTo>
                    <a:lnTo>
                      <a:pt x="60" y="1"/>
                    </a:lnTo>
                    <a:lnTo>
                      <a:pt x="51" y="0"/>
                    </a:lnTo>
                    <a:lnTo>
                      <a:pt x="40" y="1"/>
                    </a:lnTo>
                    <a:lnTo>
                      <a:pt x="32" y="3"/>
                    </a:lnTo>
                    <a:lnTo>
                      <a:pt x="23" y="7"/>
                    </a:lnTo>
                    <a:lnTo>
                      <a:pt x="15" y="13"/>
                    </a:lnTo>
                    <a:lnTo>
                      <a:pt x="12" y="17"/>
                    </a:lnTo>
                    <a:lnTo>
                      <a:pt x="9" y="20"/>
                    </a:lnTo>
                    <a:lnTo>
                      <a:pt x="6" y="24"/>
                    </a:lnTo>
                    <a:lnTo>
                      <a:pt x="4" y="29"/>
                    </a:lnTo>
                    <a:lnTo>
                      <a:pt x="2" y="33"/>
                    </a:lnTo>
                    <a:lnTo>
                      <a:pt x="1" y="39"/>
                    </a:lnTo>
                    <a:lnTo>
                      <a:pt x="0" y="45"/>
                    </a:lnTo>
                    <a:lnTo>
                      <a:pt x="0" y="51"/>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98" name="Freeform 49"/>
              <p:cNvSpPr>
                <a:spLocks/>
              </p:cNvSpPr>
              <p:nvPr>
                <p:custDataLst>
                  <p:tags r:id="rId241"/>
                </p:custDataLst>
              </p:nvPr>
            </p:nvSpPr>
            <p:spPr bwMode="auto">
              <a:xfrm>
                <a:off x="369" y="3354"/>
                <a:ext cx="361" cy="115"/>
              </a:xfrm>
              <a:custGeom>
                <a:avLst/>
                <a:gdLst>
                  <a:gd name="T0" fmla="*/ 7823 w 8296"/>
                  <a:gd name="T1" fmla="*/ 4 h 2865"/>
                  <a:gd name="T2" fmla="*/ 6995 w 8296"/>
                  <a:gd name="T3" fmla="*/ 33 h 2865"/>
                  <a:gd name="T4" fmla="*/ 6193 w 8296"/>
                  <a:gd name="T5" fmla="*/ 89 h 2865"/>
                  <a:gd name="T6" fmla="*/ 5422 w 8296"/>
                  <a:gd name="T7" fmla="*/ 171 h 2865"/>
                  <a:gd name="T8" fmla="*/ 4686 w 8296"/>
                  <a:gd name="T9" fmla="*/ 278 h 2865"/>
                  <a:gd name="T10" fmla="*/ 3987 w 8296"/>
                  <a:gd name="T11" fmla="*/ 409 h 2865"/>
                  <a:gd name="T12" fmla="*/ 3331 w 8296"/>
                  <a:gd name="T13" fmla="*/ 561 h 2865"/>
                  <a:gd name="T14" fmla="*/ 2721 w 8296"/>
                  <a:gd name="T15" fmla="*/ 734 h 2865"/>
                  <a:gd name="T16" fmla="*/ 2436 w 8296"/>
                  <a:gd name="T17" fmla="*/ 827 h 2865"/>
                  <a:gd name="T18" fmla="*/ 2162 w 8296"/>
                  <a:gd name="T19" fmla="*/ 925 h 2865"/>
                  <a:gd name="T20" fmla="*/ 1904 w 8296"/>
                  <a:gd name="T21" fmla="*/ 1029 h 2865"/>
                  <a:gd name="T22" fmla="*/ 1658 w 8296"/>
                  <a:gd name="T23" fmla="*/ 1135 h 2865"/>
                  <a:gd name="T24" fmla="*/ 1428 w 8296"/>
                  <a:gd name="T25" fmla="*/ 1247 h 2865"/>
                  <a:gd name="T26" fmla="*/ 1212 w 8296"/>
                  <a:gd name="T27" fmla="*/ 1362 h 2865"/>
                  <a:gd name="T28" fmla="*/ 1013 w 8296"/>
                  <a:gd name="T29" fmla="*/ 1481 h 2865"/>
                  <a:gd name="T30" fmla="*/ 830 w 8296"/>
                  <a:gd name="T31" fmla="*/ 1604 h 2865"/>
                  <a:gd name="T32" fmla="*/ 663 w 8296"/>
                  <a:gd name="T33" fmla="*/ 1731 h 2865"/>
                  <a:gd name="T34" fmla="*/ 513 w 8296"/>
                  <a:gd name="T35" fmla="*/ 1861 h 2865"/>
                  <a:gd name="T36" fmla="*/ 381 w 8296"/>
                  <a:gd name="T37" fmla="*/ 1995 h 2865"/>
                  <a:gd name="T38" fmla="*/ 268 w 8296"/>
                  <a:gd name="T39" fmla="*/ 2131 h 2865"/>
                  <a:gd name="T40" fmla="*/ 174 w 8296"/>
                  <a:gd name="T41" fmla="*/ 2272 h 2865"/>
                  <a:gd name="T42" fmla="*/ 99 w 8296"/>
                  <a:gd name="T43" fmla="*/ 2416 h 2865"/>
                  <a:gd name="T44" fmla="*/ 44 w 8296"/>
                  <a:gd name="T45" fmla="*/ 2563 h 2865"/>
                  <a:gd name="T46" fmla="*/ 11 w 8296"/>
                  <a:gd name="T47" fmla="*/ 2713 h 2865"/>
                  <a:gd name="T48" fmla="*/ 0 w 8296"/>
                  <a:gd name="T49" fmla="*/ 2865 h 2865"/>
                  <a:gd name="T50" fmla="*/ 106 w 8296"/>
                  <a:gd name="T51" fmla="*/ 2761 h 2865"/>
                  <a:gd name="T52" fmla="*/ 131 w 8296"/>
                  <a:gd name="T53" fmla="*/ 2625 h 2865"/>
                  <a:gd name="T54" fmla="*/ 175 w 8296"/>
                  <a:gd name="T55" fmla="*/ 2490 h 2865"/>
                  <a:gd name="T56" fmla="*/ 240 w 8296"/>
                  <a:gd name="T57" fmla="*/ 2357 h 2865"/>
                  <a:gd name="T58" fmla="*/ 324 w 8296"/>
                  <a:gd name="T59" fmla="*/ 2224 h 2865"/>
                  <a:gd name="T60" fmla="*/ 427 w 8296"/>
                  <a:gd name="T61" fmla="*/ 2094 h 2865"/>
                  <a:gd name="T62" fmla="*/ 548 w 8296"/>
                  <a:gd name="T63" fmla="*/ 1966 h 2865"/>
                  <a:gd name="T64" fmla="*/ 688 w 8296"/>
                  <a:gd name="T65" fmla="*/ 1839 h 2865"/>
                  <a:gd name="T66" fmla="*/ 845 w 8296"/>
                  <a:gd name="T67" fmla="*/ 1716 h 2865"/>
                  <a:gd name="T68" fmla="*/ 1020 w 8296"/>
                  <a:gd name="T69" fmla="*/ 1596 h 2865"/>
                  <a:gd name="T70" fmla="*/ 1211 w 8296"/>
                  <a:gd name="T71" fmla="*/ 1478 h 2865"/>
                  <a:gd name="T72" fmla="*/ 1418 w 8296"/>
                  <a:gd name="T73" fmla="*/ 1364 h 2865"/>
                  <a:gd name="T74" fmla="*/ 1642 w 8296"/>
                  <a:gd name="T75" fmla="*/ 1253 h 2865"/>
                  <a:gd name="T76" fmla="*/ 1880 w 8296"/>
                  <a:gd name="T77" fmla="*/ 1147 h 2865"/>
                  <a:gd name="T78" fmla="*/ 2132 w 8296"/>
                  <a:gd name="T79" fmla="*/ 1044 h 2865"/>
                  <a:gd name="T80" fmla="*/ 2398 w 8296"/>
                  <a:gd name="T81" fmla="*/ 946 h 2865"/>
                  <a:gd name="T82" fmla="*/ 2679 w 8296"/>
                  <a:gd name="T83" fmla="*/ 852 h 2865"/>
                  <a:gd name="T84" fmla="*/ 3199 w 8296"/>
                  <a:gd name="T85" fmla="*/ 700 h 2865"/>
                  <a:gd name="T86" fmla="*/ 3839 w 8296"/>
                  <a:gd name="T87" fmla="*/ 543 h 2865"/>
                  <a:gd name="T88" fmla="*/ 4524 w 8296"/>
                  <a:gd name="T89" fmla="*/ 408 h 2865"/>
                  <a:gd name="T90" fmla="*/ 5248 w 8296"/>
                  <a:gd name="T91" fmla="*/ 295 h 2865"/>
                  <a:gd name="T92" fmla="*/ 6008 w 8296"/>
                  <a:gd name="T93" fmla="*/ 207 h 2865"/>
                  <a:gd name="T94" fmla="*/ 6798 w 8296"/>
                  <a:gd name="T95" fmla="*/ 144 h 2865"/>
                  <a:gd name="T96" fmla="*/ 7617 w 8296"/>
                  <a:gd name="T97" fmla="*/ 109 h 2865"/>
                  <a:gd name="T98" fmla="*/ 8246 w 8296"/>
                  <a:gd name="T99" fmla="*/ 100 h 2865"/>
                  <a:gd name="T100" fmla="*/ 8263 w 8296"/>
                  <a:gd name="T101" fmla="*/ 98 h 2865"/>
                  <a:gd name="T102" fmla="*/ 8280 w 8296"/>
                  <a:gd name="T103" fmla="*/ 88 h 2865"/>
                  <a:gd name="T104" fmla="*/ 8295 w 8296"/>
                  <a:gd name="T105" fmla="*/ 60 h 2865"/>
                  <a:gd name="T106" fmla="*/ 8289 w 8296"/>
                  <a:gd name="T107" fmla="*/ 24 h 2865"/>
                  <a:gd name="T108" fmla="*/ 8272 w 8296"/>
                  <a:gd name="T109" fmla="*/ 6 h 2865"/>
                  <a:gd name="T110" fmla="*/ 8252 w 8296"/>
                  <a:gd name="T111" fmla="*/ 0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5">
                    <a:moveTo>
                      <a:pt x="8246" y="0"/>
                    </a:moveTo>
                    <a:lnTo>
                      <a:pt x="8246" y="0"/>
                    </a:lnTo>
                    <a:lnTo>
                      <a:pt x="8034" y="1"/>
                    </a:lnTo>
                    <a:lnTo>
                      <a:pt x="7823" y="4"/>
                    </a:lnTo>
                    <a:lnTo>
                      <a:pt x="7614" y="8"/>
                    </a:lnTo>
                    <a:lnTo>
                      <a:pt x="7407" y="14"/>
                    </a:lnTo>
                    <a:lnTo>
                      <a:pt x="7200" y="23"/>
                    </a:lnTo>
                    <a:lnTo>
                      <a:pt x="6995" y="33"/>
                    </a:lnTo>
                    <a:lnTo>
                      <a:pt x="6792" y="45"/>
                    </a:lnTo>
                    <a:lnTo>
                      <a:pt x="6591" y="57"/>
                    </a:lnTo>
                    <a:lnTo>
                      <a:pt x="6391" y="72"/>
                    </a:lnTo>
                    <a:lnTo>
                      <a:pt x="6193" y="89"/>
                    </a:lnTo>
                    <a:lnTo>
                      <a:pt x="5998" y="108"/>
                    </a:lnTo>
                    <a:lnTo>
                      <a:pt x="5804" y="127"/>
                    </a:lnTo>
                    <a:lnTo>
                      <a:pt x="5612" y="148"/>
                    </a:lnTo>
                    <a:lnTo>
                      <a:pt x="5422" y="171"/>
                    </a:lnTo>
                    <a:lnTo>
                      <a:pt x="5235" y="196"/>
                    </a:lnTo>
                    <a:lnTo>
                      <a:pt x="5049" y="221"/>
                    </a:lnTo>
                    <a:lnTo>
                      <a:pt x="4866" y="249"/>
                    </a:lnTo>
                    <a:lnTo>
                      <a:pt x="4686" y="278"/>
                    </a:lnTo>
                    <a:lnTo>
                      <a:pt x="4507" y="308"/>
                    </a:lnTo>
                    <a:lnTo>
                      <a:pt x="4331" y="341"/>
                    </a:lnTo>
                    <a:lnTo>
                      <a:pt x="4158" y="374"/>
                    </a:lnTo>
                    <a:lnTo>
                      <a:pt x="3987" y="409"/>
                    </a:lnTo>
                    <a:lnTo>
                      <a:pt x="3819" y="445"/>
                    </a:lnTo>
                    <a:lnTo>
                      <a:pt x="3653" y="482"/>
                    </a:lnTo>
                    <a:lnTo>
                      <a:pt x="3491" y="521"/>
                    </a:lnTo>
                    <a:lnTo>
                      <a:pt x="3331" y="561"/>
                    </a:lnTo>
                    <a:lnTo>
                      <a:pt x="3173" y="602"/>
                    </a:lnTo>
                    <a:lnTo>
                      <a:pt x="3020" y="645"/>
                    </a:lnTo>
                    <a:lnTo>
                      <a:pt x="2869" y="689"/>
                    </a:lnTo>
                    <a:lnTo>
                      <a:pt x="2721" y="734"/>
                    </a:lnTo>
                    <a:lnTo>
                      <a:pt x="2649" y="757"/>
                    </a:lnTo>
                    <a:lnTo>
                      <a:pt x="2577" y="780"/>
                    </a:lnTo>
                    <a:lnTo>
                      <a:pt x="2506" y="803"/>
                    </a:lnTo>
                    <a:lnTo>
                      <a:pt x="2436" y="827"/>
                    </a:lnTo>
                    <a:lnTo>
                      <a:pt x="2365" y="852"/>
                    </a:lnTo>
                    <a:lnTo>
                      <a:pt x="2297" y="876"/>
                    </a:lnTo>
                    <a:lnTo>
                      <a:pt x="2229" y="900"/>
                    </a:lnTo>
                    <a:lnTo>
                      <a:pt x="2162" y="925"/>
                    </a:lnTo>
                    <a:lnTo>
                      <a:pt x="2096" y="951"/>
                    </a:lnTo>
                    <a:lnTo>
                      <a:pt x="2030" y="976"/>
                    </a:lnTo>
                    <a:lnTo>
                      <a:pt x="1967" y="1002"/>
                    </a:lnTo>
                    <a:lnTo>
                      <a:pt x="1904" y="1029"/>
                    </a:lnTo>
                    <a:lnTo>
                      <a:pt x="1841" y="1055"/>
                    </a:lnTo>
                    <a:lnTo>
                      <a:pt x="1779" y="1082"/>
                    </a:lnTo>
                    <a:lnTo>
                      <a:pt x="1718" y="1109"/>
                    </a:lnTo>
                    <a:lnTo>
                      <a:pt x="1658" y="1135"/>
                    </a:lnTo>
                    <a:lnTo>
                      <a:pt x="1600" y="1163"/>
                    </a:lnTo>
                    <a:lnTo>
                      <a:pt x="1541" y="1190"/>
                    </a:lnTo>
                    <a:lnTo>
                      <a:pt x="1484" y="1218"/>
                    </a:lnTo>
                    <a:lnTo>
                      <a:pt x="1428" y="1247"/>
                    </a:lnTo>
                    <a:lnTo>
                      <a:pt x="1373" y="1275"/>
                    </a:lnTo>
                    <a:lnTo>
                      <a:pt x="1318" y="1304"/>
                    </a:lnTo>
                    <a:lnTo>
                      <a:pt x="1265" y="1333"/>
                    </a:lnTo>
                    <a:lnTo>
                      <a:pt x="1212" y="1362"/>
                    </a:lnTo>
                    <a:lnTo>
                      <a:pt x="1162" y="1391"/>
                    </a:lnTo>
                    <a:lnTo>
                      <a:pt x="1111" y="1421"/>
                    </a:lnTo>
                    <a:lnTo>
                      <a:pt x="1062" y="1451"/>
                    </a:lnTo>
                    <a:lnTo>
                      <a:pt x="1013" y="1481"/>
                    </a:lnTo>
                    <a:lnTo>
                      <a:pt x="966" y="1511"/>
                    </a:lnTo>
                    <a:lnTo>
                      <a:pt x="919" y="1542"/>
                    </a:lnTo>
                    <a:lnTo>
                      <a:pt x="874" y="1573"/>
                    </a:lnTo>
                    <a:lnTo>
                      <a:pt x="830" y="1604"/>
                    </a:lnTo>
                    <a:lnTo>
                      <a:pt x="786" y="1635"/>
                    </a:lnTo>
                    <a:lnTo>
                      <a:pt x="744" y="1666"/>
                    </a:lnTo>
                    <a:lnTo>
                      <a:pt x="703" y="1698"/>
                    </a:lnTo>
                    <a:lnTo>
                      <a:pt x="663" y="1731"/>
                    </a:lnTo>
                    <a:lnTo>
                      <a:pt x="624" y="1763"/>
                    </a:lnTo>
                    <a:lnTo>
                      <a:pt x="586" y="1795"/>
                    </a:lnTo>
                    <a:lnTo>
                      <a:pt x="549" y="1828"/>
                    </a:lnTo>
                    <a:lnTo>
                      <a:pt x="513" y="1861"/>
                    </a:lnTo>
                    <a:lnTo>
                      <a:pt x="479" y="1894"/>
                    </a:lnTo>
                    <a:lnTo>
                      <a:pt x="445" y="1927"/>
                    </a:lnTo>
                    <a:lnTo>
                      <a:pt x="413" y="1960"/>
                    </a:lnTo>
                    <a:lnTo>
                      <a:pt x="381" y="1995"/>
                    </a:lnTo>
                    <a:lnTo>
                      <a:pt x="351" y="2029"/>
                    </a:lnTo>
                    <a:lnTo>
                      <a:pt x="323" y="2063"/>
                    </a:lnTo>
                    <a:lnTo>
                      <a:pt x="295" y="2097"/>
                    </a:lnTo>
                    <a:lnTo>
                      <a:pt x="268" y="2131"/>
                    </a:lnTo>
                    <a:lnTo>
                      <a:pt x="243" y="2166"/>
                    </a:lnTo>
                    <a:lnTo>
                      <a:pt x="219" y="2202"/>
                    </a:lnTo>
                    <a:lnTo>
                      <a:pt x="196" y="2237"/>
                    </a:lnTo>
                    <a:lnTo>
                      <a:pt x="174" y="2272"/>
                    </a:lnTo>
                    <a:lnTo>
                      <a:pt x="154" y="2308"/>
                    </a:lnTo>
                    <a:lnTo>
                      <a:pt x="134" y="2343"/>
                    </a:lnTo>
                    <a:lnTo>
                      <a:pt x="115" y="2380"/>
                    </a:lnTo>
                    <a:lnTo>
                      <a:pt x="99" y="2416"/>
                    </a:lnTo>
                    <a:lnTo>
                      <a:pt x="83" y="2452"/>
                    </a:lnTo>
                    <a:lnTo>
                      <a:pt x="69" y="2489"/>
                    </a:lnTo>
                    <a:lnTo>
                      <a:pt x="56" y="2525"/>
                    </a:lnTo>
                    <a:lnTo>
                      <a:pt x="44" y="2563"/>
                    </a:lnTo>
                    <a:lnTo>
                      <a:pt x="34" y="2600"/>
                    </a:lnTo>
                    <a:lnTo>
                      <a:pt x="25" y="2637"/>
                    </a:lnTo>
                    <a:lnTo>
                      <a:pt x="18" y="2676"/>
                    </a:lnTo>
                    <a:lnTo>
                      <a:pt x="11" y="2713"/>
                    </a:lnTo>
                    <a:lnTo>
                      <a:pt x="6" y="2750"/>
                    </a:lnTo>
                    <a:lnTo>
                      <a:pt x="3" y="2788"/>
                    </a:lnTo>
                    <a:lnTo>
                      <a:pt x="1" y="2827"/>
                    </a:lnTo>
                    <a:lnTo>
                      <a:pt x="0" y="2865"/>
                    </a:lnTo>
                    <a:lnTo>
                      <a:pt x="100" y="2865"/>
                    </a:lnTo>
                    <a:lnTo>
                      <a:pt x="101" y="2830"/>
                    </a:lnTo>
                    <a:lnTo>
                      <a:pt x="102" y="2796"/>
                    </a:lnTo>
                    <a:lnTo>
                      <a:pt x="106" y="2761"/>
                    </a:lnTo>
                    <a:lnTo>
                      <a:pt x="110" y="2727"/>
                    </a:lnTo>
                    <a:lnTo>
                      <a:pt x="115" y="2693"/>
                    </a:lnTo>
                    <a:lnTo>
                      <a:pt x="123" y="2659"/>
                    </a:lnTo>
                    <a:lnTo>
                      <a:pt x="131" y="2625"/>
                    </a:lnTo>
                    <a:lnTo>
                      <a:pt x="140" y="2592"/>
                    </a:lnTo>
                    <a:lnTo>
                      <a:pt x="150" y="2558"/>
                    </a:lnTo>
                    <a:lnTo>
                      <a:pt x="163" y="2524"/>
                    </a:lnTo>
                    <a:lnTo>
                      <a:pt x="175" y="2490"/>
                    </a:lnTo>
                    <a:lnTo>
                      <a:pt x="190" y="2457"/>
                    </a:lnTo>
                    <a:lnTo>
                      <a:pt x="205" y="2423"/>
                    </a:lnTo>
                    <a:lnTo>
                      <a:pt x="223" y="2390"/>
                    </a:lnTo>
                    <a:lnTo>
                      <a:pt x="240" y="2357"/>
                    </a:lnTo>
                    <a:lnTo>
                      <a:pt x="260" y="2324"/>
                    </a:lnTo>
                    <a:lnTo>
                      <a:pt x="279" y="2291"/>
                    </a:lnTo>
                    <a:lnTo>
                      <a:pt x="301" y="2257"/>
                    </a:lnTo>
                    <a:lnTo>
                      <a:pt x="324" y="2224"/>
                    </a:lnTo>
                    <a:lnTo>
                      <a:pt x="348" y="2192"/>
                    </a:lnTo>
                    <a:lnTo>
                      <a:pt x="373" y="2159"/>
                    </a:lnTo>
                    <a:lnTo>
                      <a:pt x="400" y="2127"/>
                    </a:lnTo>
                    <a:lnTo>
                      <a:pt x="427" y="2094"/>
                    </a:lnTo>
                    <a:lnTo>
                      <a:pt x="456" y="2062"/>
                    </a:lnTo>
                    <a:lnTo>
                      <a:pt x="485" y="2030"/>
                    </a:lnTo>
                    <a:lnTo>
                      <a:pt x="516" y="1998"/>
                    </a:lnTo>
                    <a:lnTo>
                      <a:pt x="548" y="1966"/>
                    </a:lnTo>
                    <a:lnTo>
                      <a:pt x="581" y="1934"/>
                    </a:lnTo>
                    <a:lnTo>
                      <a:pt x="616" y="1902"/>
                    </a:lnTo>
                    <a:lnTo>
                      <a:pt x="651" y="1871"/>
                    </a:lnTo>
                    <a:lnTo>
                      <a:pt x="688" y="1839"/>
                    </a:lnTo>
                    <a:lnTo>
                      <a:pt x="726" y="1808"/>
                    </a:lnTo>
                    <a:lnTo>
                      <a:pt x="765" y="1777"/>
                    </a:lnTo>
                    <a:lnTo>
                      <a:pt x="804" y="1747"/>
                    </a:lnTo>
                    <a:lnTo>
                      <a:pt x="845" y="1716"/>
                    </a:lnTo>
                    <a:lnTo>
                      <a:pt x="887" y="1686"/>
                    </a:lnTo>
                    <a:lnTo>
                      <a:pt x="931" y="1656"/>
                    </a:lnTo>
                    <a:lnTo>
                      <a:pt x="975" y="1625"/>
                    </a:lnTo>
                    <a:lnTo>
                      <a:pt x="1020" y="1596"/>
                    </a:lnTo>
                    <a:lnTo>
                      <a:pt x="1066" y="1566"/>
                    </a:lnTo>
                    <a:lnTo>
                      <a:pt x="1113" y="1537"/>
                    </a:lnTo>
                    <a:lnTo>
                      <a:pt x="1162" y="1507"/>
                    </a:lnTo>
                    <a:lnTo>
                      <a:pt x="1211" y="1478"/>
                    </a:lnTo>
                    <a:lnTo>
                      <a:pt x="1262" y="1449"/>
                    </a:lnTo>
                    <a:lnTo>
                      <a:pt x="1313" y="1421"/>
                    </a:lnTo>
                    <a:lnTo>
                      <a:pt x="1366" y="1392"/>
                    </a:lnTo>
                    <a:lnTo>
                      <a:pt x="1418" y="1364"/>
                    </a:lnTo>
                    <a:lnTo>
                      <a:pt x="1473" y="1336"/>
                    </a:lnTo>
                    <a:lnTo>
                      <a:pt x="1529" y="1308"/>
                    </a:lnTo>
                    <a:lnTo>
                      <a:pt x="1584" y="1281"/>
                    </a:lnTo>
                    <a:lnTo>
                      <a:pt x="1642" y="1253"/>
                    </a:lnTo>
                    <a:lnTo>
                      <a:pt x="1700" y="1227"/>
                    </a:lnTo>
                    <a:lnTo>
                      <a:pt x="1758" y="1200"/>
                    </a:lnTo>
                    <a:lnTo>
                      <a:pt x="1819" y="1174"/>
                    </a:lnTo>
                    <a:lnTo>
                      <a:pt x="1880" y="1147"/>
                    </a:lnTo>
                    <a:lnTo>
                      <a:pt x="1941" y="1121"/>
                    </a:lnTo>
                    <a:lnTo>
                      <a:pt x="2004" y="1095"/>
                    </a:lnTo>
                    <a:lnTo>
                      <a:pt x="2068" y="1070"/>
                    </a:lnTo>
                    <a:lnTo>
                      <a:pt x="2132" y="1044"/>
                    </a:lnTo>
                    <a:lnTo>
                      <a:pt x="2197" y="1020"/>
                    </a:lnTo>
                    <a:lnTo>
                      <a:pt x="2263" y="995"/>
                    </a:lnTo>
                    <a:lnTo>
                      <a:pt x="2330" y="971"/>
                    </a:lnTo>
                    <a:lnTo>
                      <a:pt x="2398" y="946"/>
                    </a:lnTo>
                    <a:lnTo>
                      <a:pt x="2467" y="922"/>
                    </a:lnTo>
                    <a:lnTo>
                      <a:pt x="2538" y="898"/>
                    </a:lnTo>
                    <a:lnTo>
                      <a:pt x="2608" y="876"/>
                    </a:lnTo>
                    <a:lnTo>
                      <a:pt x="2679" y="852"/>
                    </a:lnTo>
                    <a:lnTo>
                      <a:pt x="2751" y="830"/>
                    </a:lnTo>
                    <a:lnTo>
                      <a:pt x="2897" y="785"/>
                    </a:lnTo>
                    <a:lnTo>
                      <a:pt x="3047" y="741"/>
                    </a:lnTo>
                    <a:lnTo>
                      <a:pt x="3199" y="700"/>
                    </a:lnTo>
                    <a:lnTo>
                      <a:pt x="3355" y="658"/>
                    </a:lnTo>
                    <a:lnTo>
                      <a:pt x="3514" y="619"/>
                    </a:lnTo>
                    <a:lnTo>
                      <a:pt x="3675" y="580"/>
                    </a:lnTo>
                    <a:lnTo>
                      <a:pt x="3839" y="543"/>
                    </a:lnTo>
                    <a:lnTo>
                      <a:pt x="4007" y="507"/>
                    </a:lnTo>
                    <a:lnTo>
                      <a:pt x="4176" y="473"/>
                    </a:lnTo>
                    <a:lnTo>
                      <a:pt x="4350" y="440"/>
                    </a:lnTo>
                    <a:lnTo>
                      <a:pt x="4524" y="408"/>
                    </a:lnTo>
                    <a:lnTo>
                      <a:pt x="4702" y="378"/>
                    </a:lnTo>
                    <a:lnTo>
                      <a:pt x="4881" y="349"/>
                    </a:lnTo>
                    <a:lnTo>
                      <a:pt x="5064" y="321"/>
                    </a:lnTo>
                    <a:lnTo>
                      <a:pt x="5248" y="295"/>
                    </a:lnTo>
                    <a:lnTo>
                      <a:pt x="5435" y="271"/>
                    </a:lnTo>
                    <a:lnTo>
                      <a:pt x="5623" y="248"/>
                    </a:lnTo>
                    <a:lnTo>
                      <a:pt x="5814" y="227"/>
                    </a:lnTo>
                    <a:lnTo>
                      <a:pt x="6008" y="207"/>
                    </a:lnTo>
                    <a:lnTo>
                      <a:pt x="6203" y="189"/>
                    </a:lnTo>
                    <a:lnTo>
                      <a:pt x="6400" y="173"/>
                    </a:lnTo>
                    <a:lnTo>
                      <a:pt x="6597" y="157"/>
                    </a:lnTo>
                    <a:lnTo>
                      <a:pt x="6798" y="144"/>
                    </a:lnTo>
                    <a:lnTo>
                      <a:pt x="7000" y="132"/>
                    </a:lnTo>
                    <a:lnTo>
                      <a:pt x="7205" y="123"/>
                    </a:lnTo>
                    <a:lnTo>
                      <a:pt x="7410" y="115"/>
                    </a:lnTo>
                    <a:lnTo>
                      <a:pt x="7617" y="109"/>
                    </a:lnTo>
                    <a:lnTo>
                      <a:pt x="7825" y="105"/>
                    </a:lnTo>
                    <a:lnTo>
                      <a:pt x="8034" y="101"/>
                    </a:lnTo>
                    <a:lnTo>
                      <a:pt x="8246" y="100"/>
                    </a:lnTo>
                    <a:lnTo>
                      <a:pt x="8246" y="100"/>
                    </a:lnTo>
                    <a:lnTo>
                      <a:pt x="8246" y="100"/>
                    </a:lnTo>
                    <a:lnTo>
                      <a:pt x="8252" y="100"/>
                    </a:lnTo>
                    <a:lnTo>
                      <a:pt x="8257" y="99"/>
                    </a:lnTo>
                    <a:lnTo>
                      <a:pt x="8263" y="98"/>
                    </a:lnTo>
                    <a:lnTo>
                      <a:pt x="8267" y="96"/>
                    </a:lnTo>
                    <a:lnTo>
                      <a:pt x="8272" y="94"/>
                    </a:lnTo>
                    <a:lnTo>
                      <a:pt x="8276" y="91"/>
                    </a:lnTo>
                    <a:lnTo>
                      <a:pt x="8280" y="88"/>
                    </a:lnTo>
                    <a:lnTo>
                      <a:pt x="8284" y="85"/>
                    </a:lnTo>
                    <a:lnTo>
                      <a:pt x="8289" y="78"/>
                    </a:lnTo>
                    <a:lnTo>
                      <a:pt x="8293" y="68"/>
                    </a:lnTo>
                    <a:lnTo>
                      <a:pt x="8295" y="60"/>
                    </a:lnTo>
                    <a:lnTo>
                      <a:pt x="8296" y="51"/>
                    </a:lnTo>
                    <a:lnTo>
                      <a:pt x="8295" y="41"/>
                    </a:lnTo>
                    <a:lnTo>
                      <a:pt x="8293" y="32"/>
                    </a:lnTo>
                    <a:lnTo>
                      <a:pt x="8289" y="24"/>
                    </a:lnTo>
                    <a:lnTo>
                      <a:pt x="8284" y="16"/>
                    </a:lnTo>
                    <a:lnTo>
                      <a:pt x="8280" y="12"/>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99" name="Freeform 50"/>
              <p:cNvSpPr>
                <a:spLocks/>
              </p:cNvSpPr>
              <p:nvPr>
                <p:custDataLst>
                  <p:tags r:id="rId242"/>
                </p:custDataLst>
              </p:nvPr>
            </p:nvSpPr>
            <p:spPr bwMode="auto">
              <a:xfrm>
                <a:off x="728" y="3354"/>
                <a:ext cx="358" cy="115"/>
              </a:xfrm>
              <a:custGeom>
                <a:avLst/>
                <a:gdLst>
                  <a:gd name="T0" fmla="*/ 8239 w 8245"/>
                  <a:gd name="T1" fmla="*/ 2750 h 2865"/>
                  <a:gd name="T2" fmla="*/ 8211 w 8245"/>
                  <a:gd name="T3" fmla="*/ 2600 h 2865"/>
                  <a:gd name="T4" fmla="*/ 8162 w 8245"/>
                  <a:gd name="T5" fmla="*/ 2452 h 2865"/>
                  <a:gd name="T6" fmla="*/ 8091 w 8245"/>
                  <a:gd name="T7" fmla="*/ 2308 h 2865"/>
                  <a:gd name="T8" fmla="*/ 8002 w 8245"/>
                  <a:gd name="T9" fmla="*/ 2166 h 2865"/>
                  <a:gd name="T10" fmla="*/ 7894 w 8245"/>
                  <a:gd name="T11" fmla="*/ 2029 h 2865"/>
                  <a:gd name="T12" fmla="*/ 7766 w 8245"/>
                  <a:gd name="T13" fmla="*/ 1894 h 2865"/>
                  <a:gd name="T14" fmla="*/ 7620 w 8245"/>
                  <a:gd name="T15" fmla="*/ 1763 h 2865"/>
                  <a:gd name="T16" fmla="*/ 7459 w 8245"/>
                  <a:gd name="T17" fmla="*/ 1635 h 2865"/>
                  <a:gd name="T18" fmla="*/ 7279 w 8245"/>
                  <a:gd name="T19" fmla="*/ 1511 h 2865"/>
                  <a:gd name="T20" fmla="*/ 7083 w 8245"/>
                  <a:gd name="T21" fmla="*/ 1391 h 2865"/>
                  <a:gd name="T22" fmla="*/ 6872 w 8245"/>
                  <a:gd name="T23" fmla="*/ 1275 h 2865"/>
                  <a:gd name="T24" fmla="*/ 6645 w 8245"/>
                  <a:gd name="T25" fmla="*/ 1163 h 2865"/>
                  <a:gd name="T26" fmla="*/ 6404 w 8245"/>
                  <a:gd name="T27" fmla="*/ 1055 h 2865"/>
                  <a:gd name="T28" fmla="*/ 6149 w 8245"/>
                  <a:gd name="T29" fmla="*/ 951 h 2865"/>
                  <a:gd name="T30" fmla="*/ 5880 w 8245"/>
                  <a:gd name="T31" fmla="*/ 852 h 2865"/>
                  <a:gd name="T32" fmla="*/ 5596 w 8245"/>
                  <a:gd name="T33" fmla="*/ 757 h 2865"/>
                  <a:gd name="T34" fmla="*/ 5072 w 8245"/>
                  <a:gd name="T35" fmla="*/ 602 h 2865"/>
                  <a:gd name="T36" fmla="*/ 4426 w 8245"/>
                  <a:gd name="T37" fmla="*/ 445 h 2865"/>
                  <a:gd name="T38" fmla="*/ 3738 w 8245"/>
                  <a:gd name="T39" fmla="*/ 308 h 2865"/>
                  <a:gd name="T40" fmla="*/ 3010 w 8245"/>
                  <a:gd name="T41" fmla="*/ 196 h 2865"/>
                  <a:gd name="T42" fmla="*/ 2246 w 8245"/>
                  <a:gd name="T43" fmla="*/ 108 h 2865"/>
                  <a:gd name="T44" fmla="*/ 1453 w 8245"/>
                  <a:gd name="T45" fmla="*/ 45 h 2865"/>
                  <a:gd name="T46" fmla="*/ 631 w 8245"/>
                  <a:gd name="T47" fmla="*/ 8 h 2865"/>
                  <a:gd name="T48" fmla="*/ 0 w 8245"/>
                  <a:gd name="T49" fmla="*/ 100 h 2865"/>
                  <a:gd name="T50" fmla="*/ 835 w 8245"/>
                  <a:gd name="T51" fmla="*/ 115 h 2865"/>
                  <a:gd name="T52" fmla="*/ 1648 w 8245"/>
                  <a:gd name="T53" fmla="*/ 157 h 2865"/>
                  <a:gd name="T54" fmla="*/ 2431 w 8245"/>
                  <a:gd name="T55" fmla="*/ 227 h 2865"/>
                  <a:gd name="T56" fmla="*/ 3181 w 8245"/>
                  <a:gd name="T57" fmla="*/ 321 h 2865"/>
                  <a:gd name="T58" fmla="*/ 3895 w 8245"/>
                  <a:gd name="T59" fmla="*/ 440 h 2865"/>
                  <a:gd name="T60" fmla="*/ 4570 w 8245"/>
                  <a:gd name="T61" fmla="*/ 580 h 2865"/>
                  <a:gd name="T62" fmla="*/ 5198 w 8245"/>
                  <a:gd name="T63" fmla="*/ 741 h 2865"/>
                  <a:gd name="T64" fmla="*/ 5637 w 8245"/>
                  <a:gd name="T65" fmla="*/ 876 h 2865"/>
                  <a:gd name="T66" fmla="*/ 5915 w 8245"/>
                  <a:gd name="T67" fmla="*/ 971 h 2865"/>
                  <a:gd name="T68" fmla="*/ 6177 w 8245"/>
                  <a:gd name="T69" fmla="*/ 1070 h 2865"/>
                  <a:gd name="T70" fmla="*/ 6426 w 8245"/>
                  <a:gd name="T71" fmla="*/ 1174 h 2865"/>
                  <a:gd name="T72" fmla="*/ 6661 w 8245"/>
                  <a:gd name="T73" fmla="*/ 1281 h 2865"/>
                  <a:gd name="T74" fmla="*/ 6879 w 8245"/>
                  <a:gd name="T75" fmla="*/ 1392 h 2865"/>
                  <a:gd name="T76" fmla="*/ 7083 w 8245"/>
                  <a:gd name="T77" fmla="*/ 1507 h 2865"/>
                  <a:gd name="T78" fmla="*/ 7270 w 8245"/>
                  <a:gd name="T79" fmla="*/ 1625 h 2865"/>
                  <a:gd name="T80" fmla="*/ 7440 w 8245"/>
                  <a:gd name="T81" fmla="*/ 1747 h 2865"/>
                  <a:gd name="T82" fmla="*/ 7594 w 8245"/>
                  <a:gd name="T83" fmla="*/ 1871 h 2865"/>
                  <a:gd name="T84" fmla="*/ 7729 w 8245"/>
                  <a:gd name="T85" fmla="*/ 1998 h 2865"/>
                  <a:gd name="T86" fmla="*/ 7845 w 8245"/>
                  <a:gd name="T87" fmla="*/ 2127 h 2865"/>
                  <a:gd name="T88" fmla="*/ 7943 w 8245"/>
                  <a:gd name="T89" fmla="*/ 2257 h 2865"/>
                  <a:gd name="T90" fmla="*/ 8022 w 8245"/>
                  <a:gd name="T91" fmla="*/ 2390 h 2865"/>
                  <a:gd name="T92" fmla="*/ 8082 w 8245"/>
                  <a:gd name="T93" fmla="*/ 2524 h 2865"/>
                  <a:gd name="T94" fmla="*/ 8122 w 8245"/>
                  <a:gd name="T95" fmla="*/ 2659 h 2865"/>
                  <a:gd name="T96" fmla="*/ 8142 w 8245"/>
                  <a:gd name="T97" fmla="*/ 279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5">
                    <a:moveTo>
                      <a:pt x="8245" y="2865"/>
                    </a:moveTo>
                    <a:lnTo>
                      <a:pt x="8244" y="2827"/>
                    </a:lnTo>
                    <a:lnTo>
                      <a:pt x="8242" y="2788"/>
                    </a:lnTo>
                    <a:lnTo>
                      <a:pt x="8239" y="2750"/>
                    </a:lnTo>
                    <a:lnTo>
                      <a:pt x="8234" y="2713"/>
                    </a:lnTo>
                    <a:lnTo>
                      <a:pt x="8227" y="2676"/>
                    </a:lnTo>
                    <a:lnTo>
                      <a:pt x="8219" y="2637"/>
                    </a:lnTo>
                    <a:lnTo>
                      <a:pt x="8211" y="2600"/>
                    </a:lnTo>
                    <a:lnTo>
                      <a:pt x="8201" y="2563"/>
                    </a:lnTo>
                    <a:lnTo>
                      <a:pt x="8188" y="2525"/>
                    </a:lnTo>
                    <a:lnTo>
                      <a:pt x="8176" y="2489"/>
                    </a:lnTo>
                    <a:lnTo>
                      <a:pt x="8162" y="2452"/>
                    </a:lnTo>
                    <a:lnTo>
                      <a:pt x="8146" y="2416"/>
                    </a:lnTo>
                    <a:lnTo>
                      <a:pt x="8130" y="2380"/>
                    </a:lnTo>
                    <a:lnTo>
                      <a:pt x="8111" y="2343"/>
                    </a:lnTo>
                    <a:lnTo>
                      <a:pt x="8091" y="2308"/>
                    </a:lnTo>
                    <a:lnTo>
                      <a:pt x="8071" y="2272"/>
                    </a:lnTo>
                    <a:lnTo>
                      <a:pt x="8049" y="2237"/>
                    </a:lnTo>
                    <a:lnTo>
                      <a:pt x="8026" y="2202"/>
                    </a:lnTo>
                    <a:lnTo>
                      <a:pt x="8002" y="2166"/>
                    </a:lnTo>
                    <a:lnTo>
                      <a:pt x="7977" y="2131"/>
                    </a:lnTo>
                    <a:lnTo>
                      <a:pt x="7950" y="2097"/>
                    </a:lnTo>
                    <a:lnTo>
                      <a:pt x="7922" y="2063"/>
                    </a:lnTo>
                    <a:lnTo>
                      <a:pt x="7894" y="2029"/>
                    </a:lnTo>
                    <a:lnTo>
                      <a:pt x="7864" y="1995"/>
                    </a:lnTo>
                    <a:lnTo>
                      <a:pt x="7832" y="1960"/>
                    </a:lnTo>
                    <a:lnTo>
                      <a:pt x="7800" y="1927"/>
                    </a:lnTo>
                    <a:lnTo>
                      <a:pt x="7766" y="1894"/>
                    </a:lnTo>
                    <a:lnTo>
                      <a:pt x="7732" y="1861"/>
                    </a:lnTo>
                    <a:lnTo>
                      <a:pt x="7696" y="1828"/>
                    </a:lnTo>
                    <a:lnTo>
                      <a:pt x="7659" y="1795"/>
                    </a:lnTo>
                    <a:lnTo>
                      <a:pt x="7620" y="1763"/>
                    </a:lnTo>
                    <a:lnTo>
                      <a:pt x="7582" y="1731"/>
                    </a:lnTo>
                    <a:lnTo>
                      <a:pt x="7542" y="1698"/>
                    </a:lnTo>
                    <a:lnTo>
                      <a:pt x="7501" y="1666"/>
                    </a:lnTo>
                    <a:lnTo>
                      <a:pt x="7459" y="1635"/>
                    </a:lnTo>
                    <a:lnTo>
                      <a:pt x="7415" y="1604"/>
                    </a:lnTo>
                    <a:lnTo>
                      <a:pt x="7371" y="1573"/>
                    </a:lnTo>
                    <a:lnTo>
                      <a:pt x="7326" y="1542"/>
                    </a:lnTo>
                    <a:lnTo>
                      <a:pt x="7279" y="1511"/>
                    </a:lnTo>
                    <a:lnTo>
                      <a:pt x="7232" y="1481"/>
                    </a:lnTo>
                    <a:lnTo>
                      <a:pt x="7183" y="1451"/>
                    </a:lnTo>
                    <a:lnTo>
                      <a:pt x="7134" y="1421"/>
                    </a:lnTo>
                    <a:lnTo>
                      <a:pt x="7083" y="1391"/>
                    </a:lnTo>
                    <a:lnTo>
                      <a:pt x="7032" y="1362"/>
                    </a:lnTo>
                    <a:lnTo>
                      <a:pt x="6980" y="1333"/>
                    </a:lnTo>
                    <a:lnTo>
                      <a:pt x="6927" y="1304"/>
                    </a:lnTo>
                    <a:lnTo>
                      <a:pt x="6872" y="1275"/>
                    </a:lnTo>
                    <a:lnTo>
                      <a:pt x="6817" y="1247"/>
                    </a:lnTo>
                    <a:lnTo>
                      <a:pt x="6761" y="1218"/>
                    </a:lnTo>
                    <a:lnTo>
                      <a:pt x="6704" y="1190"/>
                    </a:lnTo>
                    <a:lnTo>
                      <a:pt x="6645" y="1163"/>
                    </a:lnTo>
                    <a:lnTo>
                      <a:pt x="6587" y="1135"/>
                    </a:lnTo>
                    <a:lnTo>
                      <a:pt x="6527" y="1109"/>
                    </a:lnTo>
                    <a:lnTo>
                      <a:pt x="6466" y="1082"/>
                    </a:lnTo>
                    <a:lnTo>
                      <a:pt x="6404" y="1055"/>
                    </a:lnTo>
                    <a:lnTo>
                      <a:pt x="6341" y="1029"/>
                    </a:lnTo>
                    <a:lnTo>
                      <a:pt x="6278" y="1002"/>
                    </a:lnTo>
                    <a:lnTo>
                      <a:pt x="6214" y="976"/>
                    </a:lnTo>
                    <a:lnTo>
                      <a:pt x="6149" y="951"/>
                    </a:lnTo>
                    <a:lnTo>
                      <a:pt x="6083" y="925"/>
                    </a:lnTo>
                    <a:lnTo>
                      <a:pt x="6016" y="900"/>
                    </a:lnTo>
                    <a:lnTo>
                      <a:pt x="5948" y="876"/>
                    </a:lnTo>
                    <a:lnTo>
                      <a:pt x="5880" y="852"/>
                    </a:lnTo>
                    <a:lnTo>
                      <a:pt x="5809" y="827"/>
                    </a:lnTo>
                    <a:lnTo>
                      <a:pt x="5739" y="803"/>
                    </a:lnTo>
                    <a:lnTo>
                      <a:pt x="5668" y="780"/>
                    </a:lnTo>
                    <a:lnTo>
                      <a:pt x="5596" y="757"/>
                    </a:lnTo>
                    <a:lnTo>
                      <a:pt x="5524" y="734"/>
                    </a:lnTo>
                    <a:lnTo>
                      <a:pt x="5376" y="689"/>
                    </a:lnTo>
                    <a:lnTo>
                      <a:pt x="5225" y="645"/>
                    </a:lnTo>
                    <a:lnTo>
                      <a:pt x="5072" y="602"/>
                    </a:lnTo>
                    <a:lnTo>
                      <a:pt x="4914" y="561"/>
                    </a:lnTo>
                    <a:lnTo>
                      <a:pt x="4754" y="521"/>
                    </a:lnTo>
                    <a:lnTo>
                      <a:pt x="4592" y="482"/>
                    </a:lnTo>
                    <a:lnTo>
                      <a:pt x="4426" y="445"/>
                    </a:lnTo>
                    <a:lnTo>
                      <a:pt x="4258" y="409"/>
                    </a:lnTo>
                    <a:lnTo>
                      <a:pt x="4087" y="374"/>
                    </a:lnTo>
                    <a:lnTo>
                      <a:pt x="3914" y="341"/>
                    </a:lnTo>
                    <a:lnTo>
                      <a:pt x="3738" y="308"/>
                    </a:lnTo>
                    <a:lnTo>
                      <a:pt x="3559" y="278"/>
                    </a:lnTo>
                    <a:lnTo>
                      <a:pt x="3379" y="249"/>
                    </a:lnTo>
                    <a:lnTo>
                      <a:pt x="3196" y="221"/>
                    </a:lnTo>
                    <a:lnTo>
                      <a:pt x="3010" y="196"/>
                    </a:lnTo>
                    <a:lnTo>
                      <a:pt x="2823" y="171"/>
                    </a:lnTo>
                    <a:lnTo>
                      <a:pt x="2633" y="148"/>
                    </a:lnTo>
                    <a:lnTo>
                      <a:pt x="2441" y="127"/>
                    </a:lnTo>
                    <a:lnTo>
                      <a:pt x="2246" y="108"/>
                    </a:lnTo>
                    <a:lnTo>
                      <a:pt x="2052" y="89"/>
                    </a:lnTo>
                    <a:lnTo>
                      <a:pt x="1854" y="72"/>
                    </a:lnTo>
                    <a:lnTo>
                      <a:pt x="1654" y="57"/>
                    </a:lnTo>
                    <a:lnTo>
                      <a:pt x="1453" y="45"/>
                    </a:lnTo>
                    <a:lnTo>
                      <a:pt x="1250" y="33"/>
                    </a:lnTo>
                    <a:lnTo>
                      <a:pt x="1045" y="23"/>
                    </a:lnTo>
                    <a:lnTo>
                      <a:pt x="838" y="14"/>
                    </a:lnTo>
                    <a:lnTo>
                      <a:pt x="631" y="8"/>
                    </a:lnTo>
                    <a:lnTo>
                      <a:pt x="422" y="4"/>
                    </a:lnTo>
                    <a:lnTo>
                      <a:pt x="212" y="1"/>
                    </a:lnTo>
                    <a:lnTo>
                      <a:pt x="0" y="0"/>
                    </a:lnTo>
                    <a:lnTo>
                      <a:pt x="0" y="100"/>
                    </a:lnTo>
                    <a:lnTo>
                      <a:pt x="211" y="101"/>
                    </a:lnTo>
                    <a:lnTo>
                      <a:pt x="420" y="105"/>
                    </a:lnTo>
                    <a:lnTo>
                      <a:pt x="628" y="109"/>
                    </a:lnTo>
                    <a:lnTo>
                      <a:pt x="835" y="115"/>
                    </a:lnTo>
                    <a:lnTo>
                      <a:pt x="1040" y="123"/>
                    </a:lnTo>
                    <a:lnTo>
                      <a:pt x="1245" y="132"/>
                    </a:lnTo>
                    <a:lnTo>
                      <a:pt x="1447" y="144"/>
                    </a:lnTo>
                    <a:lnTo>
                      <a:pt x="1648" y="157"/>
                    </a:lnTo>
                    <a:lnTo>
                      <a:pt x="1845" y="173"/>
                    </a:lnTo>
                    <a:lnTo>
                      <a:pt x="2042" y="189"/>
                    </a:lnTo>
                    <a:lnTo>
                      <a:pt x="2237" y="207"/>
                    </a:lnTo>
                    <a:lnTo>
                      <a:pt x="2431" y="227"/>
                    </a:lnTo>
                    <a:lnTo>
                      <a:pt x="2622" y="248"/>
                    </a:lnTo>
                    <a:lnTo>
                      <a:pt x="2810" y="271"/>
                    </a:lnTo>
                    <a:lnTo>
                      <a:pt x="2997" y="295"/>
                    </a:lnTo>
                    <a:lnTo>
                      <a:pt x="3181" y="321"/>
                    </a:lnTo>
                    <a:lnTo>
                      <a:pt x="3364" y="349"/>
                    </a:lnTo>
                    <a:lnTo>
                      <a:pt x="3543" y="378"/>
                    </a:lnTo>
                    <a:lnTo>
                      <a:pt x="3721" y="408"/>
                    </a:lnTo>
                    <a:lnTo>
                      <a:pt x="3895" y="440"/>
                    </a:lnTo>
                    <a:lnTo>
                      <a:pt x="4069" y="473"/>
                    </a:lnTo>
                    <a:lnTo>
                      <a:pt x="4238" y="507"/>
                    </a:lnTo>
                    <a:lnTo>
                      <a:pt x="4405" y="543"/>
                    </a:lnTo>
                    <a:lnTo>
                      <a:pt x="4570" y="580"/>
                    </a:lnTo>
                    <a:lnTo>
                      <a:pt x="4731" y="619"/>
                    </a:lnTo>
                    <a:lnTo>
                      <a:pt x="4890" y="658"/>
                    </a:lnTo>
                    <a:lnTo>
                      <a:pt x="5046" y="700"/>
                    </a:lnTo>
                    <a:lnTo>
                      <a:pt x="5198" y="741"/>
                    </a:lnTo>
                    <a:lnTo>
                      <a:pt x="5348" y="785"/>
                    </a:lnTo>
                    <a:lnTo>
                      <a:pt x="5494" y="830"/>
                    </a:lnTo>
                    <a:lnTo>
                      <a:pt x="5566" y="852"/>
                    </a:lnTo>
                    <a:lnTo>
                      <a:pt x="5637" y="876"/>
                    </a:lnTo>
                    <a:lnTo>
                      <a:pt x="5707" y="898"/>
                    </a:lnTo>
                    <a:lnTo>
                      <a:pt x="5778" y="922"/>
                    </a:lnTo>
                    <a:lnTo>
                      <a:pt x="5847" y="946"/>
                    </a:lnTo>
                    <a:lnTo>
                      <a:pt x="5915" y="971"/>
                    </a:lnTo>
                    <a:lnTo>
                      <a:pt x="5982" y="995"/>
                    </a:lnTo>
                    <a:lnTo>
                      <a:pt x="6048" y="1020"/>
                    </a:lnTo>
                    <a:lnTo>
                      <a:pt x="6113" y="1044"/>
                    </a:lnTo>
                    <a:lnTo>
                      <a:pt x="6177" y="1070"/>
                    </a:lnTo>
                    <a:lnTo>
                      <a:pt x="6241" y="1095"/>
                    </a:lnTo>
                    <a:lnTo>
                      <a:pt x="6304" y="1121"/>
                    </a:lnTo>
                    <a:lnTo>
                      <a:pt x="6365" y="1147"/>
                    </a:lnTo>
                    <a:lnTo>
                      <a:pt x="6426" y="1174"/>
                    </a:lnTo>
                    <a:lnTo>
                      <a:pt x="6487" y="1200"/>
                    </a:lnTo>
                    <a:lnTo>
                      <a:pt x="6545" y="1227"/>
                    </a:lnTo>
                    <a:lnTo>
                      <a:pt x="6603" y="1253"/>
                    </a:lnTo>
                    <a:lnTo>
                      <a:pt x="6661" y="1281"/>
                    </a:lnTo>
                    <a:lnTo>
                      <a:pt x="6716" y="1308"/>
                    </a:lnTo>
                    <a:lnTo>
                      <a:pt x="6772" y="1336"/>
                    </a:lnTo>
                    <a:lnTo>
                      <a:pt x="6827" y="1364"/>
                    </a:lnTo>
                    <a:lnTo>
                      <a:pt x="6879" y="1392"/>
                    </a:lnTo>
                    <a:lnTo>
                      <a:pt x="6932" y="1421"/>
                    </a:lnTo>
                    <a:lnTo>
                      <a:pt x="6983" y="1449"/>
                    </a:lnTo>
                    <a:lnTo>
                      <a:pt x="7034" y="1478"/>
                    </a:lnTo>
                    <a:lnTo>
                      <a:pt x="7083" y="1507"/>
                    </a:lnTo>
                    <a:lnTo>
                      <a:pt x="7132" y="1537"/>
                    </a:lnTo>
                    <a:lnTo>
                      <a:pt x="7178" y="1566"/>
                    </a:lnTo>
                    <a:lnTo>
                      <a:pt x="7225" y="1596"/>
                    </a:lnTo>
                    <a:lnTo>
                      <a:pt x="7270" y="1625"/>
                    </a:lnTo>
                    <a:lnTo>
                      <a:pt x="7314" y="1656"/>
                    </a:lnTo>
                    <a:lnTo>
                      <a:pt x="7358" y="1686"/>
                    </a:lnTo>
                    <a:lnTo>
                      <a:pt x="7400" y="1716"/>
                    </a:lnTo>
                    <a:lnTo>
                      <a:pt x="7440" y="1747"/>
                    </a:lnTo>
                    <a:lnTo>
                      <a:pt x="7480" y="1777"/>
                    </a:lnTo>
                    <a:lnTo>
                      <a:pt x="7519" y="1808"/>
                    </a:lnTo>
                    <a:lnTo>
                      <a:pt x="7557" y="1839"/>
                    </a:lnTo>
                    <a:lnTo>
                      <a:pt x="7594" y="1871"/>
                    </a:lnTo>
                    <a:lnTo>
                      <a:pt x="7629" y="1902"/>
                    </a:lnTo>
                    <a:lnTo>
                      <a:pt x="7664" y="1934"/>
                    </a:lnTo>
                    <a:lnTo>
                      <a:pt x="7697" y="1966"/>
                    </a:lnTo>
                    <a:lnTo>
                      <a:pt x="7729" y="1998"/>
                    </a:lnTo>
                    <a:lnTo>
                      <a:pt x="7760" y="2030"/>
                    </a:lnTo>
                    <a:lnTo>
                      <a:pt x="7789" y="2062"/>
                    </a:lnTo>
                    <a:lnTo>
                      <a:pt x="7818" y="2094"/>
                    </a:lnTo>
                    <a:lnTo>
                      <a:pt x="7845" y="2127"/>
                    </a:lnTo>
                    <a:lnTo>
                      <a:pt x="7872" y="2159"/>
                    </a:lnTo>
                    <a:lnTo>
                      <a:pt x="7897" y="2192"/>
                    </a:lnTo>
                    <a:lnTo>
                      <a:pt x="7920" y="2224"/>
                    </a:lnTo>
                    <a:lnTo>
                      <a:pt x="7943" y="2257"/>
                    </a:lnTo>
                    <a:lnTo>
                      <a:pt x="7966" y="2291"/>
                    </a:lnTo>
                    <a:lnTo>
                      <a:pt x="7985" y="2324"/>
                    </a:lnTo>
                    <a:lnTo>
                      <a:pt x="8005" y="2357"/>
                    </a:lnTo>
                    <a:lnTo>
                      <a:pt x="8022" y="2390"/>
                    </a:lnTo>
                    <a:lnTo>
                      <a:pt x="8039" y="2423"/>
                    </a:lnTo>
                    <a:lnTo>
                      <a:pt x="8055" y="2457"/>
                    </a:lnTo>
                    <a:lnTo>
                      <a:pt x="8069" y="2490"/>
                    </a:lnTo>
                    <a:lnTo>
                      <a:pt x="8082" y="2524"/>
                    </a:lnTo>
                    <a:lnTo>
                      <a:pt x="8095" y="2558"/>
                    </a:lnTo>
                    <a:lnTo>
                      <a:pt x="8105" y="2592"/>
                    </a:lnTo>
                    <a:lnTo>
                      <a:pt x="8114" y="2625"/>
                    </a:lnTo>
                    <a:lnTo>
                      <a:pt x="8122" y="2659"/>
                    </a:lnTo>
                    <a:lnTo>
                      <a:pt x="8130" y="2693"/>
                    </a:lnTo>
                    <a:lnTo>
                      <a:pt x="8135" y="2727"/>
                    </a:lnTo>
                    <a:lnTo>
                      <a:pt x="8139" y="2761"/>
                    </a:lnTo>
                    <a:lnTo>
                      <a:pt x="8142" y="2796"/>
                    </a:lnTo>
                    <a:lnTo>
                      <a:pt x="8144" y="2830"/>
                    </a:lnTo>
                    <a:lnTo>
                      <a:pt x="8145" y="2865"/>
                    </a:lnTo>
                    <a:lnTo>
                      <a:pt x="8245"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00" name="Freeform 51"/>
              <p:cNvSpPr>
                <a:spLocks/>
              </p:cNvSpPr>
              <p:nvPr>
                <p:custDataLst>
                  <p:tags r:id="rId243"/>
                </p:custDataLst>
              </p:nvPr>
            </p:nvSpPr>
            <p:spPr bwMode="auto">
              <a:xfrm>
                <a:off x="737" y="3387"/>
                <a:ext cx="234" cy="73"/>
              </a:xfrm>
              <a:custGeom>
                <a:avLst/>
                <a:gdLst>
                  <a:gd name="T0" fmla="*/ 0 w 5393"/>
                  <a:gd name="T1" fmla="*/ 1426 h 1828"/>
                  <a:gd name="T2" fmla="*/ 1207 w 5393"/>
                  <a:gd name="T3" fmla="*/ 1828 h 1828"/>
                  <a:gd name="T4" fmla="*/ 4061 w 5393"/>
                  <a:gd name="T5" fmla="*/ 687 h 1828"/>
                  <a:gd name="T6" fmla="*/ 5393 w 5393"/>
                  <a:gd name="T7" fmla="*/ 1013 h 1828"/>
                  <a:gd name="T8" fmla="*/ 4690 w 5393"/>
                  <a:gd name="T9" fmla="*/ 0 h 1828"/>
                  <a:gd name="T10" fmla="*/ 1253 w 5393"/>
                  <a:gd name="T11" fmla="*/ 0 h 1828"/>
                  <a:gd name="T12" fmla="*/ 2690 w 5393"/>
                  <a:gd name="T13" fmla="*/ 352 h 1828"/>
                  <a:gd name="T14" fmla="*/ 0 w 5393"/>
                  <a:gd name="T15" fmla="*/ 1426 h 18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8">
                    <a:moveTo>
                      <a:pt x="0" y="1426"/>
                    </a:moveTo>
                    <a:lnTo>
                      <a:pt x="1207" y="1828"/>
                    </a:lnTo>
                    <a:lnTo>
                      <a:pt x="4061" y="687"/>
                    </a:lnTo>
                    <a:lnTo>
                      <a:pt x="5393" y="1013"/>
                    </a:lnTo>
                    <a:lnTo>
                      <a:pt x="4690" y="0"/>
                    </a:lnTo>
                    <a:lnTo>
                      <a:pt x="1253" y="0"/>
                    </a:lnTo>
                    <a:lnTo>
                      <a:pt x="2690" y="352"/>
                    </a:lnTo>
                    <a:lnTo>
                      <a:pt x="0"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01" name="Freeform 52"/>
              <p:cNvSpPr>
                <a:spLocks/>
              </p:cNvSpPr>
              <p:nvPr>
                <p:custDataLst>
                  <p:tags r:id="rId244"/>
                </p:custDataLst>
              </p:nvPr>
            </p:nvSpPr>
            <p:spPr bwMode="auto">
              <a:xfrm>
                <a:off x="480" y="3474"/>
                <a:ext cx="235" cy="73"/>
              </a:xfrm>
              <a:custGeom>
                <a:avLst/>
                <a:gdLst>
                  <a:gd name="T0" fmla="*/ 5394 w 5394"/>
                  <a:gd name="T1" fmla="*/ 401 h 1827"/>
                  <a:gd name="T2" fmla="*/ 4186 w 5394"/>
                  <a:gd name="T3" fmla="*/ 0 h 1827"/>
                  <a:gd name="T4" fmla="*/ 1332 w 5394"/>
                  <a:gd name="T5" fmla="*/ 1140 h 1827"/>
                  <a:gd name="T6" fmla="*/ 0 w 5394"/>
                  <a:gd name="T7" fmla="*/ 814 h 1827"/>
                  <a:gd name="T8" fmla="*/ 702 w 5394"/>
                  <a:gd name="T9" fmla="*/ 1827 h 1827"/>
                  <a:gd name="T10" fmla="*/ 4140 w 5394"/>
                  <a:gd name="T11" fmla="*/ 1827 h 1827"/>
                  <a:gd name="T12" fmla="*/ 2704 w 5394"/>
                  <a:gd name="T13" fmla="*/ 1476 h 1827"/>
                  <a:gd name="T14" fmla="*/ 5394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5394" y="401"/>
                    </a:moveTo>
                    <a:lnTo>
                      <a:pt x="4186" y="0"/>
                    </a:lnTo>
                    <a:lnTo>
                      <a:pt x="1332" y="1140"/>
                    </a:lnTo>
                    <a:lnTo>
                      <a:pt x="0" y="814"/>
                    </a:lnTo>
                    <a:lnTo>
                      <a:pt x="702" y="1827"/>
                    </a:lnTo>
                    <a:lnTo>
                      <a:pt x="4140" y="1827"/>
                    </a:lnTo>
                    <a:lnTo>
                      <a:pt x="2704" y="1476"/>
                    </a:lnTo>
                    <a:lnTo>
                      <a:pt x="5394"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02" name="Freeform 53"/>
              <p:cNvSpPr>
                <a:spLocks/>
              </p:cNvSpPr>
              <p:nvPr>
                <p:custDataLst>
                  <p:tags r:id="rId245"/>
                </p:custDataLst>
              </p:nvPr>
            </p:nvSpPr>
            <p:spPr bwMode="auto">
              <a:xfrm>
                <a:off x="493" y="3385"/>
                <a:ext cx="235" cy="73"/>
              </a:xfrm>
              <a:custGeom>
                <a:avLst/>
                <a:gdLst>
                  <a:gd name="T0" fmla="*/ 0 w 5394"/>
                  <a:gd name="T1" fmla="*/ 401 h 1827"/>
                  <a:gd name="T2" fmla="*/ 1208 w 5394"/>
                  <a:gd name="T3" fmla="*/ 0 h 1827"/>
                  <a:gd name="T4" fmla="*/ 4062 w 5394"/>
                  <a:gd name="T5" fmla="*/ 1140 h 1827"/>
                  <a:gd name="T6" fmla="*/ 5394 w 5394"/>
                  <a:gd name="T7" fmla="*/ 813 h 1827"/>
                  <a:gd name="T8" fmla="*/ 4691 w 5394"/>
                  <a:gd name="T9" fmla="*/ 1827 h 1827"/>
                  <a:gd name="T10" fmla="*/ 1253 w 5394"/>
                  <a:gd name="T11" fmla="*/ 1827 h 1827"/>
                  <a:gd name="T12" fmla="*/ 2690 w 5394"/>
                  <a:gd name="T13" fmla="*/ 1475 h 1827"/>
                  <a:gd name="T14" fmla="*/ 0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0" y="401"/>
                    </a:moveTo>
                    <a:lnTo>
                      <a:pt x="1208" y="0"/>
                    </a:lnTo>
                    <a:lnTo>
                      <a:pt x="4062" y="1140"/>
                    </a:lnTo>
                    <a:lnTo>
                      <a:pt x="5394" y="813"/>
                    </a:lnTo>
                    <a:lnTo>
                      <a:pt x="4691" y="1827"/>
                    </a:lnTo>
                    <a:lnTo>
                      <a:pt x="1253" y="1827"/>
                    </a:lnTo>
                    <a:lnTo>
                      <a:pt x="2690" y="1475"/>
                    </a:lnTo>
                    <a:lnTo>
                      <a:pt x="0"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03" name="Freeform 54"/>
              <p:cNvSpPr>
                <a:spLocks/>
              </p:cNvSpPr>
              <p:nvPr>
                <p:custDataLst>
                  <p:tags r:id="rId246"/>
                </p:custDataLst>
              </p:nvPr>
            </p:nvSpPr>
            <p:spPr bwMode="auto">
              <a:xfrm>
                <a:off x="729" y="3479"/>
                <a:ext cx="235" cy="73"/>
              </a:xfrm>
              <a:custGeom>
                <a:avLst/>
                <a:gdLst>
                  <a:gd name="T0" fmla="*/ 5393 w 5393"/>
                  <a:gd name="T1" fmla="*/ 1426 h 1827"/>
                  <a:gd name="T2" fmla="*/ 4186 w 5393"/>
                  <a:gd name="T3" fmla="*/ 1827 h 1827"/>
                  <a:gd name="T4" fmla="*/ 1332 w 5393"/>
                  <a:gd name="T5" fmla="*/ 687 h 1827"/>
                  <a:gd name="T6" fmla="*/ 0 w 5393"/>
                  <a:gd name="T7" fmla="*/ 1012 h 1827"/>
                  <a:gd name="T8" fmla="*/ 702 w 5393"/>
                  <a:gd name="T9" fmla="*/ 0 h 1827"/>
                  <a:gd name="T10" fmla="*/ 4140 w 5393"/>
                  <a:gd name="T11" fmla="*/ 0 h 1827"/>
                  <a:gd name="T12" fmla="*/ 2703 w 5393"/>
                  <a:gd name="T13" fmla="*/ 352 h 1827"/>
                  <a:gd name="T14" fmla="*/ 5393 w 5393"/>
                  <a:gd name="T15" fmla="*/ 1426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7">
                    <a:moveTo>
                      <a:pt x="5393" y="1426"/>
                    </a:moveTo>
                    <a:lnTo>
                      <a:pt x="4186" y="1827"/>
                    </a:lnTo>
                    <a:lnTo>
                      <a:pt x="1332" y="687"/>
                    </a:lnTo>
                    <a:lnTo>
                      <a:pt x="0" y="1012"/>
                    </a:lnTo>
                    <a:lnTo>
                      <a:pt x="702" y="0"/>
                    </a:lnTo>
                    <a:lnTo>
                      <a:pt x="4140" y="0"/>
                    </a:lnTo>
                    <a:lnTo>
                      <a:pt x="2703" y="352"/>
                    </a:lnTo>
                    <a:lnTo>
                      <a:pt x="5393"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804" name="Rectangle 55"/>
              <p:cNvSpPr>
                <a:spLocks noChangeArrowheads="1"/>
              </p:cNvSpPr>
              <p:nvPr>
                <p:custDataLst>
                  <p:tags r:id="rId247"/>
                </p:custDataLst>
              </p:nvPr>
            </p:nvSpPr>
            <p:spPr bwMode="auto">
              <a:xfrm>
                <a:off x="369"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805" name="Rectangle 56"/>
              <p:cNvSpPr>
                <a:spLocks noChangeArrowheads="1"/>
              </p:cNvSpPr>
              <p:nvPr>
                <p:custDataLst>
                  <p:tags r:id="rId248"/>
                </p:custDataLst>
              </p:nvPr>
            </p:nvSpPr>
            <p:spPr bwMode="auto">
              <a:xfrm>
                <a:off x="369"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806" name="Rectangle 57"/>
              <p:cNvSpPr>
                <a:spLocks noChangeArrowheads="1"/>
              </p:cNvSpPr>
              <p:nvPr>
                <p:custDataLst>
                  <p:tags r:id="rId249"/>
                </p:custDataLst>
              </p:nvPr>
            </p:nvSpPr>
            <p:spPr bwMode="auto">
              <a:xfrm>
                <a:off x="369"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807" name="Rectangle 58"/>
              <p:cNvSpPr>
                <a:spLocks noChangeArrowheads="1"/>
              </p:cNvSpPr>
              <p:nvPr>
                <p:custDataLst>
                  <p:tags r:id="rId250"/>
                </p:custDataLst>
              </p:nvPr>
            </p:nvSpPr>
            <p:spPr bwMode="auto">
              <a:xfrm>
                <a:off x="1082"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808" name="Rectangle 59"/>
              <p:cNvSpPr>
                <a:spLocks noChangeArrowheads="1"/>
              </p:cNvSpPr>
              <p:nvPr>
                <p:custDataLst>
                  <p:tags r:id="rId251"/>
                </p:custDataLst>
              </p:nvPr>
            </p:nvSpPr>
            <p:spPr bwMode="auto">
              <a:xfrm>
                <a:off x="1082"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809" name="Rectangle 60"/>
              <p:cNvSpPr>
                <a:spLocks noChangeArrowheads="1"/>
              </p:cNvSpPr>
              <p:nvPr>
                <p:custDataLst>
                  <p:tags r:id="rId252"/>
                </p:custDataLst>
              </p:nvPr>
            </p:nvSpPr>
            <p:spPr bwMode="auto">
              <a:xfrm>
                <a:off x="1082"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grpSp>
        <p:grpSp>
          <p:nvGrpSpPr>
            <p:cNvPr id="534" name="Group 61"/>
            <p:cNvGrpSpPr>
              <a:grpSpLocks/>
            </p:cNvGrpSpPr>
            <p:nvPr>
              <p:custDataLst>
                <p:tags r:id="rId7"/>
              </p:custDataLst>
            </p:nvPr>
          </p:nvGrpSpPr>
          <p:grpSpPr bwMode="auto">
            <a:xfrm>
              <a:off x="1998" y="2269"/>
              <a:ext cx="167" cy="95"/>
              <a:chOff x="369" y="3354"/>
              <a:chExt cx="717" cy="390"/>
            </a:xfrm>
          </p:grpSpPr>
          <p:sp>
            <p:nvSpPr>
              <p:cNvPr id="766" name="AutoShape 62"/>
              <p:cNvSpPr>
                <a:spLocks noChangeAspect="1" noChangeArrowheads="1" noTextEdit="1"/>
              </p:cNvSpPr>
              <p:nvPr>
                <p:custDataLst>
                  <p:tags r:id="rId209"/>
                </p:custDataLst>
              </p:nvPr>
            </p:nvSpPr>
            <p:spPr bwMode="auto">
              <a:xfrm>
                <a:off x="369" y="3354"/>
                <a:ext cx="717"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67" name="Freeform 63"/>
              <p:cNvSpPr>
                <a:spLocks/>
              </p:cNvSpPr>
              <p:nvPr>
                <p:custDataLst>
                  <p:tags r:id="rId210"/>
                </p:custDataLst>
              </p:nvPr>
            </p:nvSpPr>
            <p:spPr bwMode="auto">
              <a:xfrm>
                <a:off x="371" y="3517"/>
                <a:ext cx="713" cy="225"/>
              </a:xfrm>
              <a:custGeom>
                <a:avLst/>
                <a:gdLst>
                  <a:gd name="T0" fmla="*/ 16347 w 16389"/>
                  <a:gd name="T1" fmla="*/ 3102 h 5628"/>
                  <a:gd name="T2" fmla="*/ 16132 w 16389"/>
                  <a:gd name="T3" fmla="*/ 3518 h 5628"/>
                  <a:gd name="T4" fmla="*/ 15745 w 16389"/>
                  <a:gd name="T5" fmla="*/ 3909 h 5628"/>
                  <a:gd name="T6" fmla="*/ 15203 w 16389"/>
                  <a:gd name="T7" fmla="*/ 4273 h 5628"/>
                  <a:gd name="T8" fmla="*/ 14518 w 16389"/>
                  <a:gd name="T9" fmla="*/ 4605 h 5628"/>
                  <a:gd name="T10" fmla="*/ 13704 w 16389"/>
                  <a:gd name="T11" fmla="*/ 4898 h 5628"/>
                  <a:gd name="T12" fmla="*/ 12776 w 16389"/>
                  <a:gd name="T13" fmla="*/ 5148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8 h 5628"/>
                  <a:gd name="T30" fmla="*/ 2685 w 16389"/>
                  <a:gd name="T31" fmla="*/ 4898 h 5628"/>
                  <a:gd name="T32" fmla="*/ 1871 w 16389"/>
                  <a:gd name="T33" fmla="*/ 4605 h 5628"/>
                  <a:gd name="T34" fmla="*/ 1186 w 16389"/>
                  <a:gd name="T35" fmla="*/ 4273 h 5628"/>
                  <a:gd name="T36" fmla="*/ 644 w 16389"/>
                  <a:gd name="T37" fmla="*/ 3909 h 5628"/>
                  <a:gd name="T38" fmla="*/ 257 w 16389"/>
                  <a:gd name="T39" fmla="*/ 3518 h 5628"/>
                  <a:gd name="T40" fmla="*/ 42 w 16389"/>
                  <a:gd name="T41" fmla="*/ 3102 h 5628"/>
                  <a:gd name="T42" fmla="*/ 10 w 16389"/>
                  <a:gd name="T43" fmla="*/ 2669 h 5628"/>
                  <a:gd name="T44" fmla="*/ 165 w 16389"/>
                  <a:gd name="T45" fmla="*/ 2247 h 5628"/>
                  <a:gd name="T46" fmla="*/ 496 w 16389"/>
                  <a:gd name="T47" fmla="*/ 1847 h 5628"/>
                  <a:gd name="T48" fmla="*/ 989 w 16389"/>
                  <a:gd name="T49" fmla="*/ 1474 h 5628"/>
                  <a:gd name="T50" fmla="*/ 1628 w 16389"/>
                  <a:gd name="T51" fmla="*/ 1131 h 5628"/>
                  <a:gd name="T52" fmla="*/ 2400 w 16389"/>
                  <a:gd name="T53" fmla="*/ 825 h 5628"/>
                  <a:gd name="T54" fmla="*/ 3292 w 16389"/>
                  <a:gd name="T55" fmla="*/ 560 h 5628"/>
                  <a:gd name="T56" fmla="*/ 4289 w 16389"/>
                  <a:gd name="T57" fmla="*/ 340 h 5628"/>
                  <a:gd name="T58" fmla="*/ 5378 w 16389"/>
                  <a:gd name="T59" fmla="*/ 171 h 5628"/>
                  <a:gd name="T60" fmla="*/ 6543 w 16389"/>
                  <a:gd name="T61" fmla="*/ 57 h 5628"/>
                  <a:gd name="T62" fmla="*/ 7773 w 16389"/>
                  <a:gd name="T63" fmla="*/ 4 h 5628"/>
                  <a:gd name="T64" fmla="*/ 9032 w 16389"/>
                  <a:gd name="T65" fmla="*/ 14 h 5628"/>
                  <a:gd name="T66" fmla="*/ 10241 w 16389"/>
                  <a:gd name="T67" fmla="*/ 89 h 5628"/>
                  <a:gd name="T68" fmla="*/ 11383 w 16389"/>
                  <a:gd name="T69" fmla="*/ 221 h 5628"/>
                  <a:gd name="T70" fmla="*/ 12443 w 16389"/>
                  <a:gd name="T71" fmla="*/ 408 h 5628"/>
                  <a:gd name="T72" fmla="*/ 13407 w 16389"/>
                  <a:gd name="T73" fmla="*/ 643 h 5628"/>
                  <a:gd name="T74" fmla="*/ 14260 w 16389"/>
                  <a:gd name="T75" fmla="*/ 922 h 5628"/>
                  <a:gd name="T76" fmla="*/ 14990 w 16389"/>
                  <a:gd name="T77" fmla="*/ 1241 h 5628"/>
                  <a:gd name="T78" fmla="*/ 15581 w 16389"/>
                  <a:gd name="T79" fmla="*/ 1595 h 5628"/>
                  <a:gd name="T80" fmla="*/ 16022 w 16389"/>
                  <a:gd name="T81" fmla="*/ 1978 h 5628"/>
                  <a:gd name="T82" fmla="*/ 16296 w 16389"/>
                  <a:gd name="T83" fmla="*/ 2386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3"/>
                    </a:lnTo>
                    <a:lnTo>
                      <a:pt x="16224" y="3381"/>
                    </a:lnTo>
                    <a:lnTo>
                      <a:pt x="16132" y="3518"/>
                    </a:lnTo>
                    <a:lnTo>
                      <a:pt x="16022" y="3651"/>
                    </a:lnTo>
                    <a:lnTo>
                      <a:pt x="15893" y="3782"/>
                    </a:lnTo>
                    <a:lnTo>
                      <a:pt x="15745" y="3909"/>
                    </a:lnTo>
                    <a:lnTo>
                      <a:pt x="15581" y="4034"/>
                    </a:lnTo>
                    <a:lnTo>
                      <a:pt x="15400" y="4155"/>
                    </a:lnTo>
                    <a:lnTo>
                      <a:pt x="15203" y="4273"/>
                    </a:lnTo>
                    <a:lnTo>
                      <a:pt x="14990" y="4387"/>
                    </a:lnTo>
                    <a:lnTo>
                      <a:pt x="14761" y="4498"/>
                    </a:lnTo>
                    <a:lnTo>
                      <a:pt x="14518" y="4605"/>
                    </a:lnTo>
                    <a:lnTo>
                      <a:pt x="14260" y="4706"/>
                    </a:lnTo>
                    <a:lnTo>
                      <a:pt x="13989" y="4804"/>
                    </a:lnTo>
                    <a:lnTo>
                      <a:pt x="13704" y="4898"/>
                    </a:lnTo>
                    <a:lnTo>
                      <a:pt x="13407" y="4986"/>
                    </a:lnTo>
                    <a:lnTo>
                      <a:pt x="13096" y="5069"/>
                    </a:lnTo>
                    <a:lnTo>
                      <a:pt x="12776" y="5148"/>
                    </a:lnTo>
                    <a:lnTo>
                      <a:pt x="12443" y="5222"/>
                    </a:lnTo>
                    <a:lnTo>
                      <a:pt x="12100" y="5289"/>
                    </a:lnTo>
                    <a:lnTo>
                      <a:pt x="11746" y="5351"/>
                    </a:lnTo>
                    <a:lnTo>
                      <a:pt x="11383" y="5408"/>
                    </a:lnTo>
                    <a:lnTo>
                      <a:pt x="11011" y="5458"/>
                    </a:lnTo>
                    <a:lnTo>
                      <a:pt x="10631" y="5502"/>
                    </a:lnTo>
                    <a:lnTo>
                      <a:pt x="10241" y="5540"/>
                    </a:lnTo>
                    <a:lnTo>
                      <a:pt x="9846" y="5571"/>
                    </a:lnTo>
                    <a:lnTo>
                      <a:pt x="9442" y="5596"/>
                    </a:lnTo>
                    <a:lnTo>
                      <a:pt x="9032" y="5614"/>
                    </a:lnTo>
                    <a:lnTo>
                      <a:pt x="8616" y="5625"/>
                    </a:lnTo>
                    <a:lnTo>
                      <a:pt x="8195" y="5628"/>
                    </a:lnTo>
                    <a:lnTo>
                      <a:pt x="7773" y="5625"/>
                    </a:lnTo>
                    <a:lnTo>
                      <a:pt x="7357" y="5614"/>
                    </a:lnTo>
                    <a:lnTo>
                      <a:pt x="6947" y="5596"/>
                    </a:lnTo>
                    <a:lnTo>
                      <a:pt x="6543" y="5571"/>
                    </a:lnTo>
                    <a:lnTo>
                      <a:pt x="6148" y="5540"/>
                    </a:lnTo>
                    <a:lnTo>
                      <a:pt x="5758" y="5502"/>
                    </a:lnTo>
                    <a:lnTo>
                      <a:pt x="5378" y="5458"/>
                    </a:lnTo>
                    <a:lnTo>
                      <a:pt x="5006" y="5408"/>
                    </a:lnTo>
                    <a:lnTo>
                      <a:pt x="4643" y="5351"/>
                    </a:lnTo>
                    <a:lnTo>
                      <a:pt x="4289" y="5289"/>
                    </a:lnTo>
                    <a:lnTo>
                      <a:pt x="3946" y="5222"/>
                    </a:lnTo>
                    <a:lnTo>
                      <a:pt x="3613" y="5148"/>
                    </a:lnTo>
                    <a:lnTo>
                      <a:pt x="3292" y="5069"/>
                    </a:lnTo>
                    <a:lnTo>
                      <a:pt x="2982" y="4986"/>
                    </a:lnTo>
                    <a:lnTo>
                      <a:pt x="2685" y="4898"/>
                    </a:lnTo>
                    <a:lnTo>
                      <a:pt x="2400" y="4804"/>
                    </a:lnTo>
                    <a:lnTo>
                      <a:pt x="2129" y="4706"/>
                    </a:lnTo>
                    <a:lnTo>
                      <a:pt x="1871" y="4605"/>
                    </a:lnTo>
                    <a:lnTo>
                      <a:pt x="1628" y="4498"/>
                    </a:lnTo>
                    <a:lnTo>
                      <a:pt x="1399" y="4387"/>
                    </a:lnTo>
                    <a:lnTo>
                      <a:pt x="1186" y="4273"/>
                    </a:lnTo>
                    <a:lnTo>
                      <a:pt x="989" y="4155"/>
                    </a:lnTo>
                    <a:lnTo>
                      <a:pt x="808" y="4034"/>
                    </a:lnTo>
                    <a:lnTo>
                      <a:pt x="644" y="3909"/>
                    </a:lnTo>
                    <a:lnTo>
                      <a:pt x="496" y="3782"/>
                    </a:lnTo>
                    <a:lnTo>
                      <a:pt x="367" y="3651"/>
                    </a:lnTo>
                    <a:lnTo>
                      <a:pt x="257" y="3518"/>
                    </a:lnTo>
                    <a:lnTo>
                      <a:pt x="165" y="3381"/>
                    </a:lnTo>
                    <a:lnTo>
                      <a:pt x="93" y="3243"/>
                    </a:lnTo>
                    <a:lnTo>
                      <a:pt x="42" y="3102"/>
                    </a:lnTo>
                    <a:lnTo>
                      <a:pt x="10" y="2959"/>
                    </a:lnTo>
                    <a:lnTo>
                      <a:pt x="0" y="2814"/>
                    </a:lnTo>
                    <a:lnTo>
                      <a:pt x="10" y="2669"/>
                    </a:lnTo>
                    <a:lnTo>
                      <a:pt x="42" y="2526"/>
                    </a:lnTo>
                    <a:lnTo>
                      <a:pt x="93" y="2386"/>
                    </a:lnTo>
                    <a:lnTo>
                      <a:pt x="165" y="2247"/>
                    </a:lnTo>
                    <a:lnTo>
                      <a:pt x="257" y="2111"/>
                    </a:lnTo>
                    <a:lnTo>
                      <a:pt x="367" y="1978"/>
                    </a:lnTo>
                    <a:lnTo>
                      <a:pt x="496" y="1847"/>
                    </a:lnTo>
                    <a:lnTo>
                      <a:pt x="644" y="1719"/>
                    </a:lnTo>
                    <a:lnTo>
                      <a:pt x="808" y="1595"/>
                    </a:lnTo>
                    <a:lnTo>
                      <a:pt x="989" y="1474"/>
                    </a:lnTo>
                    <a:lnTo>
                      <a:pt x="1186" y="1356"/>
                    </a:lnTo>
                    <a:lnTo>
                      <a:pt x="1399" y="1241"/>
                    </a:lnTo>
                    <a:lnTo>
                      <a:pt x="1628" y="1131"/>
                    </a:lnTo>
                    <a:lnTo>
                      <a:pt x="1871" y="1024"/>
                    </a:lnTo>
                    <a:lnTo>
                      <a:pt x="2129" y="922"/>
                    </a:lnTo>
                    <a:lnTo>
                      <a:pt x="2400" y="825"/>
                    </a:lnTo>
                    <a:lnTo>
                      <a:pt x="2685" y="732"/>
                    </a:lnTo>
                    <a:lnTo>
                      <a:pt x="2982" y="643"/>
                    </a:lnTo>
                    <a:lnTo>
                      <a:pt x="3292" y="560"/>
                    </a:lnTo>
                    <a:lnTo>
                      <a:pt x="3613" y="481"/>
                    </a:lnTo>
                    <a:lnTo>
                      <a:pt x="3946" y="408"/>
                    </a:lnTo>
                    <a:lnTo>
                      <a:pt x="4289" y="340"/>
                    </a:lnTo>
                    <a:lnTo>
                      <a:pt x="4643" y="277"/>
                    </a:lnTo>
                    <a:lnTo>
                      <a:pt x="5006" y="221"/>
                    </a:lnTo>
                    <a:lnTo>
                      <a:pt x="5378" y="171"/>
                    </a:lnTo>
                    <a:lnTo>
                      <a:pt x="5758" y="126"/>
                    </a:lnTo>
                    <a:lnTo>
                      <a:pt x="6148" y="89"/>
                    </a:lnTo>
                    <a:lnTo>
                      <a:pt x="6543" y="57"/>
                    </a:lnTo>
                    <a:lnTo>
                      <a:pt x="6947" y="32"/>
                    </a:lnTo>
                    <a:lnTo>
                      <a:pt x="7357" y="14"/>
                    </a:lnTo>
                    <a:lnTo>
                      <a:pt x="7773" y="4"/>
                    </a:lnTo>
                    <a:lnTo>
                      <a:pt x="8195" y="0"/>
                    </a:lnTo>
                    <a:lnTo>
                      <a:pt x="8616" y="4"/>
                    </a:lnTo>
                    <a:lnTo>
                      <a:pt x="9032" y="14"/>
                    </a:lnTo>
                    <a:lnTo>
                      <a:pt x="9442" y="32"/>
                    </a:lnTo>
                    <a:lnTo>
                      <a:pt x="9846" y="57"/>
                    </a:lnTo>
                    <a:lnTo>
                      <a:pt x="10241" y="89"/>
                    </a:lnTo>
                    <a:lnTo>
                      <a:pt x="10631" y="126"/>
                    </a:lnTo>
                    <a:lnTo>
                      <a:pt x="11011" y="171"/>
                    </a:lnTo>
                    <a:lnTo>
                      <a:pt x="11383" y="221"/>
                    </a:lnTo>
                    <a:lnTo>
                      <a:pt x="11746" y="277"/>
                    </a:lnTo>
                    <a:lnTo>
                      <a:pt x="12100" y="340"/>
                    </a:lnTo>
                    <a:lnTo>
                      <a:pt x="12443" y="408"/>
                    </a:lnTo>
                    <a:lnTo>
                      <a:pt x="12776" y="481"/>
                    </a:lnTo>
                    <a:lnTo>
                      <a:pt x="13096" y="560"/>
                    </a:lnTo>
                    <a:lnTo>
                      <a:pt x="13407" y="643"/>
                    </a:lnTo>
                    <a:lnTo>
                      <a:pt x="13704" y="732"/>
                    </a:lnTo>
                    <a:lnTo>
                      <a:pt x="13989" y="825"/>
                    </a:lnTo>
                    <a:lnTo>
                      <a:pt x="14260" y="922"/>
                    </a:lnTo>
                    <a:lnTo>
                      <a:pt x="14518" y="1024"/>
                    </a:lnTo>
                    <a:lnTo>
                      <a:pt x="14761" y="1131"/>
                    </a:lnTo>
                    <a:lnTo>
                      <a:pt x="14990" y="1241"/>
                    </a:lnTo>
                    <a:lnTo>
                      <a:pt x="15203" y="1356"/>
                    </a:lnTo>
                    <a:lnTo>
                      <a:pt x="15400" y="1474"/>
                    </a:lnTo>
                    <a:lnTo>
                      <a:pt x="15581" y="1595"/>
                    </a:lnTo>
                    <a:lnTo>
                      <a:pt x="15745" y="1719"/>
                    </a:lnTo>
                    <a:lnTo>
                      <a:pt x="15893" y="1847"/>
                    </a:lnTo>
                    <a:lnTo>
                      <a:pt x="16022" y="1978"/>
                    </a:lnTo>
                    <a:lnTo>
                      <a:pt x="16132" y="2111"/>
                    </a:lnTo>
                    <a:lnTo>
                      <a:pt x="16224" y="2247"/>
                    </a:lnTo>
                    <a:lnTo>
                      <a:pt x="16296" y="2386"/>
                    </a:lnTo>
                    <a:lnTo>
                      <a:pt x="16347" y="2526"/>
                    </a:lnTo>
                    <a:lnTo>
                      <a:pt x="16379" y="2669"/>
                    </a:lnTo>
                    <a:lnTo>
                      <a:pt x="16389" y="2814"/>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68" name="Freeform 64"/>
              <p:cNvSpPr>
                <a:spLocks/>
              </p:cNvSpPr>
              <p:nvPr>
                <p:custDataLst>
                  <p:tags r:id="rId211"/>
                </p:custDataLst>
              </p:nvPr>
            </p:nvSpPr>
            <p:spPr bwMode="auto">
              <a:xfrm>
                <a:off x="725" y="3629"/>
                <a:ext cx="361" cy="115"/>
              </a:xfrm>
              <a:custGeom>
                <a:avLst/>
                <a:gdLst>
                  <a:gd name="T0" fmla="*/ 472 w 8295"/>
                  <a:gd name="T1" fmla="*/ 2861 h 2865"/>
                  <a:gd name="T2" fmla="*/ 1300 w 8295"/>
                  <a:gd name="T3" fmla="*/ 2832 h 2865"/>
                  <a:gd name="T4" fmla="*/ 2102 w 8295"/>
                  <a:gd name="T5" fmla="*/ 2776 h 2865"/>
                  <a:gd name="T6" fmla="*/ 2873 w 8295"/>
                  <a:gd name="T7" fmla="*/ 2694 h 2865"/>
                  <a:gd name="T8" fmla="*/ 3609 w 8295"/>
                  <a:gd name="T9" fmla="*/ 2587 h 2865"/>
                  <a:gd name="T10" fmla="*/ 4308 w 8295"/>
                  <a:gd name="T11" fmla="*/ 2456 h 2865"/>
                  <a:gd name="T12" fmla="*/ 4964 w 8295"/>
                  <a:gd name="T13" fmla="*/ 2304 h 2865"/>
                  <a:gd name="T14" fmla="*/ 5426 w 8295"/>
                  <a:gd name="T15" fmla="*/ 2177 h 2865"/>
                  <a:gd name="T16" fmla="*/ 5718 w 8295"/>
                  <a:gd name="T17" fmla="*/ 2085 h 2865"/>
                  <a:gd name="T18" fmla="*/ 5998 w 8295"/>
                  <a:gd name="T19" fmla="*/ 1989 h 2865"/>
                  <a:gd name="T20" fmla="*/ 6264 w 8295"/>
                  <a:gd name="T21" fmla="*/ 1889 h 2865"/>
                  <a:gd name="T22" fmla="*/ 6516 w 8295"/>
                  <a:gd name="T23" fmla="*/ 1783 h 2865"/>
                  <a:gd name="T24" fmla="*/ 6754 w 8295"/>
                  <a:gd name="T25" fmla="*/ 1675 h 2865"/>
                  <a:gd name="T26" fmla="*/ 6977 w 8295"/>
                  <a:gd name="T27" fmla="*/ 1561 h 2865"/>
                  <a:gd name="T28" fmla="*/ 7184 w 8295"/>
                  <a:gd name="T29" fmla="*/ 1444 h 2865"/>
                  <a:gd name="T30" fmla="*/ 7376 w 8295"/>
                  <a:gd name="T31" fmla="*/ 1323 h 2865"/>
                  <a:gd name="T32" fmla="*/ 7551 w 8295"/>
                  <a:gd name="T33" fmla="*/ 1199 h 2865"/>
                  <a:gd name="T34" fmla="*/ 7709 w 8295"/>
                  <a:gd name="T35" fmla="*/ 1070 h 2865"/>
                  <a:gd name="T36" fmla="*/ 7850 w 8295"/>
                  <a:gd name="T37" fmla="*/ 938 h 2865"/>
                  <a:gd name="T38" fmla="*/ 7972 w 8295"/>
                  <a:gd name="T39" fmla="*/ 802 h 2865"/>
                  <a:gd name="T40" fmla="*/ 8076 w 8295"/>
                  <a:gd name="T41" fmla="*/ 663 h 2865"/>
                  <a:gd name="T42" fmla="*/ 8161 w 8295"/>
                  <a:gd name="T43" fmla="*/ 522 h 2865"/>
                  <a:gd name="T44" fmla="*/ 8226 w 8295"/>
                  <a:gd name="T45" fmla="*/ 376 h 2865"/>
                  <a:gd name="T46" fmla="*/ 8269 w 8295"/>
                  <a:gd name="T47" fmla="*/ 228 h 2865"/>
                  <a:gd name="T48" fmla="*/ 8292 w 8295"/>
                  <a:gd name="T49" fmla="*/ 77 h 2865"/>
                  <a:gd name="T50" fmla="*/ 8194 w 8295"/>
                  <a:gd name="T51" fmla="*/ 35 h 2865"/>
                  <a:gd name="T52" fmla="*/ 8180 w 8295"/>
                  <a:gd name="T53" fmla="*/ 172 h 2865"/>
                  <a:gd name="T54" fmla="*/ 8145 w 8295"/>
                  <a:gd name="T55" fmla="*/ 307 h 2865"/>
                  <a:gd name="T56" fmla="*/ 8089 w 8295"/>
                  <a:gd name="T57" fmla="*/ 442 h 2865"/>
                  <a:gd name="T58" fmla="*/ 8016 w 8295"/>
                  <a:gd name="T59" fmla="*/ 574 h 2865"/>
                  <a:gd name="T60" fmla="*/ 7922 w 8295"/>
                  <a:gd name="T61" fmla="*/ 706 h 2865"/>
                  <a:gd name="T62" fmla="*/ 7810 w 8295"/>
                  <a:gd name="T63" fmla="*/ 835 h 2865"/>
                  <a:gd name="T64" fmla="*/ 7679 w 8295"/>
                  <a:gd name="T65" fmla="*/ 963 h 2865"/>
                  <a:gd name="T66" fmla="*/ 7530 w 8295"/>
                  <a:gd name="T67" fmla="*/ 1088 h 2865"/>
                  <a:gd name="T68" fmla="*/ 7364 w 8295"/>
                  <a:gd name="T69" fmla="*/ 1210 h 2865"/>
                  <a:gd name="T70" fmla="*/ 7182 w 8295"/>
                  <a:gd name="T71" fmla="*/ 1329 h 2865"/>
                  <a:gd name="T72" fmla="*/ 6982 w 8295"/>
                  <a:gd name="T73" fmla="*/ 1444 h 2865"/>
                  <a:gd name="T74" fmla="*/ 6766 w 8295"/>
                  <a:gd name="T75" fmla="*/ 1557 h 2865"/>
                  <a:gd name="T76" fmla="*/ 6537 w 8295"/>
                  <a:gd name="T77" fmla="*/ 1665 h 2865"/>
                  <a:gd name="T78" fmla="*/ 6290 w 8295"/>
                  <a:gd name="T79" fmla="*/ 1770 h 2865"/>
                  <a:gd name="T80" fmla="*/ 6032 w 8295"/>
                  <a:gd name="T81" fmla="*/ 1870 h 2865"/>
                  <a:gd name="T82" fmla="*/ 5757 w 8295"/>
                  <a:gd name="T83" fmla="*/ 1967 h 2865"/>
                  <a:gd name="T84" fmla="*/ 5471 w 8295"/>
                  <a:gd name="T85" fmla="*/ 2058 h 2865"/>
                  <a:gd name="T86" fmla="*/ 5096 w 8295"/>
                  <a:gd name="T87" fmla="*/ 2165 h 2865"/>
                  <a:gd name="T88" fmla="*/ 4455 w 8295"/>
                  <a:gd name="T89" fmla="*/ 2323 h 2865"/>
                  <a:gd name="T90" fmla="*/ 3771 w 8295"/>
                  <a:gd name="T91" fmla="*/ 2457 h 2865"/>
                  <a:gd name="T92" fmla="*/ 3047 w 8295"/>
                  <a:gd name="T93" fmla="*/ 2570 h 2865"/>
                  <a:gd name="T94" fmla="*/ 2287 w 8295"/>
                  <a:gd name="T95" fmla="*/ 2658 h 2865"/>
                  <a:gd name="T96" fmla="*/ 1497 w 8295"/>
                  <a:gd name="T97" fmla="*/ 2721 h 2865"/>
                  <a:gd name="T98" fmla="*/ 678 w 8295"/>
                  <a:gd name="T99" fmla="*/ 2756 h 2865"/>
                  <a:gd name="T100" fmla="*/ 50 w 8295"/>
                  <a:gd name="T101" fmla="*/ 2765 h 2865"/>
                  <a:gd name="T102" fmla="*/ 33 w 8295"/>
                  <a:gd name="T103" fmla="*/ 2767 h 2865"/>
                  <a:gd name="T104" fmla="*/ 15 w 8295"/>
                  <a:gd name="T105" fmla="*/ 2777 h 2865"/>
                  <a:gd name="T106" fmla="*/ 0 w 8295"/>
                  <a:gd name="T107" fmla="*/ 2805 h 2865"/>
                  <a:gd name="T108" fmla="*/ 6 w 8295"/>
                  <a:gd name="T109" fmla="*/ 2842 h 2865"/>
                  <a:gd name="T110" fmla="*/ 23 w 8295"/>
                  <a:gd name="T111" fmla="*/ 2859 h 2865"/>
                  <a:gd name="T112" fmla="*/ 43 w 8295"/>
                  <a:gd name="T113" fmla="*/ 2865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5">
                    <a:moveTo>
                      <a:pt x="50" y="2865"/>
                    </a:moveTo>
                    <a:lnTo>
                      <a:pt x="50" y="2865"/>
                    </a:lnTo>
                    <a:lnTo>
                      <a:pt x="262" y="2864"/>
                    </a:lnTo>
                    <a:lnTo>
                      <a:pt x="472" y="2861"/>
                    </a:lnTo>
                    <a:lnTo>
                      <a:pt x="681" y="2857"/>
                    </a:lnTo>
                    <a:lnTo>
                      <a:pt x="888" y="2851"/>
                    </a:lnTo>
                    <a:lnTo>
                      <a:pt x="1095" y="2842"/>
                    </a:lnTo>
                    <a:lnTo>
                      <a:pt x="1300" y="2832"/>
                    </a:lnTo>
                    <a:lnTo>
                      <a:pt x="1503" y="2820"/>
                    </a:lnTo>
                    <a:lnTo>
                      <a:pt x="1704" y="2808"/>
                    </a:lnTo>
                    <a:lnTo>
                      <a:pt x="1904" y="2793"/>
                    </a:lnTo>
                    <a:lnTo>
                      <a:pt x="2102" y="2776"/>
                    </a:lnTo>
                    <a:lnTo>
                      <a:pt x="2296" y="2757"/>
                    </a:lnTo>
                    <a:lnTo>
                      <a:pt x="2491" y="2738"/>
                    </a:lnTo>
                    <a:lnTo>
                      <a:pt x="2683" y="2717"/>
                    </a:lnTo>
                    <a:lnTo>
                      <a:pt x="2873" y="2694"/>
                    </a:lnTo>
                    <a:lnTo>
                      <a:pt x="3060" y="2669"/>
                    </a:lnTo>
                    <a:lnTo>
                      <a:pt x="3246" y="2644"/>
                    </a:lnTo>
                    <a:lnTo>
                      <a:pt x="3429" y="2616"/>
                    </a:lnTo>
                    <a:lnTo>
                      <a:pt x="3609" y="2587"/>
                    </a:lnTo>
                    <a:lnTo>
                      <a:pt x="3788" y="2557"/>
                    </a:lnTo>
                    <a:lnTo>
                      <a:pt x="3964" y="2524"/>
                    </a:lnTo>
                    <a:lnTo>
                      <a:pt x="4137" y="2491"/>
                    </a:lnTo>
                    <a:lnTo>
                      <a:pt x="4308" y="2456"/>
                    </a:lnTo>
                    <a:lnTo>
                      <a:pt x="4476" y="2420"/>
                    </a:lnTo>
                    <a:lnTo>
                      <a:pt x="4642" y="2383"/>
                    </a:lnTo>
                    <a:lnTo>
                      <a:pt x="4804" y="2344"/>
                    </a:lnTo>
                    <a:lnTo>
                      <a:pt x="4964" y="2304"/>
                    </a:lnTo>
                    <a:lnTo>
                      <a:pt x="5122" y="2263"/>
                    </a:lnTo>
                    <a:lnTo>
                      <a:pt x="5275" y="2220"/>
                    </a:lnTo>
                    <a:lnTo>
                      <a:pt x="5351" y="2198"/>
                    </a:lnTo>
                    <a:lnTo>
                      <a:pt x="5426" y="2177"/>
                    </a:lnTo>
                    <a:lnTo>
                      <a:pt x="5500" y="2154"/>
                    </a:lnTo>
                    <a:lnTo>
                      <a:pt x="5574" y="2131"/>
                    </a:lnTo>
                    <a:lnTo>
                      <a:pt x="5646" y="2108"/>
                    </a:lnTo>
                    <a:lnTo>
                      <a:pt x="5718" y="2085"/>
                    </a:lnTo>
                    <a:lnTo>
                      <a:pt x="5789" y="2062"/>
                    </a:lnTo>
                    <a:lnTo>
                      <a:pt x="5859" y="2038"/>
                    </a:lnTo>
                    <a:lnTo>
                      <a:pt x="5930" y="2013"/>
                    </a:lnTo>
                    <a:lnTo>
                      <a:pt x="5998" y="1989"/>
                    </a:lnTo>
                    <a:lnTo>
                      <a:pt x="6066" y="1965"/>
                    </a:lnTo>
                    <a:lnTo>
                      <a:pt x="6133" y="1940"/>
                    </a:lnTo>
                    <a:lnTo>
                      <a:pt x="6199" y="1914"/>
                    </a:lnTo>
                    <a:lnTo>
                      <a:pt x="6264" y="1889"/>
                    </a:lnTo>
                    <a:lnTo>
                      <a:pt x="6328" y="1863"/>
                    </a:lnTo>
                    <a:lnTo>
                      <a:pt x="6391" y="1836"/>
                    </a:lnTo>
                    <a:lnTo>
                      <a:pt x="6454" y="1810"/>
                    </a:lnTo>
                    <a:lnTo>
                      <a:pt x="6516" y="1783"/>
                    </a:lnTo>
                    <a:lnTo>
                      <a:pt x="6577" y="1756"/>
                    </a:lnTo>
                    <a:lnTo>
                      <a:pt x="6637" y="1730"/>
                    </a:lnTo>
                    <a:lnTo>
                      <a:pt x="6695" y="1702"/>
                    </a:lnTo>
                    <a:lnTo>
                      <a:pt x="6754" y="1675"/>
                    </a:lnTo>
                    <a:lnTo>
                      <a:pt x="6811" y="1647"/>
                    </a:lnTo>
                    <a:lnTo>
                      <a:pt x="6867" y="1619"/>
                    </a:lnTo>
                    <a:lnTo>
                      <a:pt x="6922" y="1590"/>
                    </a:lnTo>
                    <a:lnTo>
                      <a:pt x="6977" y="1561"/>
                    </a:lnTo>
                    <a:lnTo>
                      <a:pt x="7030" y="1532"/>
                    </a:lnTo>
                    <a:lnTo>
                      <a:pt x="7082" y="1503"/>
                    </a:lnTo>
                    <a:lnTo>
                      <a:pt x="7133" y="1474"/>
                    </a:lnTo>
                    <a:lnTo>
                      <a:pt x="7184" y="1444"/>
                    </a:lnTo>
                    <a:lnTo>
                      <a:pt x="7233" y="1414"/>
                    </a:lnTo>
                    <a:lnTo>
                      <a:pt x="7282" y="1384"/>
                    </a:lnTo>
                    <a:lnTo>
                      <a:pt x="7329" y="1354"/>
                    </a:lnTo>
                    <a:lnTo>
                      <a:pt x="7376" y="1323"/>
                    </a:lnTo>
                    <a:lnTo>
                      <a:pt x="7421" y="1292"/>
                    </a:lnTo>
                    <a:lnTo>
                      <a:pt x="7465" y="1261"/>
                    </a:lnTo>
                    <a:lnTo>
                      <a:pt x="7509" y="1230"/>
                    </a:lnTo>
                    <a:lnTo>
                      <a:pt x="7551" y="1199"/>
                    </a:lnTo>
                    <a:lnTo>
                      <a:pt x="7592" y="1167"/>
                    </a:lnTo>
                    <a:lnTo>
                      <a:pt x="7632" y="1134"/>
                    </a:lnTo>
                    <a:lnTo>
                      <a:pt x="7670" y="1102"/>
                    </a:lnTo>
                    <a:lnTo>
                      <a:pt x="7709" y="1070"/>
                    </a:lnTo>
                    <a:lnTo>
                      <a:pt x="7746" y="1037"/>
                    </a:lnTo>
                    <a:lnTo>
                      <a:pt x="7782" y="1004"/>
                    </a:lnTo>
                    <a:lnTo>
                      <a:pt x="7816" y="971"/>
                    </a:lnTo>
                    <a:lnTo>
                      <a:pt x="7850" y="938"/>
                    </a:lnTo>
                    <a:lnTo>
                      <a:pt x="7882" y="905"/>
                    </a:lnTo>
                    <a:lnTo>
                      <a:pt x="7914" y="870"/>
                    </a:lnTo>
                    <a:lnTo>
                      <a:pt x="7944" y="837"/>
                    </a:lnTo>
                    <a:lnTo>
                      <a:pt x="7972" y="802"/>
                    </a:lnTo>
                    <a:lnTo>
                      <a:pt x="8000" y="768"/>
                    </a:lnTo>
                    <a:lnTo>
                      <a:pt x="8027" y="734"/>
                    </a:lnTo>
                    <a:lnTo>
                      <a:pt x="8052" y="699"/>
                    </a:lnTo>
                    <a:lnTo>
                      <a:pt x="8076" y="663"/>
                    </a:lnTo>
                    <a:lnTo>
                      <a:pt x="8099" y="628"/>
                    </a:lnTo>
                    <a:lnTo>
                      <a:pt x="8121" y="593"/>
                    </a:lnTo>
                    <a:lnTo>
                      <a:pt x="8141" y="558"/>
                    </a:lnTo>
                    <a:lnTo>
                      <a:pt x="8161" y="522"/>
                    </a:lnTo>
                    <a:lnTo>
                      <a:pt x="8180" y="485"/>
                    </a:lnTo>
                    <a:lnTo>
                      <a:pt x="8196" y="449"/>
                    </a:lnTo>
                    <a:lnTo>
                      <a:pt x="8212" y="413"/>
                    </a:lnTo>
                    <a:lnTo>
                      <a:pt x="8226" y="376"/>
                    </a:lnTo>
                    <a:lnTo>
                      <a:pt x="8238" y="340"/>
                    </a:lnTo>
                    <a:lnTo>
                      <a:pt x="8251" y="302"/>
                    </a:lnTo>
                    <a:lnTo>
                      <a:pt x="8261" y="265"/>
                    </a:lnTo>
                    <a:lnTo>
                      <a:pt x="8269" y="228"/>
                    </a:lnTo>
                    <a:lnTo>
                      <a:pt x="8277" y="190"/>
                    </a:lnTo>
                    <a:lnTo>
                      <a:pt x="8284" y="152"/>
                    </a:lnTo>
                    <a:lnTo>
                      <a:pt x="8289" y="115"/>
                    </a:lnTo>
                    <a:lnTo>
                      <a:pt x="8292" y="77"/>
                    </a:lnTo>
                    <a:lnTo>
                      <a:pt x="8294" y="38"/>
                    </a:lnTo>
                    <a:lnTo>
                      <a:pt x="8295" y="0"/>
                    </a:lnTo>
                    <a:lnTo>
                      <a:pt x="8195" y="0"/>
                    </a:lnTo>
                    <a:lnTo>
                      <a:pt x="8194" y="35"/>
                    </a:lnTo>
                    <a:lnTo>
                      <a:pt x="8192" y="69"/>
                    </a:lnTo>
                    <a:lnTo>
                      <a:pt x="8189" y="104"/>
                    </a:lnTo>
                    <a:lnTo>
                      <a:pt x="8185" y="138"/>
                    </a:lnTo>
                    <a:lnTo>
                      <a:pt x="8180" y="172"/>
                    </a:lnTo>
                    <a:lnTo>
                      <a:pt x="8172" y="206"/>
                    </a:lnTo>
                    <a:lnTo>
                      <a:pt x="8164" y="240"/>
                    </a:lnTo>
                    <a:lnTo>
                      <a:pt x="8155" y="274"/>
                    </a:lnTo>
                    <a:lnTo>
                      <a:pt x="8145" y="307"/>
                    </a:lnTo>
                    <a:lnTo>
                      <a:pt x="8132" y="342"/>
                    </a:lnTo>
                    <a:lnTo>
                      <a:pt x="8119" y="375"/>
                    </a:lnTo>
                    <a:lnTo>
                      <a:pt x="8105" y="409"/>
                    </a:lnTo>
                    <a:lnTo>
                      <a:pt x="8089" y="442"/>
                    </a:lnTo>
                    <a:lnTo>
                      <a:pt x="8072" y="475"/>
                    </a:lnTo>
                    <a:lnTo>
                      <a:pt x="8055" y="508"/>
                    </a:lnTo>
                    <a:lnTo>
                      <a:pt x="8035" y="541"/>
                    </a:lnTo>
                    <a:lnTo>
                      <a:pt x="8016" y="574"/>
                    </a:lnTo>
                    <a:lnTo>
                      <a:pt x="7993" y="608"/>
                    </a:lnTo>
                    <a:lnTo>
                      <a:pt x="7970" y="641"/>
                    </a:lnTo>
                    <a:lnTo>
                      <a:pt x="7947" y="673"/>
                    </a:lnTo>
                    <a:lnTo>
                      <a:pt x="7922" y="706"/>
                    </a:lnTo>
                    <a:lnTo>
                      <a:pt x="7895" y="739"/>
                    </a:lnTo>
                    <a:lnTo>
                      <a:pt x="7868" y="771"/>
                    </a:lnTo>
                    <a:lnTo>
                      <a:pt x="7839" y="803"/>
                    </a:lnTo>
                    <a:lnTo>
                      <a:pt x="7810" y="835"/>
                    </a:lnTo>
                    <a:lnTo>
                      <a:pt x="7779" y="867"/>
                    </a:lnTo>
                    <a:lnTo>
                      <a:pt x="7747" y="899"/>
                    </a:lnTo>
                    <a:lnTo>
                      <a:pt x="7714" y="931"/>
                    </a:lnTo>
                    <a:lnTo>
                      <a:pt x="7679" y="963"/>
                    </a:lnTo>
                    <a:lnTo>
                      <a:pt x="7644" y="994"/>
                    </a:lnTo>
                    <a:lnTo>
                      <a:pt x="7607" y="1026"/>
                    </a:lnTo>
                    <a:lnTo>
                      <a:pt x="7569" y="1057"/>
                    </a:lnTo>
                    <a:lnTo>
                      <a:pt x="7530" y="1088"/>
                    </a:lnTo>
                    <a:lnTo>
                      <a:pt x="7490" y="1118"/>
                    </a:lnTo>
                    <a:lnTo>
                      <a:pt x="7450" y="1149"/>
                    </a:lnTo>
                    <a:lnTo>
                      <a:pt x="7408" y="1179"/>
                    </a:lnTo>
                    <a:lnTo>
                      <a:pt x="7364" y="1210"/>
                    </a:lnTo>
                    <a:lnTo>
                      <a:pt x="7320" y="1240"/>
                    </a:lnTo>
                    <a:lnTo>
                      <a:pt x="7275" y="1270"/>
                    </a:lnTo>
                    <a:lnTo>
                      <a:pt x="7228" y="1299"/>
                    </a:lnTo>
                    <a:lnTo>
                      <a:pt x="7182" y="1329"/>
                    </a:lnTo>
                    <a:lnTo>
                      <a:pt x="7133" y="1358"/>
                    </a:lnTo>
                    <a:lnTo>
                      <a:pt x="7084" y="1387"/>
                    </a:lnTo>
                    <a:lnTo>
                      <a:pt x="7033" y="1416"/>
                    </a:lnTo>
                    <a:lnTo>
                      <a:pt x="6982" y="1444"/>
                    </a:lnTo>
                    <a:lnTo>
                      <a:pt x="6929" y="1473"/>
                    </a:lnTo>
                    <a:lnTo>
                      <a:pt x="6877" y="1501"/>
                    </a:lnTo>
                    <a:lnTo>
                      <a:pt x="6822" y="1529"/>
                    </a:lnTo>
                    <a:lnTo>
                      <a:pt x="6766" y="1557"/>
                    </a:lnTo>
                    <a:lnTo>
                      <a:pt x="6711" y="1584"/>
                    </a:lnTo>
                    <a:lnTo>
                      <a:pt x="6653" y="1612"/>
                    </a:lnTo>
                    <a:lnTo>
                      <a:pt x="6595" y="1638"/>
                    </a:lnTo>
                    <a:lnTo>
                      <a:pt x="6537" y="1665"/>
                    </a:lnTo>
                    <a:lnTo>
                      <a:pt x="6476" y="1691"/>
                    </a:lnTo>
                    <a:lnTo>
                      <a:pt x="6415" y="1718"/>
                    </a:lnTo>
                    <a:lnTo>
                      <a:pt x="6354" y="1744"/>
                    </a:lnTo>
                    <a:lnTo>
                      <a:pt x="6290" y="1770"/>
                    </a:lnTo>
                    <a:lnTo>
                      <a:pt x="6227" y="1795"/>
                    </a:lnTo>
                    <a:lnTo>
                      <a:pt x="6163" y="1821"/>
                    </a:lnTo>
                    <a:lnTo>
                      <a:pt x="6098" y="1845"/>
                    </a:lnTo>
                    <a:lnTo>
                      <a:pt x="6032" y="1870"/>
                    </a:lnTo>
                    <a:lnTo>
                      <a:pt x="5965" y="1895"/>
                    </a:lnTo>
                    <a:lnTo>
                      <a:pt x="5897" y="1919"/>
                    </a:lnTo>
                    <a:lnTo>
                      <a:pt x="5828" y="1943"/>
                    </a:lnTo>
                    <a:lnTo>
                      <a:pt x="5757" y="1967"/>
                    </a:lnTo>
                    <a:lnTo>
                      <a:pt x="5687" y="1989"/>
                    </a:lnTo>
                    <a:lnTo>
                      <a:pt x="5616" y="2013"/>
                    </a:lnTo>
                    <a:lnTo>
                      <a:pt x="5544" y="2036"/>
                    </a:lnTo>
                    <a:lnTo>
                      <a:pt x="5471" y="2058"/>
                    </a:lnTo>
                    <a:lnTo>
                      <a:pt x="5398" y="2080"/>
                    </a:lnTo>
                    <a:lnTo>
                      <a:pt x="5324" y="2102"/>
                    </a:lnTo>
                    <a:lnTo>
                      <a:pt x="5248" y="2124"/>
                    </a:lnTo>
                    <a:lnTo>
                      <a:pt x="5096" y="2165"/>
                    </a:lnTo>
                    <a:lnTo>
                      <a:pt x="4940" y="2207"/>
                    </a:lnTo>
                    <a:lnTo>
                      <a:pt x="4781" y="2247"/>
                    </a:lnTo>
                    <a:lnTo>
                      <a:pt x="4620" y="2285"/>
                    </a:lnTo>
                    <a:lnTo>
                      <a:pt x="4455" y="2323"/>
                    </a:lnTo>
                    <a:lnTo>
                      <a:pt x="4288" y="2358"/>
                    </a:lnTo>
                    <a:lnTo>
                      <a:pt x="4119" y="2392"/>
                    </a:lnTo>
                    <a:lnTo>
                      <a:pt x="3945" y="2426"/>
                    </a:lnTo>
                    <a:lnTo>
                      <a:pt x="3771" y="2457"/>
                    </a:lnTo>
                    <a:lnTo>
                      <a:pt x="3593" y="2487"/>
                    </a:lnTo>
                    <a:lnTo>
                      <a:pt x="3414" y="2516"/>
                    </a:lnTo>
                    <a:lnTo>
                      <a:pt x="3231" y="2544"/>
                    </a:lnTo>
                    <a:lnTo>
                      <a:pt x="3047" y="2570"/>
                    </a:lnTo>
                    <a:lnTo>
                      <a:pt x="2860" y="2594"/>
                    </a:lnTo>
                    <a:lnTo>
                      <a:pt x="2672" y="2617"/>
                    </a:lnTo>
                    <a:lnTo>
                      <a:pt x="2481" y="2638"/>
                    </a:lnTo>
                    <a:lnTo>
                      <a:pt x="2287" y="2658"/>
                    </a:lnTo>
                    <a:lnTo>
                      <a:pt x="2092" y="2676"/>
                    </a:lnTo>
                    <a:lnTo>
                      <a:pt x="1895" y="2692"/>
                    </a:lnTo>
                    <a:lnTo>
                      <a:pt x="1698" y="2708"/>
                    </a:lnTo>
                    <a:lnTo>
                      <a:pt x="1497" y="2721"/>
                    </a:lnTo>
                    <a:lnTo>
                      <a:pt x="1295" y="2733"/>
                    </a:lnTo>
                    <a:lnTo>
                      <a:pt x="1090" y="2742"/>
                    </a:lnTo>
                    <a:lnTo>
                      <a:pt x="885" y="2750"/>
                    </a:lnTo>
                    <a:lnTo>
                      <a:pt x="678" y="2756"/>
                    </a:lnTo>
                    <a:lnTo>
                      <a:pt x="470" y="2761"/>
                    </a:lnTo>
                    <a:lnTo>
                      <a:pt x="261" y="2764"/>
                    </a:lnTo>
                    <a:lnTo>
                      <a:pt x="50" y="2765"/>
                    </a:lnTo>
                    <a:lnTo>
                      <a:pt x="50" y="2765"/>
                    </a:lnTo>
                    <a:lnTo>
                      <a:pt x="50" y="2765"/>
                    </a:lnTo>
                    <a:lnTo>
                      <a:pt x="43" y="2765"/>
                    </a:lnTo>
                    <a:lnTo>
                      <a:pt x="38" y="2766"/>
                    </a:lnTo>
                    <a:lnTo>
                      <a:pt x="33" y="2767"/>
                    </a:lnTo>
                    <a:lnTo>
                      <a:pt x="28" y="2769"/>
                    </a:lnTo>
                    <a:lnTo>
                      <a:pt x="23" y="2771"/>
                    </a:lnTo>
                    <a:lnTo>
                      <a:pt x="19" y="2774"/>
                    </a:lnTo>
                    <a:lnTo>
                      <a:pt x="15" y="2777"/>
                    </a:lnTo>
                    <a:lnTo>
                      <a:pt x="12" y="2780"/>
                    </a:lnTo>
                    <a:lnTo>
                      <a:pt x="6" y="2787"/>
                    </a:lnTo>
                    <a:lnTo>
                      <a:pt x="3" y="2797"/>
                    </a:lnTo>
                    <a:lnTo>
                      <a:pt x="0" y="2805"/>
                    </a:lnTo>
                    <a:lnTo>
                      <a:pt x="0" y="2814"/>
                    </a:lnTo>
                    <a:lnTo>
                      <a:pt x="0" y="2825"/>
                    </a:lnTo>
                    <a:lnTo>
                      <a:pt x="3" y="2833"/>
                    </a:lnTo>
                    <a:lnTo>
                      <a:pt x="6" y="2842"/>
                    </a:lnTo>
                    <a:lnTo>
                      <a:pt x="12" y="2849"/>
                    </a:lnTo>
                    <a:lnTo>
                      <a:pt x="15" y="2853"/>
                    </a:lnTo>
                    <a:lnTo>
                      <a:pt x="19" y="2856"/>
                    </a:lnTo>
                    <a:lnTo>
                      <a:pt x="23" y="2859"/>
                    </a:lnTo>
                    <a:lnTo>
                      <a:pt x="28" y="2861"/>
                    </a:lnTo>
                    <a:lnTo>
                      <a:pt x="33" y="2863"/>
                    </a:lnTo>
                    <a:lnTo>
                      <a:pt x="38" y="2864"/>
                    </a:lnTo>
                    <a:lnTo>
                      <a:pt x="43" y="2865"/>
                    </a:lnTo>
                    <a:lnTo>
                      <a:pt x="50"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69" name="Freeform 65"/>
              <p:cNvSpPr>
                <a:spLocks/>
              </p:cNvSpPr>
              <p:nvPr>
                <p:custDataLst>
                  <p:tags r:id="rId212"/>
                </p:custDataLst>
              </p:nvPr>
            </p:nvSpPr>
            <p:spPr bwMode="auto">
              <a:xfrm>
                <a:off x="369" y="3627"/>
                <a:ext cx="359" cy="117"/>
              </a:xfrm>
              <a:custGeom>
                <a:avLst/>
                <a:gdLst>
                  <a:gd name="T0" fmla="*/ 3 w 8246"/>
                  <a:gd name="T1" fmla="*/ 127 h 2915"/>
                  <a:gd name="T2" fmla="*/ 25 w 8246"/>
                  <a:gd name="T3" fmla="*/ 278 h 2915"/>
                  <a:gd name="T4" fmla="*/ 69 w 8246"/>
                  <a:gd name="T5" fmla="*/ 426 h 2915"/>
                  <a:gd name="T6" fmla="*/ 134 w 8246"/>
                  <a:gd name="T7" fmla="*/ 572 h 2915"/>
                  <a:gd name="T8" fmla="*/ 219 w 8246"/>
                  <a:gd name="T9" fmla="*/ 713 h 2915"/>
                  <a:gd name="T10" fmla="*/ 323 w 8246"/>
                  <a:gd name="T11" fmla="*/ 852 h 2915"/>
                  <a:gd name="T12" fmla="*/ 445 w 8246"/>
                  <a:gd name="T13" fmla="*/ 988 h 2915"/>
                  <a:gd name="T14" fmla="*/ 586 w 8246"/>
                  <a:gd name="T15" fmla="*/ 1120 h 2915"/>
                  <a:gd name="T16" fmla="*/ 744 w 8246"/>
                  <a:gd name="T17" fmla="*/ 1249 h 2915"/>
                  <a:gd name="T18" fmla="*/ 919 w 8246"/>
                  <a:gd name="T19" fmla="*/ 1373 h 2915"/>
                  <a:gd name="T20" fmla="*/ 1111 w 8246"/>
                  <a:gd name="T21" fmla="*/ 1494 h 2915"/>
                  <a:gd name="T22" fmla="*/ 1318 w 8246"/>
                  <a:gd name="T23" fmla="*/ 1611 h 2915"/>
                  <a:gd name="T24" fmla="*/ 1541 w 8246"/>
                  <a:gd name="T25" fmla="*/ 1725 h 2915"/>
                  <a:gd name="T26" fmla="*/ 1779 w 8246"/>
                  <a:gd name="T27" fmla="*/ 1833 h 2915"/>
                  <a:gd name="T28" fmla="*/ 2030 w 8246"/>
                  <a:gd name="T29" fmla="*/ 1939 h 2915"/>
                  <a:gd name="T30" fmla="*/ 2297 w 8246"/>
                  <a:gd name="T31" fmla="*/ 2039 h 2915"/>
                  <a:gd name="T32" fmla="*/ 2577 w 8246"/>
                  <a:gd name="T33" fmla="*/ 2135 h 2915"/>
                  <a:gd name="T34" fmla="*/ 2869 w 8246"/>
                  <a:gd name="T35" fmla="*/ 2227 h 2915"/>
                  <a:gd name="T36" fmla="*/ 3331 w 8246"/>
                  <a:gd name="T37" fmla="*/ 2354 h 2915"/>
                  <a:gd name="T38" fmla="*/ 3987 w 8246"/>
                  <a:gd name="T39" fmla="*/ 2506 h 2915"/>
                  <a:gd name="T40" fmla="*/ 4686 w 8246"/>
                  <a:gd name="T41" fmla="*/ 2637 h 2915"/>
                  <a:gd name="T42" fmla="*/ 5422 w 8246"/>
                  <a:gd name="T43" fmla="*/ 2744 h 2915"/>
                  <a:gd name="T44" fmla="*/ 6193 w 8246"/>
                  <a:gd name="T45" fmla="*/ 2826 h 2915"/>
                  <a:gd name="T46" fmla="*/ 6995 w 8246"/>
                  <a:gd name="T47" fmla="*/ 2882 h 2915"/>
                  <a:gd name="T48" fmla="*/ 7823 w 8246"/>
                  <a:gd name="T49" fmla="*/ 2911 h 2915"/>
                  <a:gd name="T50" fmla="*/ 8034 w 8246"/>
                  <a:gd name="T51" fmla="*/ 2814 h 2915"/>
                  <a:gd name="T52" fmla="*/ 7205 w 8246"/>
                  <a:gd name="T53" fmla="*/ 2792 h 2915"/>
                  <a:gd name="T54" fmla="*/ 6400 w 8246"/>
                  <a:gd name="T55" fmla="*/ 2742 h 2915"/>
                  <a:gd name="T56" fmla="*/ 5623 w 8246"/>
                  <a:gd name="T57" fmla="*/ 2667 h 2915"/>
                  <a:gd name="T58" fmla="*/ 4881 w 8246"/>
                  <a:gd name="T59" fmla="*/ 2566 h 2915"/>
                  <a:gd name="T60" fmla="*/ 4176 w 8246"/>
                  <a:gd name="T61" fmla="*/ 2442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2 h 2915"/>
                  <a:gd name="T76" fmla="*/ 1418 w 8246"/>
                  <a:gd name="T77" fmla="*/ 1551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8 h 2915"/>
                  <a:gd name="T94" fmla="*/ 175 w 8246"/>
                  <a:gd name="T95" fmla="*/ 425 h 2915"/>
                  <a:gd name="T96" fmla="*/ 131 w 8246"/>
                  <a:gd name="T97" fmla="*/ 290 h 2915"/>
                  <a:gd name="T98" fmla="*/ 106 w 8246"/>
                  <a:gd name="T99" fmla="*/ 154 h 2915"/>
                  <a:gd name="T100" fmla="*/ 100 w 8246"/>
                  <a:gd name="T101" fmla="*/ 50 h 2915"/>
                  <a:gd name="T102" fmla="*/ 98 w 8246"/>
                  <a:gd name="T103" fmla="*/ 33 h 2915"/>
                  <a:gd name="T104" fmla="*/ 88 w 8246"/>
                  <a:gd name="T105" fmla="*/ 16 h 2915"/>
                  <a:gd name="T106" fmla="*/ 60 w 8246"/>
                  <a:gd name="T107" fmla="*/ 0 h 2915"/>
                  <a:gd name="T108" fmla="*/ 23 w 8246"/>
                  <a:gd name="T109" fmla="*/ 8 h 2915"/>
                  <a:gd name="T110" fmla="*/ 6 w 8246"/>
                  <a:gd name="T111" fmla="*/ 24 h 2915"/>
                  <a:gd name="T112" fmla="*/ 0 w 8246"/>
                  <a:gd name="T113" fmla="*/ 44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0"/>
                    </a:moveTo>
                    <a:lnTo>
                      <a:pt x="0" y="50"/>
                    </a:lnTo>
                    <a:lnTo>
                      <a:pt x="1" y="88"/>
                    </a:lnTo>
                    <a:lnTo>
                      <a:pt x="3" y="127"/>
                    </a:lnTo>
                    <a:lnTo>
                      <a:pt x="6" y="165"/>
                    </a:lnTo>
                    <a:lnTo>
                      <a:pt x="11" y="202"/>
                    </a:lnTo>
                    <a:lnTo>
                      <a:pt x="18" y="240"/>
                    </a:lnTo>
                    <a:lnTo>
                      <a:pt x="25" y="278"/>
                    </a:lnTo>
                    <a:lnTo>
                      <a:pt x="34" y="315"/>
                    </a:lnTo>
                    <a:lnTo>
                      <a:pt x="44" y="352"/>
                    </a:lnTo>
                    <a:lnTo>
                      <a:pt x="56" y="390"/>
                    </a:lnTo>
                    <a:lnTo>
                      <a:pt x="69" y="426"/>
                    </a:lnTo>
                    <a:lnTo>
                      <a:pt x="83" y="463"/>
                    </a:lnTo>
                    <a:lnTo>
                      <a:pt x="99" y="499"/>
                    </a:lnTo>
                    <a:lnTo>
                      <a:pt x="115" y="535"/>
                    </a:lnTo>
                    <a:lnTo>
                      <a:pt x="134" y="572"/>
                    </a:lnTo>
                    <a:lnTo>
                      <a:pt x="154" y="608"/>
                    </a:lnTo>
                    <a:lnTo>
                      <a:pt x="174" y="643"/>
                    </a:lnTo>
                    <a:lnTo>
                      <a:pt x="196" y="678"/>
                    </a:lnTo>
                    <a:lnTo>
                      <a:pt x="219" y="713"/>
                    </a:lnTo>
                    <a:lnTo>
                      <a:pt x="243" y="749"/>
                    </a:lnTo>
                    <a:lnTo>
                      <a:pt x="268" y="784"/>
                    </a:lnTo>
                    <a:lnTo>
                      <a:pt x="295" y="818"/>
                    </a:lnTo>
                    <a:lnTo>
                      <a:pt x="323" y="852"/>
                    </a:lnTo>
                    <a:lnTo>
                      <a:pt x="351" y="887"/>
                    </a:lnTo>
                    <a:lnTo>
                      <a:pt x="381" y="920"/>
                    </a:lnTo>
                    <a:lnTo>
                      <a:pt x="413" y="955"/>
                    </a:lnTo>
                    <a:lnTo>
                      <a:pt x="445" y="988"/>
                    </a:lnTo>
                    <a:lnTo>
                      <a:pt x="479" y="1021"/>
                    </a:lnTo>
                    <a:lnTo>
                      <a:pt x="513" y="1054"/>
                    </a:lnTo>
                    <a:lnTo>
                      <a:pt x="549" y="1087"/>
                    </a:lnTo>
                    <a:lnTo>
                      <a:pt x="586" y="1120"/>
                    </a:lnTo>
                    <a:lnTo>
                      <a:pt x="624" y="1152"/>
                    </a:lnTo>
                    <a:lnTo>
                      <a:pt x="663" y="1184"/>
                    </a:lnTo>
                    <a:lnTo>
                      <a:pt x="703" y="1217"/>
                    </a:lnTo>
                    <a:lnTo>
                      <a:pt x="744" y="1249"/>
                    </a:lnTo>
                    <a:lnTo>
                      <a:pt x="786" y="1280"/>
                    </a:lnTo>
                    <a:lnTo>
                      <a:pt x="830" y="1311"/>
                    </a:lnTo>
                    <a:lnTo>
                      <a:pt x="874" y="1342"/>
                    </a:lnTo>
                    <a:lnTo>
                      <a:pt x="919" y="1373"/>
                    </a:lnTo>
                    <a:lnTo>
                      <a:pt x="966" y="1404"/>
                    </a:lnTo>
                    <a:lnTo>
                      <a:pt x="1013" y="1434"/>
                    </a:lnTo>
                    <a:lnTo>
                      <a:pt x="1062" y="1464"/>
                    </a:lnTo>
                    <a:lnTo>
                      <a:pt x="1111" y="1494"/>
                    </a:lnTo>
                    <a:lnTo>
                      <a:pt x="1162" y="1524"/>
                    </a:lnTo>
                    <a:lnTo>
                      <a:pt x="1212" y="1553"/>
                    </a:lnTo>
                    <a:lnTo>
                      <a:pt x="1265" y="1582"/>
                    </a:lnTo>
                    <a:lnTo>
                      <a:pt x="1318" y="1611"/>
                    </a:lnTo>
                    <a:lnTo>
                      <a:pt x="1373" y="1640"/>
                    </a:lnTo>
                    <a:lnTo>
                      <a:pt x="1428" y="1669"/>
                    </a:lnTo>
                    <a:lnTo>
                      <a:pt x="1484" y="1697"/>
                    </a:lnTo>
                    <a:lnTo>
                      <a:pt x="1541" y="1725"/>
                    </a:lnTo>
                    <a:lnTo>
                      <a:pt x="1600" y="1752"/>
                    </a:lnTo>
                    <a:lnTo>
                      <a:pt x="1658" y="1780"/>
                    </a:lnTo>
                    <a:lnTo>
                      <a:pt x="1718" y="1806"/>
                    </a:lnTo>
                    <a:lnTo>
                      <a:pt x="1779" y="1833"/>
                    </a:lnTo>
                    <a:lnTo>
                      <a:pt x="1841" y="1860"/>
                    </a:lnTo>
                    <a:lnTo>
                      <a:pt x="1904" y="1886"/>
                    </a:lnTo>
                    <a:lnTo>
                      <a:pt x="1967" y="1913"/>
                    </a:lnTo>
                    <a:lnTo>
                      <a:pt x="2030" y="1939"/>
                    </a:lnTo>
                    <a:lnTo>
                      <a:pt x="2096" y="1964"/>
                    </a:lnTo>
                    <a:lnTo>
                      <a:pt x="2162" y="1990"/>
                    </a:lnTo>
                    <a:lnTo>
                      <a:pt x="2229" y="2015"/>
                    </a:lnTo>
                    <a:lnTo>
                      <a:pt x="2297" y="2039"/>
                    </a:lnTo>
                    <a:lnTo>
                      <a:pt x="2365" y="2063"/>
                    </a:lnTo>
                    <a:lnTo>
                      <a:pt x="2436" y="2088"/>
                    </a:lnTo>
                    <a:lnTo>
                      <a:pt x="2506" y="2112"/>
                    </a:lnTo>
                    <a:lnTo>
                      <a:pt x="2577" y="2135"/>
                    </a:lnTo>
                    <a:lnTo>
                      <a:pt x="2649" y="2158"/>
                    </a:lnTo>
                    <a:lnTo>
                      <a:pt x="2721" y="2181"/>
                    </a:lnTo>
                    <a:lnTo>
                      <a:pt x="2794" y="2204"/>
                    </a:lnTo>
                    <a:lnTo>
                      <a:pt x="2869" y="2227"/>
                    </a:lnTo>
                    <a:lnTo>
                      <a:pt x="2944" y="2248"/>
                    </a:lnTo>
                    <a:lnTo>
                      <a:pt x="3020" y="2270"/>
                    </a:lnTo>
                    <a:lnTo>
                      <a:pt x="3173" y="2313"/>
                    </a:lnTo>
                    <a:lnTo>
                      <a:pt x="3331" y="2354"/>
                    </a:lnTo>
                    <a:lnTo>
                      <a:pt x="3491" y="2394"/>
                    </a:lnTo>
                    <a:lnTo>
                      <a:pt x="3653" y="2433"/>
                    </a:lnTo>
                    <a:lnTo>
                      <a:pt x="3819" y="2470"/>
                    </a:lnTo>
                    <a:lnTo>
                      <a:pt x="3987" y="2506"/>
                    </a:lnTo>
                    <a:lnTo>
                      <a:pt x="4158" y="2541"/>
                    </a:lnTo>
                    <a:lnTo>
                      <a:pt x="4331" y="2574"/>
                    </a:lnTo>
                    <a:lnTo>
                      <a:pt x="4507" y="2607"/>
                    </a:lnTo>
                    <a:lnTo>
                      <a:pt x="4686" y="2637"/>
                    </a:lnTo>
                    <a:lnTo>
                      <a:pt x="4866" y="2666"/>
                    </a:lnTo>
                    <a:lnTo>
                      <a:pt x="5049" y="2694"/>
                    </a:lnTo>
                    <a:lnTo>
                      <a:pt x="5235" y="2719"/>
                    </a:lnTo>
                    <a:lnTo>
                      <a:pt x="5422" y="2744"/>
                    </a:lnTo>
                    <a:lnTo>
                      <a:pt x="5612" y="2767"/>
                    </a:lnTo>
                    <a:lnTo>
                      <a:pt x="5804" y="2788"/>
                    </a:lnTo>
                    <a:lnTo>
                      <a:pt x="5998" y="2807"/>
                    </a:lnTo>
                    <a:lnTo>
                      <a:pt x="6193" y="2826"/>
                    </a:lnTo>
                    <a:lnTo>
                      <a:pt x="6391" y="2843"/>
                    </a:lnTo>
                    <a:lnTo>
                      <a:pt x="6591" y="2858"/>
                    </a:lnTo>
                    <a:lnTo>
                      <a:pt x="6792" y="2870"/>
                    </a:lnTo>
                    <a:lnTo>
                      <a:pt x="6995" y="2882"/>
                    </a:lnTo>
                    <a:lnTo>
                      <a:pt x="7200" y="2892"/>
                    </a:lnTo>
                    <a:lnTo>
                      <a:pt x="7407" y="2901"/>
                    </a:lnTo>
                    <a:lnTo>
                      <a:pt x="7614" y="2907"/>
                    </a:lnTo>
                    <a:lnTo>
                      <a:pt x="7823" y="2911"/>
                    </a:lnTo>
                    <a:lnTo>
                      <a:pt x="8034" y="2914"/>
                    </a:lnTo>
                    <a:lnTo>
                      <a:pt x="8246" y="2915"/>
                    </a:lnTo>
                    <a:lnTo>
                      <a:pt x="8246" y="2815"/>
                    </a:lnTo>
                    <a:lnTo>
                      <a:pt x="8034" y="2814"/>
                    </a:lnTo>
                    <a:lnTo>
                      <a:pt x="7825" y="2811"/>
                    </a:lnTo>
                    <a:lnTo>
                      <a:pt x="7617" y="2806"/>
                    </a:lnTo>
                    <a:lnTo>
                      <a:pt x="7410" y="2800"/>
                    </a:lnTo>
                    <a:lnTo>
                      <a:pt x="7205" y="2792"/>
                    </a:lnTo>
                    <a:lnTo>
                      <a:pt x="7000" y="2783"/>
                    </a:lnTo>
                    <a:lnTo>
                      <a:pt x="6798" y="2771"/>
                    </a:lnTo>
                    <a:lnTo>
                      <a:pt x="6597" y="2758"/>
                    </a:lnTo>
                    <a:lnTo>
                      <a:pt x="6400" y="2742"/>
                    </a:lnTo>
                    <a:lnTo>
                      <a:pt x="6203" y="2726"/>
                    </a:lnTo>
                    <a:lnTo>
                      <a:pt x="6008" y="2708"/>
                    </a:lnTo>
                    <a:lnTo>
                      <a:pt x="5814" y="2688"/>
                    </a:lnTo>
                    <a:lnTo>
                      <a:pt x="5623" y="2667"/>
                    </a:lnTo>
                    <a:lnTo>
                      <a:pt x="5435" y="2644"/>
                    </a:lnTo>
                    <a:lnTo>
                      <a:pt x="5248" y="2620"/>
                    </a:lnTo>
                    <a:lnTo>
                      <a:pt x="5064" y="2594"/>
                    </a:lnTo>
                    <a:lnTo>
                      <a:pt x="4881" y="2566"/>
                    </a:lnTo>
                    <a:lnTo>
                      <a:pt x="4702" y="2537"/>
                    </a:lnTo>
                    <a:lnTo>
                      <a:pt x="4524" y="2507"/>
                    </a:lnTo>
                    <a:lnTo>
                      <a:pt x="4350" y="2476"/>
                    </a:lnTo>
                    <a:lnTo>
                      <a:pt x="4176" y="2442"/>
                    </a:lnTo>
                    <a:lnTo>
                      <a:pt x="4007" y="2408"/>
                    </a:lnTo>
                    <a:lnTo>
                      <a:pt x="3839" y="2373"/>
                    </a:lnTo>
                    <a:lnTo>
                      <a:pt x="3675" y="2335"/>
                    </a:lnTo>
                    <a:lnTo>
                      <a:pt x="3514" y="2297"/>
                    </a:lnTo>
                    <a:lnTo>
                      <a:pt x="3355" y="2257"/>
                    </a:lnTo>
                    <a:lnTo>
                      <a:pt x="3199" y="2215"/>
                    </a:lnTo>
                    <a:lnTo>
                      <a:pt x="3047" y="2174"/>
                    </a:lnTo>
                    <a:lnTo>
                      <a:pt x="2971" y="2152"/>
                    </a:lnTo>
                    <a:lnTo>
                      <a:pt x="2897" y="2130"/>
                    </a:lnTo>
                    <a:lnTo>
                      <a:pt x="2824" y="2108"/>
                    </a:lnTo>
                    <a:lnTo>
                      <a:pt x="2751" y="2086"/>
                    </a:lnTo>
                    <a:lnTo>
                      <a:pt x="2679" y="2063"/>
                    </a:lnTo>
                    <a:lnTo>
                      <a:pt x="2608" y="2039"/>
                    </a:lnTo>
                    <a:lnTo>
                      <a:pt x="2538" y="2017"/>
                    </a:lnTo>
                    <a:lnTo>
                      <a:pt x="2467" y="1993"/>
                    </a:lnTo>
                    <a:lnTo>
                      <a:pt x="2398" y="1969"/>
                    </a:lnTo>
                    <a:lnTo>
                      <a:pt x="2330" y="1945"/>
                    </a:lnTo>
                    <a:lnTo>
                      <a:pt x="2263" y="1920"/>
                    </a:lnTo>
                    <a:lnTo>
                      <a:pt x="2197" y="1895"/>
                    </a:lnTo>
                    <a:lnTo>
                      <a:pt x="2132" y="1871"/>
                    </a:lnTo>
                    <a:lnTo>
                      <a:pt x="2068" y="1845"/>
                    </a:lnTo>
                    <a:lnTo>
                      <a:pt x="2004" y="1820"/>
                    </a:lnTo>
                    <a:lnTo>
                      <a:pt x="1941" y="1794"/>
                    </a:lnTo>
                    <a:lnTo>
                      <a:pt x="1880" y="1768"/>
                    </a:lnTo>
                    <a:lnTo>
                      <a:pt x="1819" y="1741"/>
                    </a:lnTo>
                    <a:lnTo>
                      <a:pt x="1758" y="1715"/>
                    </a:lnTo>
                    <a:lnTo>
                      <a:pt x="1700" y="1688"/>
                    </a:lnTo>
                    <a:lnTo>
                      <a:pt x="1642" y="1662"/>
                    </a:lnTo>
                    <a:lnTo>
                      <a:pt x="1584" y="1634"/>
                    </a:lnTo>
                    <a:lnTo>
                      <a:pt x="1529" y="1607"/>
                    </a:lnTo>
                    <a:lnTo>
                      <a:pt x="1473" y="1579"/>
                    </a:lnTo>
                    <a:lnTo>
                      <a:pt x="1418" y="1551"/>
                    </a:lnTo>
                    <a:lnTo>
                      <a:pt x="1366" y="1523"/>
                    </a:lnTo>
                    <a:lnTo>
                      <a:pt x="1313" y="1494"/>
                    </a:lnTo>
                    <a:lnTo>
                      <a:pt x="1262" y="1466"/>
                    </a:lnTo>
                    <a:lnTo>
                      <a:pt x="1211" y="1437"/>
                    </a:lnTo>
                    <a:lnTo>
                      <a:pt x="1162" y="1408"/>
                    </a:lnTo>
                    <a:lnTo>
                      <a:pt x="1113" y="1379"/>
                    </a:lnTo>
                    <a:lnTo>
                      <a:pt x="1066" y="1349"/>
                    </a:lnTo>
                    <a:lnTo>
                      <a:pt x="1020" y="1320"/>
                    </a:lnTo>
                    <a:lnTo>
                      <a:pt x="975" y="1290"/>
                    </a:lnTo>
                    <a:lnTo>
                      <a:pt x="931" y="1260"/>
                    </a:lnTo>
                    <a:lnTo>
                      <a:pt x="887" y="1229"/>
                    </a:lnTo>
                    <a:lnTo>
                      <a:pt x="845" y="1199"/>
                    </a:lnTo>
                    <a:lnTo>
                      <a:pt x="804" y="1168"/>
                    </a:lnTo>
                    <a:lnTo>
                      <a:pt x="765" y="1138"/>
                    </a:lnTo>
                    <a:lnTo>
                      <a:pt x="726" y="1107"/>
                    </a:lnTo>
                    <a:lnTo>
                      <a:pt x="688" y="1076"/>
                    </a:lnTo>
                    <a:lnTo>
                      <a:pt x="651" y="1044"/>
                    </a:lnTo>
                    <a:lnTo>
                      <a:pt x="616" y="1013"/>
                    </a:lnTo>
                    <a:lnTo>
                      <a:pt x="581" y="981"/>
                    </a:lnTo>
                    <a:lnTo>
                      <a:pt x="548" y="949"/>
                    </a:lnTo>
                    <a:lnTo>
                      <a:pt x="516" y="917"/>
                    </a:lnTo>
                    <a:lnTo>
                      <a:pt x="485" y="885"/>
                    </a:lnTo>
                    <a:lnTo>
                      <a:pt x="456" y="853"/>
                    </a:lnTo>
                    <a:lnTo>
                      <a:pt x="427" y="821"/>
                    </a:lnTo>
                    <a:lnTo>
                      <a:pt x="400" y="789"/>
                    </a:lnTo>
                    <a:lnTo>
                      <a:pt x="373" y="756"/>
                    </a:lnTo>
                    <a:lnTo>
                      <a:pt x="348" y="724"/>
                    </a:lnTo>
                    <a:lnTo>
                      <a:pt x="324" y="691"/>
                    </a:lnTo>
                    <a:lnTo>
                      <a:pt x="301" y="658"/>
                    </a:lnTo>
                    <a:lnTo>
                      <a:pt x="280" y="624"/>
                    </a:lnTo>
                    <a:lnTo>
                      <a:pt x="260" y="591"/>
                    </a:lnTo>
                    <a:lnTo>
                      <a:pt x="240" y="558"/>
                    </a:lnTo>
                    <a:lnTo>
                      <a:pt x="223" y="525"/>
                    </a:lnTo>
                    <a:lnTo>
                      <a:pt x="205" y="492"/>
                    </a:lnTo>
                    <a:lnTo>
                      <a:pt x="190" y="459"/>
                    </a:lnTo>
                    <a:lnTo>
                      <a:pt x="175" y="425"/>
                    </a:lnTo>
                    <a:lnTo>
                      <a:pt x="163" y="392"/>
                    </a:lnTo>
                    <a:lnTo>
                      <a:pt x="150" y="357"/>
                    </a:lnTo>
                    <a:lnTo>
                      <a:pt x="140" y="324"/>
                    </a:lnTo>
                    <a:lnTo>
                      <a:pt x="131" y="290"/>
                    </a:lnTo>
                    <a:lnTo>
                      <a:pt x="123" y="256"/>
                    </a:lnTo>
                    <a:lnTo>
                      <a:pt x="115" y="222"/>
                    </a:lnTo>
                    <a:lnTo>
                      <a:pt x="110" y="188"/>
                    </a:lnTo>
                    <a:lnTo>
                      <a:pt x="106" y="154"/>
                    </a:lnTo>
                    <a:lnTo>
                      <a:pt x="102" y="119"/>
                    </a:lnTo>
                    <a:lnTo>
                      <a:pt x="101" y="85"/>
                    </a:lnTo>
                    <a:lnTo>
                      <a:pt x="100" y="50"/>
                    </a:lnTo>
                    <a:lnTo>
                      <a:pt x="100" y="50"/>
                    </a:lnTo>
                    <a:lnTo>
                      <a:pt x="100" y="50"/>
                    </a:lnTo>
                    <a:lnTo>
                      <a:pt x="100" y="44"/>
                    </a:lnTo>
                    <a:lnTo>
                      <a:pt x="99" y="39"/>
                    </a:lnTo>
                    <a:lnTo>
                      <a:pt x="98" y="33"/>
                    </a:lnTo>
                    <a:lnTo>
                      <a:pt x="96" y="28"/>
                    </a:lnTo>
                    <a:lnTo>
                      <a:pt x="94" y="24"/>
                    </a:lnTo>
                    <a:lnTo>
                      <a:pt x="91" y="20"/>
                    </a:lnTo>
                    <a:lnTo>
                      <a:pt x="88" y="16"/>
                    </a:lnTo>
                    <a:lnTo>
                      <a:pt x="85" y="13"/>
                    </a:lnTo>
                    <a:lnTo>
                      <a:pt x="77" y="8"/>
                    </a:lnTo>
                    <a:lnTo>
                      <a:pt x="68" y="3"/>
                    </a:lnTo>
                    <a:lnTo>
                      <a:pt x="60" y="0"/>
                    </a:lnTo>
                    <a:lnTo>
                      <a:pt x="51" y="0"/>
                    </a:lnTo>
                    <a:lnTo>
                      <a:pt x="40" y="0"/>
                    </a:lnTo>
                    <a:lnTo>
                      <a:pt x="32" y="3"/>
                    </a:lnTo>
                    <a:lnTo>
                      <a:pt x="23" y="8"/>
                    </a:lnTo>
                    <a:lnTo>
                      <a:pt x="15" y="13"/>
                    </a:lnTo>
                    <a:lnTo>
                      <a:pt x="12" y="16"/>
                    </a:lnTo>
                    <a:lnTo>
                      <a:pt x="9" y="20"/>
                    </a:lnTo>
                    <a:lnTo>
                      <a:pt x="6" y="24"/>
                    </a:lnTo>
                    <a:lnTo>
                      <a:pt x="4" y="28"/>
                    </a:lnTo>
                    <a:lnTo>
                      <a:pt x="2" y="33"/>
                    </a:lnTo>
                    <a:lnTo>
                      <a:pt x="1" y="39"/>
                    </a:lnTo>
                    <a:lnTo>
                      <a:pt x="0" y="44"/>
                    </a:lnTo>
                    <a:lnTo>
                      <a:pt x="0" y="5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70" name="Freeform 66"/>
              <p:cNvSpPr>
                <a:spLocks/>
              </p:cNvSpPr>
              <p:nvPr>
                <p:custDataLst>
                  <p:tags r:id="rId213"/>
                </p:custDataLst>
              </p:nvPr>
            </p:nvSpPr>
            <p:spPr bwMode="auto">
              <a:xfrm>
                <a:off x="369" y="3515"/>
                <a:ext cx="361" cy="114"/>
              </a:xfrm>
              <a:custGeom>
                <a:avLst/>
                <a:gdLst>
                  <a:gd name="T0" fmla="*/ 7823 w 8296"/>
                  <a:gd name="T1" fmla="*/ 3 h 2864"/>
                  <a:gd name="T2" fmla="*/ 6995 w 8296"/>
                  <a:gd name="T3" fmla="*/ 32 h 2864"/>
                  <a:gd name="T4" fmla="*/ 6193 w 8296"/>
                  <a:gd name="T5" fmla="*/ 88 h 2864"/>
                  <a:gd name="T6" fmla="*/ 5422 w 8296"/>
                  <a:gd name="T7" fmla="*/ 171 h 2864"/>
                  <a:gd name="T8" fmla="*/ 4686 w 8296"/>
                  <a:gd name="T9" fmla="*/ 279 h 2864"/>
                  <a:gd name="T10" fmla="*/ 3987 w 8296"/>
                  <a:gd name="T11" fmla="*/ 409 h 2864"/>
                  <a:gd name="T12" fmla="*/ 3331 w 8296"/>
                  <a:gd name="T13" fmla="*/ 561 h 2864"/>
                  <a:gd name="T14" fmla="*/ 2721 w 8296"/>
                  <a:gd name="T15" fmla="*/ 734 h 2864"/>
                  <a:gd name="T16" fmla="*/ 2436 w 8296"/>
                  <a:gd name="T17" fmla="*/ 827 h 2864"/>
                  <a:gd name="T18" fmla="*/ 2162 w 8296"/>
                  <a:gd name="T19" fmla="*/ 925 h 2864"/>
                  <a:gd name="T20" fmla="*/ 1904 w 8296"/>
                  <a:gd name="T21" fmla="*/ 1028 h 2864"/>
                  <a:gd name="T22" fmla="*/ 1658 w 8296"/>
                  <a:gd name="T23" fmla="*/ 1136 h 2864"/>
                  <a:gd name="T24" fmla="*/ 1428 w 8296"/>
                  <a:gd name="T25" fmla="*/ 1246 h 2864"/>
                  <a:gd name="T26" fmla="*/ 1212 w 8296"/>
                  <a:gd name="T27" fmla="*/ 1361 h 2864"/>
                  <a:gd name="T28" fmla="*/ 1013 w 8296"/>
                  <a:gd name="T29" fmla="*/ 1481 h 2864"/>
                  <a:gd name="T30" fmla="*/ 830 w 8296"/>
                  <a:gd name="T31" fmla="*/ 1603 h 2864"/>
                  <a:gd name="T32" fmla="*/ 663 w 8296"/>
                  <a:gd name="T33" fmla="*/ 1730 h 2864"/>
                  <a:gd name="T34" fmla="*/ 513 w 8296"/>
                  <a:gd name="T35" fmla="*/ 1860 h 2864"/>
                  <a:gd name="T36" fmla="*/ 381 w 8296"/>
                  <a:gd name="T37" fmla="*/ 1994 h 2864"/>
                  <a:gd name="T38" fmla="*/ 268 w 8296"/>
                  <a:gd name="T39" fmla="*/ 2131 h 2864"/>
                  <a:gd name="T40" fmla="*/ 174 w 8296"/>
                  <a:gd name="T41" fmla="*/ 2272 h 2864"/>
                  <a:gd name="T42" fmla="*/ 99 w 8296"/>
                  <a:gd name="T43" fmla="*/ 2416 h 2864"/>
                  <a:gd name="T44" fmla="*/ 44 w 8296"/>
                  <a:gd name="T45" fmla="*/ 2563 h 2864"/>
                  <a:gd name="T46" fmla="*/ 11 w 8296"/>
                  <a:gd name="T47" fmla="*/ 2712 h 2864"/>
                  <a:gd name="T48" fmla="*/ 0 w 8296"/>
                  <a:gd name="T49" fmla="*/ 2864 h 2864"/>
                  <a:gd name="T50" fmla="*/ 106 w 8296"/>
                  <a:gd name="T51" fmla="*/ 2762 h 2864"/>
                  <a:gd name="T52" fmla="*/ 131 w 8296"/>
                  <a:gd name="T53" fmla="*/ 2625 h 2864"/>
                  <a:gd name="T54" fmla="*/ 175 w 8296"/>
                  <a:gd name="T55" fmla="*/ 2490 h 2864"/>
                  <a:gd name="T56" fmla="*/ 240 w 8296"/>
                  <a:gd name="T57" fmla="*/ 2356 h 2864"/>
                  <a:gd name="T58" fmla="*/ 324 w 8296"/>
                  <a:gd name="T59" fmla="*/ 2224 h 2864"/>
                  <a:gd name="T60" fmla="*/ 427 w 8296"/>
                  <a:gd name="T61" fmla="*/ 2094 h 2864"/>
                  <a:gd name="T62" fmla="*/ 548 w 8296"/>
                  <a:gd name="T63" fmla="*/ 1966 h 2864"/>
                  <a:gd name="T64" fmla="*/ 688 w 8296"/>
                  <a:gd name="T65" fmla="*/ 1839 h 2864"/>
                  <a:gd name="T66" fmla="*/ 845 w 8296"/>
                  <a:gd name="T67" fmla="*/ 1716 h 2864"/>
                  <a:gd name="T68" fmla="*/ 1020 w 8296"/>
                  <a:gd name="T69" fmla="*/ 1595 h 2864"/>
                  <a:gd name="T70" fmla="*/ 1211 w 8296"/>
                  <a:gd name="T71" fmla="*/ 1478 h 2864"/>
                  <a:gd name="T72" fmla="*/ 1418 w 8296"/>
                  <a:gd name="T73" fmla="*/ 1364 h 2864"/>
                  <a:gd name="T74" fmla="*/ 1642 w 8296"/>
                  <a:gd name="T75" fmla="*/ 1254 h 2864"/>
                  <a:gd name="T76" fmla="*/ 1880 w 8296"/>
                  <a:gd name="T77" fmla="*/ 1147 h 2864"/>
                  <a:gd name="T78" fmla="*/ 2132 w 8296"/>
                  <a:gd name="T79" fmla="*/ 1044 h 2864"/>
                  <a:gd name="T80" fmla="*/ 2398 w 8296"/>
                  <a:gd name="T81" fmla="*/ 946 h 2864"/>
                  <a:gd name="T82" fmla="*/ 2679 w 8296"/>
                  <a:gd name="T83" fmla="*/ 852 h 2864"/>
                  <a:gd name="T84" fmla="*/ 3199 w 8296"/>
                  <a:gd name="T85" fmla="*/ 699 h 2864"/>
                  <a:gd name="T86" fmla="*/ 3839 w 8296"/>
                  <a:gd name="T87" fmla="*/ 542 h 2864"/>
                  <a:gd name="T88" fmla="*/ 4524 w 8296"/>
                  <a:gd name="T89" fmla="*/ 408 h 2864"/>
                  <a:gd name="T90" fmla="*/ 5248 w 8296"/>
                  <a:gd name="T91" fmla="*/ 295 h 2864"/>
                  <a:gd name="T92" fmla="*/ 6008 w 8296"/>
                  <a:gd name="T93" fmla="*/ 207 h 2864"/>
                  <a:gd name="T94" fmla="*/ 6798 w 8296"/>
                  <a:gd name="T95" fmla="*/ 144 h 2864"/>
                  <a:gd name="T96" fmla="*/ 7617 w 8296"/>
                  <a:gd name="T97" fmla="*/ 108 h 2864"/>
                  <a:gd name="T98" fmla="*/ 8246 w 8296"/>
                  <a:gd name="T99" fmla="*/ 100 h 2864"/>
                  <a:gd name="T100" fmla="*/ 8263 w 8296"/>
                  <a:gd name="T101" fmla="*/ 97 h 2864"/>
                  <a:gd name="T102" fmla="*/ 8280 w 8296"/>
                  <a:gd name="T103" fmla="*/ 88 h 2864"/>
                  <a:gd name="T104" fmla="*/ 8295 w 8296"/>
                  <a:gd name="T105" fmla="*/ 59 h 2864"/>
                  <a:gd name="T106" fmla="*/ 8289 w 8296"/>
                  <a:gd name="T107" fmla="*/ 23 h 2864"/>
                  <a:gd name="T108" fmla="*/ 8272 w 8296"/>
                  <a:gd name="T109" fmla="*/ 6 h 2864"/>
                  <a:gd name="T110" fmla="*/ 8252 w 8296"/>
                  <a:gd name="T111" fmla="*/ 0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4">
                    <a:moveTo>
                      <a:pt x="8246" y="0"/>
                    </a:moveTo>
                    <a:lnTo>
                      <a:pt x="8246" y="0"/>
                    </a:lnTo>
                    <a:lnTo>
                      <a:pt x="8034" y="0"/>
                    </a:lnTo>
                    <a:lnTo>
                      <a:pt x="7823" y="3"/>
                    </a:lnTo>
                    <a:lnTo>
                      <a:pt x="7614" y="8"/>
                    </a:lnTo>
                    <a:lnTo>
                      <a:pt x="7407" y="15"/>
                    </a:lnTo>
                    <a:lnTo>
                      <a:pt x="7200" y="23"/>
                    </a:lnTo>
                    <a:lnTo>
                      <a:pt x="6995" y="32"/>
                    </a:lnTo>
                    <a:lnTo>
                      <a:pt x="6792" y="44"/>
                    </a:lnTo>
                    <a:lnTo>
                      <a:pt x="6591" y="57"/>
                    </a:lnTo>
                    <a:lnTo>
                      <a:pt x="6391" y="72"/>
                    </a:lnTo>
                    <a:lnTo>
                      <a:pt x="6193" y="88"/>
                    </a:lnTo>
                    <a:lnTo>
                      <a:pt x="5998" y="107"/>
                    </a:lnTo>
                    <a:lnTo>
                      <a:pt x="5804" y="126"/>
                    </a:lnTo>
                    <a:lnTo>
                      <a:pt x="5612" y="148"/>
                    </a:lnTo>
                    <a:lnTo>
                      <a:pt x="5422" y="171"/>
                    </a:lnTo>
                    <a:lnTo>
                      <a:pt x="5235" y="196"/>
                    </a:lnTo>
                    <a:lnTo>
                      <a:pt x="5049" y="222"/>
                    </a:lnTo>
                    <a:lnTo>
                      <a:pt x="4866" y="250"/>
                    </a:lnTo>
                    <a:lnTo>
                      <a:pt x="4686" y="279"/>
                    </a:lnTo>
                    <a:lnTo>
                      <a:pt x="4507" y="309"/>
                    </a:lnTo>
                    <a:lnTo>
                      <a:pt x="4331" y="341"/>
                    </a:lnTo>
                    <a:lnTo>
                      <a:pt x="4158" y="374"/>
                    </a:lnTo>
                    <a:lnTo>
                      <a:pt x="3987" y="409"/>
                    </a:lnTo>
                    <a:lnTo>
                      <a:pt x="3819" y="444"/>
                    </a:lnTo>
                    <a:lnTo>
                      <a:pt x="3653" y="482"/>
                    </a:lnTo>
                    <a:lnTo>
                      <a:pt x="3491" y="521"/>
                    </a:lnTo>
                    <a:lnTo>
                      <a:pt x="3331" y="561"/>
                    </a:lnTo>
                    <a:lnTo>
                      <a:pt x="3173" y="602"/>
                    </a:lnTo>
                    <a:lnTo>
                      <a:pt x="3020" y="645"/>
                    </a:lnTo>
                    <a:lnTo>
                      <a:pt x="2869" y="688"/>
                    </a:lnTo>
                    <a:lnTo>
                      <a:pt x="2721" y="734"/>
                    </a:lnTo>
                    <a:lnTo>
                      <a:pt x="2649" y="757"/>
                    </a:lnTo>
                    <a:lnTo>
                      <a:pt x="2577" y="779"/>
                    </a:lnTo>
                    <a:lnTo>
                      <a:pt x="2506" y="803"/>
                    </a:lnTo>
                    <a:lnTo>
                      <a:pt x="2436" y="827"/>
                    </a:lnTo>
                    <a:lnTo>
                      <a:pt x="2365" y="851"/>
                    </a:lnTo>
                    <a:lnTo>
                      <a:pt x="2297" y="876"/>
                    </a:lnTo>
                    <a:lnTo>
                      <a:pt x="2229" y="901"/>
                    </a:lnTo>
                    <a:lnTo>
                      <a:pt x="2162" y="925"/>
                    </a:lnTo>
                    <a:lnTo>
                      <a:pt x="2096" y="950"/>
                    </a:lnTo>
                    <a:lnTo>
                      <a:pt x="2030" y="976"/>
                    </a:lnTo>
                    <a:lnTo>
                      <a:pt x="1967" y="1002"/>
                    </a:lnTo>
                    <a:lnTo>
                      <a:pt x="1904" y="1028"/>
                    </a:lnTo>
                    <a:lnTo>
                      <a:pt x="1841" y="1055"/>
                    </a:lnTo>
                    <a:lnTo>
                      <a:pt x="1779" y="1081"/>
                    </a:lnTo>
                    <a:lnTo>
                      <a:pt x="1718" y="1108"/>
                    </a:lnTo>
                    <a:lnTo>
                      <a:pt x="1658" y="1136"/>
                    </a:lnTo>
                    <a:lnTo>
                      <a:pt x="1600" y="1162"/>
                    </a:lnTo>
                    <a:lnTo>
                      <a:pt x="1541" y="1190"/>
                    </a:lnTo>
                    <a:lnTo>
                      <a:pt x="1484" y="1218"/>
                    </a:lnTo>
                    <a:lnTo>
                      <a:pt x="1428" y="1246"/>
                    </a:lnTo>
                    <a:lnTo>
                      <a:pt x="1373" y="1275"/>
                    </a:lnTo>
                    <a:lnTo>
                      <a:pt x="1318" y="1303"/>
                    </a:lnTo>
                    <a:lnTo>
                      <a:pt x="1265" y="1332"/>
                    </a:lnTo>
                    <a:lnTo>
                      <a:pt x="1212" y="1361"/>
                    </a:lnTo>
                    <a:lnTo>
                      <a:pt x="1162" y="1391"/>
                    </a:lnTo>
                    <a:lnTo>
                      <a:pt x="1111" y="1420"/>
                    </a:lnTo>
                    <a:lnTo>
                      <a:pt x="1062" y="1450"/>
                    </a:lnTo>
                    <a:lnTo>
                      <a:pt x="1013" y="1481"/>
                    </a:lnTo>
                    <a:lnTo>
                      <a:pt x="966" y="1511"/>
                    </a:lnTo>
                    <a:lnTo>
                      <a:pt x="919" y="1542"/>
                    </a:lnTo>
                    <a:lnTo>
                      <a:pt x="874" y="1572"/>
                    </a:lnTo>
                    <a:lnTo>
                      <a:pt x="830" y="1603"/>
                    </a:lnTo>
                    <a:lnTo>
                      <a:pt x="786" y="1635"/>
                    </a:lnTo>
                    <a:lnTo>
                      <a:pt x="744" y="1667"/>
                    </a:lnTo>
                    <a:lnTo>
                      <a:pt x="703" y="1699"/>
                    </a:lnTo>
                    <a:lnTo>
                      <a:pt x="663" y="1730"/>
                    </a:lnTo>
                    <a:lnTo>
                      <a:pt x="624" y="1763"/>
                    </a:lnTo>
                    <a:lnTo>
                      <a:pt x="586" y="1795"/>
                    </a:lnTo>
                    <a:lnTo>
                      <a:pt x="549" y="1828"/>
                    </a:lnTo>
                    <a:lnTo>
                      <a:pt x="513" y="1860"/>
                    </a:lnTo>
                    <a:lnTo>
                      <a:pt x="479" y="1893"/>
                    </a:lnTo>
                    <a:lnTo>
                      <a:pt x="445" y="1926"/>
                    </a:lnTo>
                    <a:lnTo>
                      <a:pt x="413" y="1960"/>
                    </a:lnTo>
                    <a:lnTo>
                      <a:pt x="381" y="1994"/>
                    </a:lnTo>
                    <a:lnTo>
                      <a:pt x="351" y="2028"/>
                    </a:lnTo>
                    <a:lnTo>
                      <a:pt x="323" y="2062"/>
                    </a:lnTo>
                    <a:lnTo>
                      <a:pt x="295" y="2097"/>
                    </a:lnTo>
                    <a:lnTo>
                      <a:pt x="268" y="2131"/>
                    </a:lnTo>
                    <a:lnTo>
                      <a:pt x="243" y="2166"/>
                    </a:lnTo>
                    <a:lnTo>
                      <a:pt x="219" y="2201"/>
                    </a:lnTo>
                    <a:lnTo>
                      <a:pt x="196" y="2236"/>
                    </a:lnTo>
                    <a:lnTo>
                      <a:pt x="174" y="2272"/>
                    </a:lnTo>
                    <a:lnTo>
                      <a:pt x="154" y="2307"/>
                    </a:lnTo>
                    <a:lnTo>
                      <a:pt x="134" y="2343"/>
                    </a:lnTo>
                    <a:lnTo>
                      <a:pt x="115" y="2380"/>
                    </a:lnTo>
                    <a:lnTo>
                      <a:pt x="99" y="2416"/>
                    </a:lnTo>
                    <a:lnTo>
                      <a:pt x="83" y="2452"/>
                    </a:lnTo>
                    <a:lnTo>
                      <a:pt x="69" y="2488"/>
                    </a:lnTo>
                    <a:lnTo>
                      <a:pt x="56" y="2526"/>
                    </a:lnTo>
                    <a:lnTo>
                      <a:pt x="44" y="2563"/>
                    </a:lnTo>
                    <a:lnTo>
                      <a:pt x="34" y="2600"/>
                    </a:lnTo>
                    <a:lnTo>
                      <a:pt x="25" y="2637"/>
                    </a:lnTo>
                    <a:lnTo>
                      <a:pt x="18" y="2675"/>
                    </a:lnTo>
                    <a:lnTo>
                      <a:pt x="11" y="2712"/>
                    </a:lnTo>
                    <a:lnTo>
                      <a:pt x="6" y="2750"/>
                    </a:lnTo>
                    <a:lnTo>
                      <a:pt x="3" y="2788"/>
                    </a:lnTo>
                    <a:lnTo>
                      <a:pt x="1" y="2826"/>
                    </a:lnTo>
                    <a:lnTo>
                      <a:pt x="0" y="2864"/>
                    </a:lnTo>
                    <a:lnTo>
                      <a:pt x="100" y="2864"/>
                    </a:lnTo>
                    <a:lnTo>
                      <a:pt x="101" y="2830"/>
                    </a:lnTo>
                    <a:lnTo>
                      <a:pt x="102" y="2796"/>
                    </a:lnTo>
                    <a:lnTo>
                      <a:pt x="106" y="2762"/>
                    </a:lnTo>
                    <a:lnTo>
                      <a:pt x="110" y="2726"/>
                    </a:lnTo>
                    <a:lnTo>
                      <a:pt x="115" y="2693"/>
                    </a:lnTo>
                    <a:lnTo>
                      <a:pt x="123" y="2659"/>
                    </a:lnTo>
                    <a:lnTo>
                      <a:pt x="131" y="2625"/>
                    </a:lnTo>
                    <a:lnTo>
                      <a:pt x="140" y="2591"/>
                    </a:lnTo>
                    <a:lnTo>
                      <a:pt x="150" y="2558"/>
                    </a:lnTo>
                    <a:lnTo>
                      <a:pt x="163" y="2524"/>
                    </a:lnTo>
                    <a:lnTo>
                      <a:pt x="175" y="2490"/>
                    </a:lnTo>
                    <a:lnTo>
                      <a:pt x="190" y="2456"/>
                    </a:lnTo>
                    <a:lnTo>
                      <a:pt x="205" y="2423"/>
                    </a:lnTo>
                    <a:lnTo>
                      <a:pt x="223" y="2390"/>
                    </a:lnTo>
                    <a:lnTo>
                      <a:pt x="240" y="2356"/>
                    </a:lnTo>
                    <a:lnTo>
                      <a:pt x="260" y="2323"/>
                    </a:lnTo>
                    <a:lnTo>
                      <a:pt x="279" y="2290"/>
                    </a:lnTo>
                    <a:lnTo>
                      <a:pt x="301" y="2258"/>
                    </a:lnTo>
                    <a:lnTo>
                      <a:pt x="324" y="2224"/>
                    </a:lnTo>
                    <a:lnTo>
                      <a:pt x="348" y="2191"/>
                    </a:lnTo>
                    <a:lnTo>
                      <a:pt x="373" y="2159"/>
                    </a:lnTo>
                    <a:lnTo>
                      <a:pt x="400" y="2126"/>
                    </a:lnTo>
                    <a:lnTo>
                      <a:pt x="427" y="2094"/>
                    </a:lnTo>
                    <a:lnTo>
                      <a:pt x="456" y="2062"/>
                    </a:lnTo>
                    <a:lnTo>
                      <a:pt x="485" y="2030"/>
                    </a:lnTo>
                    <a:lnTo>
                      <a:pt x="516" y="1998"/>
                    </a:lnTo>
                    <a:lnTo>
                      <a:pt x="548" y="1966"/>
                    </a:lnTo>
                    <a:lnTo>
                      <a:pt x="581" y="1934"/>
                    </a:lnTo>
                    <a:lnTo>
                      <a:pt x="616" y="1902"/>
                    </a:lnTo>
                    <a:lnTo>
                      <a:pt x="651" y="1870"/>
                    </a:lnTo>
                    <a:lnTo>
                      <a:pt x="688" y="1839"/>
                    </a:lnTo>
                    <a:lnTo>
                      <a:pt x="726" y="1808"/>
                    </a:lnTo>
                    <a:lnTo>
                      <a:pt x="765" y="1777"/>
                    </a:lnTo>
                    <a:lnTo>
                      <a:pt x="804" y="1746"/>
                    </a:lnTo>
                    <a:lnTo>
                      <a:pt x="845" y="1716"/>
                    </a:lnTo>
                    <a:lnTo>
                      <a:pt x="887" y="1685"/>
                    </a:lnTo>
                    <a:lnTo>
                      <a:pt x="931" y="1655"/>
                    </a:lnTo>
                    <a:lnTo>
                      <a:pt x="975" y="1625"/>
                    </a:lnTo>
                    <a:lnTo>
                      <a:pt x="1020" y="1595"/>
                    </a:lnTo>
                    <a:lnTo>
                      <a:pt x="1066" y="1565"/>
                    </a:lnTo>
                    <a:lnTo>
                      <a:pt x="1113" y="1536"/>
                    </a:lnTo>
                    <a:lnTo>
                      <a:pt x="1162" y="1507"/>
                    </a:lnTo>
                    <a:lnTo>
                      <a:pt x="1211" y="1478"/>
                    </a:lnTo>
                    <a:lnTo>
                      <a:pt x="1262" y="1449"/>
                    </a:lnTo>
                    <a:lnTo>
                      <a:pt x="1313" y="1420"/>
                    </a:lnTo>
                    <a:lnTo>
                      <a:pt x="1366" y="1392"/>
                    </a:lnTo>
                    <a:lnTo>
                      <a:pt x="1418" y="1364"/>
                    </a:lnTo>
                    <a:lnTo>
                      <a:pt x="1473" y="1336"/>
                    </a:lnTo>
                    <a:lnTo>
                      <a:pt x="1529" y="1308"/>
                    </a:lnTo>
                    <a:lnTo>
                      <a:pt x="1584" y="1280"/>
                    </a:lnTo>
                    <a:lnTo>
                      <a:pt x="1642" y="1254"/>
                    </a:lnTo>
                    <a:lnTo>
                      <a:pt x="1700" y="1227"/>
                    </a:lnTo>
                    <a:lnTo>
                      <a:pt x="1758" y="1200"/>
                    </a:lnTo>
                    <a:lnTo>
                      <a:pt x="1819" y="1173"/>
                    </a:lnTo>
                    <a:lnTo>
                      <a:pt x="1880" y="1147"/>
                    </a:lnTo>
                    <a:lnTo>
                      <a:pt x="1941" y="1121"/>
                    </a:lnTo>
                    <a:lnTo>
                      <a:pt x="2004" y="1095"/>
                    </a:lnTo>
                    <a:lnTo>
                      <a:pt x="2068" y="1069"/>
                    </a:lnTo>
                    <a:lnTo>
                      <a:pt x="2132" y="1044"/>
                    </a:lnTo>
                    <a:lnTo>
                      <a:pt x="2197" y="1020"/>
                    </a:lnTo>
                    <a:lnTo>
                      <a:pt x="2263" y="995"/>
                    </a:lnTo>
                    <a:lnTo>
                      <a:pt x="2330" y="970"/>
                    </a:lnTo>
                    <a:lnTo>
                      <a:pt x="2398" y="946"/>
                    </a:lnTo>
                    <a:lnTo>
                      <a:pt x="2467" y="922"/>
                    </a:lnTo>
                    <a:lnTo>
                      <a:pt x="2538" y="899"/>
                    </a:lnTo>
                    <a:lnTo>
                      <a:pt x="2608" y="875"/>
                    </a:lnTo>
                    <a:lnTo>
                      <a:pt x="2679" y="852"/>
                    </a:lnTo>
                    <a:lnTo>
                      <a:pt x="2751" y="829"/>
                    </a:lnTo>
                    <a:lnTo>
                      <a:pt x="2897" y="785"/>
                    </a:lnTo>
                    <a:lnTo>
                      <a:pt x="3047" y="741"/>
                    </a:lnTo>
                    <a:lnTo>
                      <a:pt x="3199" y="699"/>
                    </a:lnTo>
                    <a:lnTo>
                      <a:pt x="3355" y="658"/>
                    </a:lnTo>
                    <a:lnTo>
                      <a:pt x="3514" y="618"/>
                    </a:lnTo>
                    <a:lnTo>
                      <a:pt x="3675" y="580"/>
                    </a:lnTo>
                    <a:lnTo>
                      <a:pt x="3839" y="542"/>
                    </a:lnTo>
                    <a:lnTo>
                      <a:pt x="4007" y="506"/>
                    </a:lnTo>
                    <a:lnTo>
                      <a:pt x="4176" y="472"/>
                    </a:lnTo>
                    <a:lnTo>
                      <a:pt x="4350" y="439"/>
                    </a:lnTo>
                    <a:lnTo>
                      <a:pt x="4524" y="408"/>
                    </a:lnTo>
                    <a:lnTo>
                      <a:pt x="4702" y="377"/>
                    </a:lnTo>
                    <a:lnTo>
                      <a:pt x="4881" y="348"/>
                    </a:lnTo>
                    <a:lnTo>
                      <a:pt x="5064" y="321"/>
                    </a:lnTo>
                    <a:lnTo>
                      <a:pt x="5248" y="295"/>
                    </a:lnTo>
                    <a:lnTo>
                      <a:pt x="5435" y="270"/>
                    </a:lnTo>
                    <a:lnTo>
                      <a:pt x="5623" y="247"/>
                    </a:lnTo>
                    <a:lnTo>
                      <a:pt x="5814" y="227"/>
                    </a:lnTo>
                    <a:lnTo>
                      <a:pt x="6008" y="207"/>
                    </a:lnTo>
                    <a:lnTo>
                      <a:pt x="6203" y="188"/>
                    </a:lnTo>
                    <a:lnTo>
                      <a:pt x="6400" y="172"/>
                    </a:lnTo>
                    <a:lnTo>
                      <a:pt x="6597" y="157"/>
                    </a:lnTo>
                    <a:lnTo>
                      <a:pt x="6798" y="144"/>
                    </a:lnTo>
                    <a:lnTo>
                      <a:pt x="7000" y="133"/>
                    </a:lnTo>
                    <a:lnTo>
                      <a:pt x="7205" y="122"/>
                    </a:lnTo>
                    <a:lnTo>
                      <a:pt x="7410" y="115"/>
                    </a:lnTo>
                    <a:lnTo>
                      <a:pt x="7617" y="108"/>
                    </a:lnTo>
                    <a:lnTo>
                      <a:pt x="7825" y="104"/>
                    </a:lnTo>
                    <a:lnTo>
                      <a:pt x="8034" y="102"/>
                    </a:lnTo>
                    <a:lnTo>
                      <a:pt x="8246" y="100"/>
                    </a:lnTo>
                    <a:lnTo>
                      <a:pt x="8246" y="100"/>
                    </a:lnTo>
                    <a:lnTo>
                      <a:pt x="8246" y="100"/>
                    </a:lnTo>
                    <a:lnTo>
                      <a:pt x="8252" y="99"/>
                    </a:lnTo>
                    <a:lnTo>
                      <a:pt x="8257" y="99"/>
                    </a:lnTo>
                    <a:lnTo>
                      <a:pt x="8263" y="97"/>
                    </a:lnTo>
                    <a:lnTo>
                      <a:pt x="8267" y="96"/>
                    </a:lnTo>
                    <a:lnTo>
                      <a:pt x="8272" y="93"/>
                    </a:lnTo>
                    <a:lnTo>
                      <a:pt x="8276" y="91"/>
                    </a:lnTo>
                    <a:lnTo>
                      <a:pt x="8280" y="88"/>
                    </a:lnTo>
                    <a:lnTo>
                      <a:pt x="8284" y="84"/>
                    </a:lnTo>
                    <a:lnTo>
                      <a:pt x="8289" y="77"/>
                    </a:lnTo>
                    <a:lnTo>
                      <a:pt x="8293" y="68"/>
                    </a:lnTo>
                    <a:lnTo>
                      <a:pt x="8295" y="59"/>
                    </a:lnTo>
                    <a:lnTo>
                      <a:pt x="8296" y="50"/>
                    </a:lnTo>
                    <a:lnTo>
                      <a:pt x="8295" y="40"/>
                    </a:lnTo>
                    <a:lnTo>
                      <a:pt x="8293" y="31"/>
                    </a:lnTo>
                    <a:lnTo>
                      <a:pt x="8289" y="23"/>
                    </a:lnTo>
                    <a:lnTo>
                      <a:pt x="8284" y="16"/>
                    </a:lnTo>
                    <a:lnTo>
                      <a:pt x="8280" y="13"/>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71" name="Freeform 67"/>
              <p:cNvSpPr>
                <a:spLocks/>
              </p:cNvSpPr>
              <p:nvPr>
                <p:custDataLst>
                  <p:tags r:id="rId214"/>
                </p:custDataLst>
              </p:nvPr>
            </p:nvSpPr>
            <p:spPr bwMode="auto">
              <a:xfrm>
                <a:off x="728" y="3515"/>
                <a:ext cx="358" cy="114"/>
              </a:xfrm>
              <a:custGeom>
                <a:avLst/>
                <a:gdLst>
                  <a:gd name="T0" fmla="*/ 8239 w 8245"/>
                  <a:gd name="T1" fmla="*/ 2750 h 2864"/>
                  <a:gd name="T2" fmla="*/ 8211 w 8245"/>
                  <a:gd name="T3" fmla="*/ 2600 h 2864"/>
                  <a:gd name="T4" fmla="*/ 8162 w 8245"/>
                  <a:gd name="T5" fmla="*/ 2452 h 2864"/>
                  <a:gd name="T6" fmla="*/ 8091 w 8245"/>
                  <a:gd name="T7" fmla="*/ 2307 h 2864"/>
                  <a:gd name="T8" fmla="*/ 8002 w 8245"/>
                  <a:gd name="T9" fmla="*/ 2166 h 2864"/>
                  <a:gd name="T10" fmla="*/ 7894 w 8245"/>
                  <a:gd name="T11" fmla="*/ 2028 h 2864"/>
                  <a:gd name="T12" fmla="*/ 7766 w 8245"/>
                  <a:gd name="T13" fmla="*/ 1893 h 2864"/>
                  <a:gd name="T14" fmla="*/ 7620 w 8245"/>
                  <a:gd name="T15" fmla="*/ 1763 h 2864"/>
                  <a:gd name="T16" fmla="*/ 7459 w 8245"/>
                  <a:gd name="T17" fmla="*/ 1635 h 2864"/>
                  <a:gd name="T18" fmla="*/ 7279 w 8245"/>
                  <a:gd name="T19" fmla="*/ 1511 h 2864"/>
                  <a:gd name="T20" fmla="*/ 7083 w 8245"/>
                  <a:gd name="T21" fmla="*/ 1391 h 2864"/>
                  <a:gd name="T22" fmla="*/ 6872 w 8245"/>
                  <a:gd name="T23" fmla="*/ 1275 h 2864"/>
                  <a:gd name="T24" fmla="*/ 6645 w 8245"/>
                  <a:gd name="T25" fmla="*/ 1162 h 2864"/>
                  <a:gd name="T26" fmla="*/ 6404 w 8245"/>
                  <a:gd name="T27" fmla="*/ 1055 h 2864"/>
                  <a:gd name="T28" fmla="*/ 6149 w 8245"/>
                  <a:gd name="T29" fmla="*/ 950 h 2864"/>
                  <a:gd name="T30" fmla="*/ 5880 w 8245"/>
                  <a:gd name="T31" fmla="*/ 851 h 2864"/>
                  <a:gd name="T32" fmla="*/ 5596 w 8245"/>
                  <a:gd name="T33" fmla="*/ 757 h 2864"/>
                  <a:gd name="T34" fmla="*/ 5072 w 8245"/>
                  <a:gd name="T35" fmla="*/ 602 h 2864"/>
                  <a:gd name="T36" fmla="*/ 4426 w 8245"/>
                  <a:gd name="T37" fmla="*/ 444 h 2864"/>
                  <a:gd name="T38" fmla="*/ 3738 w 8245"/>
                  <a:gd name="T39" fmla="*/ 309 h 2864"/>
                  <a:gd name="T40" fmla="*/ 3010 w 8245"/>
                  <a:gd name="T41" fmla="*/ 196 h 2864"/>
                  <a:gd name="T42" fmla="*/ 2246 w 8245"/>
                  <a:gd name="T43" fmla="*/ 107 h 2864"/>
                  <a:gd name="T44" fmla="*/ 1453 w 8245"/>
                  <a:gd name="T45" fmla="*/ 44 h 2864"/>
                  <a:gd name="T46" fmla="*/ 631 w 8245"/>
                  <a:gd name="T47" fmla="*/ 8 h 2864"/>
                  <a:gd name="T48" fmla="*/ 0 w 8245"/>
                  <a:gd name="T49" fmla="*/ 100 h 2864"/>
                  <a:gd name="T50" fmla="*/ 835 w 8245"/>
                  <a:gd name="T51" fmla="*/ 115 h 2864"/>
                  <a:gd name="T52" fmla="*/ 1648 w 8245"/>
                  <a:gd name="T53" fmla="*/ 157 h 2864"/>
                  <a:gd name="T54" fmla="*/ 2431 w 8245"/>
                  <a:gd name="T55" fmla="*/ 227 h 2864"/>
                  <a:gd name="T56" fmla="*/ 3181 w 8245"/>
                  <a:gd name="T57" fmla="*/ 321 h 2864"/>
                  <a:gd name="T58" fmla="*/ 3895 w 8245"/>
                  <a:gd name="T59" fmla="*/ 439 h 2864"/>
                  <a:gd name="T60" fmla="*/ 4570 w 8245"/>
                  <a:gd name="T61" fmla="*/ 580 h 2864"/>
                  <a:gd name="T62" fmla="*/ 5198 w 8245"/>
                  <a:gd name="T63" fmla="*/ 741 h 2864"/>
                  <a:gd name="T64" fmla="*/ 5637 w 8245"/>
                  <a:gd name="T65" fmla="*/ 875 h 2864"/>
                  <a:gd name="T66" fmla="*/ 5915 w 8245"/>
                  <a:gd name="T67" fmla="*/ 970 h 2864"/>
                  <a:gd name="T68" fmla="*/ 6177 w 8245"/>
                  <a:gd name="T69" fmla="*/ 1069 h 2864"/>
                  <a:gd name="T70" fmla="*/ 6426 w 8245"/>
                  <a:gd name="T71" fmla="*/ 1173 h 2864"/>
                  <a:gd name="T72" fmla="*/ 6661 w 8245"/>
                  <a:gd name="T73" fmla="*/ 1280 h 2864"/>
                  <a:gd name="T74" fmla="*/ 6879 w 8245"/>
                  <a:gd name="T75" fmla="*/ 1392 h 2864"/>
                  <a:gd name="T76" fmla="*/ 7083 w 8245"/>
                  <a:gd name="T77" fmla="*/ 1507 h 2864"/>
                  <a:gd name="T78" fmla="*/ 7270 w 8245"/>
                  <a:gd name="T79" fmla="*/ 1625 h 2864"/>
                  <a:gd name="T80" fmla="*/ 7440 w 8245"/>
                  <a:gd name="T81" fmla="*/ 1746 h 2864"/>
                  <a:gd name="T82" fmla="*/ 7594 w 8245"/>
                  <a:gd name="T83" fmla="*/ 1870 h 2864"/>
                  <a:gd name="T84" fmla="*/ 7729 w 8245"/>
                  <a:gd name="T85" fmla="*/ 1998 h 2864"/>
                  <a:gd name="T86" fmla="*/ 7845 w 8245"/>
                  <a:gd name="T87" fmla="*/ 2126 h 2864"/>
                  <a:gd name="T88" fmla="*/ 7943 w 8245"/>
                  <a:gd name="T89" fmla="*/ 2258 h 2864"/>
                  <a:gd name="T90" fmla="*/ 8022 w 8245"/>
                  <a:gd name="T91" fmla="*/ 2390 h 2864"/>
                  <a:gd name="T92" fmla="*/ 8082 w 8245"/>
                  <a:gd name="T93" fmla="*/ 2524 h 2864"/>
                  <a:gd name="T94" fmla="*/ 8122 w 8245"/>
                  <a:gd name="T95" fmla="*/ 2659 h 2864"/>
                  <a:gd name="T96" fmla="*/ 8142 w 8245"/>
                  <a:gd name="T97" fmla="*/ 2796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4">
                    <a:moveTo>
                      <a:pt x="8245" y="2864"/>
                    </a:moveTo>
                    <a:lnTo>
                      <a:pt x="8244" y="2826"/>
                    </a:lnTo>
                    <a:lnTo>
                      <a:pt x="8242" y="2788"/>
                    </a:lnTo>
                    <a:lnTo>
                      <a:pt x="8239" y="2750"/>
                    </a:lnTo>
                    <a:lnTo>
                      <a:pt x="8234" y="2712"/>
                    </a:lnTo>
                    <a:lnTo>
                      <a:pt x="8227" y="2675"/>
                    </a:lnTo>
                    <a:lnTo>
                      <a:pt x="8219" y="2637"/>
                    </a:lnTo>
                    <a:lnTo>
                      <a:pt x="8211" y="2600"/>
                    </a:lnTo>
                    <a:lnTo>
                      <a:pt x="8201" y="2563"/>
                    </a:lnTo>
                    <a:lnTo>
                      <a:pt x="8188" y="2526"/>
                    </a:lnTo>
                    <a:lnTo>
                      <a:pt x="8176" y="2488"/>
                    </a:lnTo>
                    <a:lnTo>
                      <a:pt x="8162" y="2452"/>
                    </a:lnTo>
                    <a:lnTo>
                      <a:pt x="8146" y="2416"/>
                    </a:lnTo>
                    <a:lnTo>
                      <a:pt x="8130" y="2380"/>
                    </a:lnTo>
                    <a:lnTo>
                      <a:pt x="8111" y="2343"/>
                    </a:lnTo>
                    <a:lnTo>
                      <a:pt x="8091" y="2307"/>
                    </a:lnTo>
                    <a:lnTo>
                      <a:pt x="8071" y="2272"/>
                    </a:lnTo>
                    <a:lnTo>
                      <a:pt x="8049" y="2236"/>
                    </a:lnTo>
                    <a:lnTo>
                      <a:pt x="8026" y="2201"/>
                    </a:lnTo>
                    <a:lnTo>
                      <a:pt x="8002" y="2166"/>
                    </a:lnTo>
                    <a:lnTo>
                      <a:pt x="7977" y="2131"/>
                    </a:lnTo>
                    <a:lnTo>
                      <a:pt x="7950" y="2096"/>
                    </a:lnTo>
                    <a:lnTo>
                      <a:pt x="7922" y="2062"/>
                    </a:lnTo>
                    <a:lnTo>
                      <a:pt x="7894" y="2028"/>
                    </a:lnTo>
                    <a:lnTo>
                      <a:pt x="7864" y="1994"/>
                    </a:lnTo>
                    <a:lnTo>
                      <a:pt x="7832" y="1960"/>
                    </a:lnTo>
                    <a:lnTo>
                      <a:pt x="7800" y="1926"/>
                    </a:lnTo>
                    <a:lnTo>
                      <a:pt x="7766" y="1893"/>
                    </a:lnTo>
                    <a:lnTo>
                      <a:pt x="7732" y="1860"/>
                    </a:lnTo>
                    <a:lnTo>
                      <a:pt x="7696" y="1828"/>
                    </a:lnTo>
                    <a:lnTo>
                      <a:pt x="7659" y="1795"/>
                    </a:lnTo>
                    <a:lnTo>
                      <a:pt x="7620" y="1763"/>
                    </a:lnTo>
                    <a:lnTo>
                      <a:pt x="7582" y="1730"/>
                    </a:lnTo>
                    <a:lnTo>
                      <a:pt x="7542" y="1699"/>
                    </a:lnTo>
                    <a:lnTo>
                      <a:pt x="7501" y="1667"/>
                    </a:lnTo>
                    <a:lnTo>
                      <a:pt x="7459" y="1635"/>
                    </a:lnTo>
                    <a:lnTo>
                      <a:pt x="7415" y="1603"/>
                    </a:lnTo>
                    <a:lnTo>
                      <a:pt x="7371" y="1572"/>
                    </a:lnTo>
                    <a:lnTo>
                      <a:pt x="7326" y="1542"/>
                    </a:lnTo>
                    <a:lnTo>
                      <a:pt x="7279" y="1511"/>
                    </a:lnTo>
                    <a:lnTo>
                      <a:pt x="7232" y="1481"/>
                    </a:lnTo>
                    <a:lnTo>
                      <a:pt x="7183" y="1450"/>
                    </a:lnTo>
                    <a:lnTo>
                      <a:pt x="7134" y="1420"/>
                    </a:lnTo>
                    <a:lnTo>
                      <a:pt x="7083" y="1391"/>
                    </a:lnTo>
                    <a:lnTo>
                      <a:pt x="7032" y="1361"/>
                    </a:lnTo>
                    <a:lnTo>
                      <a:pt x="6980" y="1332"/>
                    </a:lnTo>
                    <a:lnTo>
                      <a:pt x="6927" y="1303"/>
                    </a:lnTo>
                    <a:lnTo>
                      <a:pt x="6872" y="1275"/>
                    </a:lnTo>
                    <a:lnTo>
                      <a:pt x="6817" y="1246"/>
                    </a:lnTo>
                    <a:lnTo>
                      <a:pt x="6761" y="1218"/>
                    </a:lnTo>
                    <a:lnTo>
                      <a:pt x="6704" y="1190"/>
                    </a:lnTo>
                    <a:lnTo>
                      <a:pt x="6645" y="1162"/>
                    </a:lnTo>
                    <a:lnTo>
                      <a:pt x="6587" y="1136"/>
                    </a:lnTo>
                    <a:lnTo>
                      <a:pt x="6527" y="1108"/>
                    </a:lnTo>
                    <a:lnTo>
                      <a:pt x="6466" y="1081"/>
                    </a:lnTo>
                    <a:lnTo>
                      <a:pt x="6404" y="1055"/>
                    </a:lnTo>
                    <a:lnTo>
                      <a:pt x="6341" y="1028"/>
                    </a:lnTo>
                    <a:lnTo>
                      <a:pt x="6278" y="1002"/>
                    </a:lnTo>
                    <a:lnTo>
                      <a:pt x="6214" y="976"/>
                    </a:lnTo>
                    <a:lnTo>
                      <a:pt x="6149" y="950"/>
                    </a:lnTo>
                    <a:lnTo>
                      <a:pt x="6083" y="925"/>
                    </a:lnTo>
                    <a:lnTo>
                      <a:pt x="6016" y="901"/>
                    </a:lnTo>
                    <a:lnTo>
                      <a:pt x="5948" y="876"/>
                    </a:lnTo>
                    <a:lnTo>
                      <a:pt x="5880" y="851"/>
                    </a:lnTo>
                    <a:lnTo>
                      <a:pt x="5809" y="827"/>
                    </a:lnTo>
                    <a:lnTo>
                      <a:pt x="5739" y="803"/>
                    </a:lnTo>
                    <a:lnTo>
                      <a:pt x="5668" y="779"/>
                    </a:lnTo>
                    <a:lnTo>
                      <a:pt x="5596" y="757"/>
                    </a:lnTo>
                    <a:lnTo>
                      <a:pt x="5524" y="734"/>
                    </a:lnTo>
                    <a:lnTo>
                      <a:pt x="5376" y="688"/>
                    </a:lnTo>
                    <a:lnTo>
                      <a:pt x="5225" y="645"/>
                    </a:lnTo>
                    <a:lnTo>
                      <a:pt x="5072" y="602"/>
                    </a:lnTo>
                    <a:lnTo>
                      <a:pt x="4914" y="561"/>
                    </a:lnTo>
                    <a:lnTo>
                      <a:pt x="4754" y="521"/>
                    </a:lnTo>
                    <a:lnTo>
                      <a:pt x="4592" y="482"/>
                    </a:lnTo>
                    <a:lnTo>
                      <a:pt x="4426" y="444"/>
                    </a:lnTo>
                    <a:lnTo>
                      <a:pt x="4258" y="409"/>
                    </a:lnTo>
                    <a:lnTo>
                      <a:pt x="4087" y="374"/>
                    </a:lnTo>
                    <a:lnTo>
                      <a:pt x="3914" y="341"/>
                    </a:lnTo>
                    <a:lnTo>
                      <a:pt x="3738" y="309"/>
                    </a:lnTo>
                    <a:lnTo>
                      <a:pt x="3559" y="279"/>
                    </a:lnTo>
                    <a:lnTo>
                      <a:pt x="3379" y="250"/>
                    </a:lnTo>
                    <a:lnTo>
                      <a:pt x="3196" y="222"/>
                    </a:lnTo>
                    <a:lnTo>
                      <a:pt x="3010" y="196"/>
                    </a:lnTo>
                    <a:lnTo>
                      <a:pt x="2823" y="171"/>
                    </a:lnTo>
                    <a:lnTo>
                      <a:pt x="2633" y="148"/>
                    </a:lnTo>
                    <a:lnTo>
                      <a:pt x="2441" y="126"/>
                    </a:lnTo>
                    <a:lnTo>
                      <a:pt x="2246" y="107"/>
                    </a:lnTo>
                    <a:lnTo>
                      <a:pt x="2052" y="88"/>
                    </a:lnTo>
                    <a:lnTo>
                      <a:pt x="1854" y="72"/>
                    </a:lnTo>
                    <a:lnTo>
                      <a:pt x="1654" y="57"/>
                    </a:lnTo>
                    <a:lnTo>
                      <a:pt x="1453" y="44"/>
                    </a:lnTo>
                    <a:lnTo>
                      <a:pt x="1250" y="32"/>
                    </a:lnTo>
                    <a:lnTo>
                      <a:pt x="1045" y="23"/>
                    </a:lnTo>
                    <a:lnTo>
                      <a:pt x="838" y="15"/>
                    </a:lnTo>
                    <a:lnTo>
                      <a:pt x="631" y="8"/>
                    </a:lnTo>
                    <a:lnTo>
                      <a:pt x="422" y="3"/>
                    </a:lnTo>
                    <a:lnTo>
                      <a:pt x="212" y="0"/>
                    </a:lnTo>
                    <a:lnTo>
                      <a:pt x="0" y="0"/>
                    </a:lnTo>
                    <a:lnTo>
                      <a:pt x="0" y="100"/>
                    </a:lnTo>
                    <a:lnTo>
                      <a:pt x="211" y="102"/>
                    </a:lnTo>
                    <a:lnTo>
                      <a:pt x="420" y="104"/>
                    </a:lnTo>
                    <a:lnTo>
                      <a:pt x="628" y="108"/>
                    </a:lnTo>
                    <a:lnTo>
                      <a:pt x="835" y="115"/>
                    </a:lnTo>
                    <a:lnTo>
                      <a:pt x="1040" y="122"/>
                    </a:lnTo>
                    <a:lnTo>
                      <a:pt x="1245" y="133"/>
                    </a:lnTo>
                    <a:lnTo>
                      <a:pt x="1447" y="144"/>
                    </a:lnTo>
                    <a:lnTo>
                      <a:pt x="1648" y="157"/>
                    </a:lnTo>
                    <a:lnTo>
                      <a:pt x="1845" y="172"/>
                    </a:lnTo>
                    <a:lnTo>
                      <a:pt x="2042" y="188"/>
                    </a:lnTo>
                    <a:lnTo>
                      <a:pt x="2237" y="207"/>
                    </a:lnTo>
                    <a:lnTo>
                      <a:pt x="2431" y="227"/>
                    </a:lnTo>
                    <a:lnTo>
                      <a:pt x="2622" y="247"/>
                    </a:lnTo>
                    <a:lnTo>
                      <a:pt x="2810" y="270"/>
                    </a:lnTo>
                    <a:lnTo>
                      <a:pt x="2997" y="295"/>
                    </a:lnTo>
                    <a:lnTo>
                      <a:pt x="3181" y="321"/>
                    </a:lnTo>
                    <a:lnTo>
                      <a:pt x="3364" y="348"/>
                    </a:lnTo>
                    <a:lnTo>
                      <a:pt x="3543" y="377"/>
                    </a:lnTo>
                    <a:lnTo>
                      <a:pt x="3721" y="408"/>
                    </a:lnTo>
                    <a:lnTo>
                      <a:pt x="3895" y="439"/>
                    </a:lnTo>
                    <a:lnTo>
                      <a:pt x="4069" y="472"/>
                    </a:lnTo>
                    <a:lnTo>
                      <a:pt x="4238" y="506"/>
                    </a:lnTo>
                    <a:lnTo>
                      <a:pt x="4405" y="542"/>
                    </a:lnTo>
                    <a:lnTo>
                      <a:pt x="4570" y="580"/>
                    </a:lnTo>
                    <a:lnTo>
                      <a:pt x="4731" y="618"/>
                    </a:lnTo>
                    <a:lnTo>
                      <a:pt x="4890" y="658"/>
                    </a:lnTo>
                    <a:lnTo>
                      <a:pt x="5046" y="699"/>
                    </a:lnTo>
                    <a:lnTo>
                      <a:pt x="5198" y="741"/>
                    </a:lnTo>
                    <a:lnTo>
                      <a:pt x="5348" y="785"/>
                    </a:lnTo>
                    <a:lnTo>
                      <a:pt x="5494" y="829"/>
                    </a:lnTo>
                    <a:lnTo>
                      <a:pt x="5566" y="852"/>
                    </a:lnTo>
                    <a:lnTo>
                      <a:pt x="5637" y="875"/>
                    </a:lnTo>
                    <a:lnTo>
                      <a:pt x="5707" y="899"/>
                    </a:lnTo>
                    <a:lnTo>
                      <a:pt x="5778" y="922"/>
                    </a:lnTo>
                    <a:lnTo>
                      <a:pt x="5847" y="946"/>
                    </a:lnTo>
                    <a:lnTo>
                      <a:pt x="5915" y="970"/>
                    </a:lnTo>
                    <a:lnTo>
                      <a:pt x="5982" y="995"/>
                    </a:lnTo>
                    <a:lnTo>
                      <a:pt x="6048" y="1020"/>
                    </a:lnTo>
                    <a:lnTo>
                      <a:pt x="6113" y="1044"/>
                    </a:lnTo>
                    <a:lnTo>
                      <a:pt x="6177" y="1069"/>
                    </a:lnTo>
                    <a:lnTo>
                      <a:pt x="6241" y="1095"/>
                    </a:lnTo>
                    <a:lnTo>
                      <a:pt x="6304" y="1121"/>
                    </a:lnTo>
                    <a:lnTo>
                      <a:pt x="6365" y="1147"/>
                    </a:lnTo>
                    <a:lnTo>
                      <a:pt x="6426" y="1173"/>
                    </a:lnTo>
                    <a:lnTo>
                      <a:pt x="6487" y="1200"/>
                    </a:lnTo>
                    <a:lnTo>
                      <a:pt x="6545" y="1227"/>
                    </a:lnTo>
                    <a:lnTo>
                      <a:pt x="6603" y="1254"/>
                    </a:lnTo>
                    <a:lnTo>
                      <a:pt x="6661" y="1280"/>
                    </a:lnTo>
                    <a:lnTo>
                      <a:pt x="6716" y="1308"/>
                    </a:lnTo>
                    <a:lnTo>
                      <a:pt x="6772" y="1336"/>
                    </a:lnTo>
                    <a:lnTo>
                      <a:pt x="6827" y="1364"/>
                    </a:lnTo>
                    <a:lnTo>
                      <a:pt x="6879" y="1392"/>
                    </a:lnTo>
                    <a:lnTo>
                      <a:pt x="6932" y="1420"/>
                    </a:lnTo>
                    <a:lnTo>
                      <a:pt x="6983" y="1449"/>
                    </a:lnTo>
                    <a:lnTo>
                      <a:pt x="7034" y="1478"/>
                    </a:lnTo>
                    <a:lnTo>
                      <a:pt x="7083" y="1507"/>
                    </a:lnTo>
                    <a:lnTo>
                      <a:pt x="7132" y="1536"/>
                    </a:lnTo>
                    <a:lnTo>
                      <a:pt x="7178" y="1565"/>
                    </a:lnTo>
                    <a:lnTo>
                      <a:pt x="7225" y="1595"/>
                    </a:lnTo>
                    <a:lnTo>
                      <a:pt x="7270" y="1625"/>
                    </a:lnTo>
                    <a:lnTo>
                      <a:pt x="7314" y="1655"/>
                    </a:lnTo>
                    <a:lnTo>
                      <a:pt x="7358" y="1685"/>
                    </a:lnTo>
                    <a:lnTo>
                      <a:pt x="7400" y="1716"/>
                    </a:lnTo>
                    <a:lnTo>
                      <a:pt x="7440" y="1746"/>
                    </a:lnTo>
                    <a:lnTo>
                      <a:pt x="7480" y="1777"/>
                    </a:lnTo>
                    <a:lnTo>
                      <a:pt x="7519" y="1808"/>
                    </a:lnTo>
                    <a:lnTo>
                      <a:pt x="7557" y="1839"/>
                    </a:lnTo>
                    <a:lnTo>
                      <a:pt x="7594" y="1870"/>
                    </a:lnTo>
                    <a:lnTo>
                      <a:pt x="7629" y="1902"/>
                    </a:lnTo>
                    <a:lnTo>
                      <a:pt x="7664" y="1934"/>
                    </a:lnTo>
                    <a:lnTo>
                      <a:pt x="7697" y="1966"/>
                    </a:lnTo>
                    <a:lnTo>
                      <a:pt x="7729" y="1998"/>
                    </a:lnTo>
                    <a:lnTo>
                      <a:pt x="7760" y="2030"/>
                    </a:lnTo>
                    <a:lnTo>
                      <a:pt x="7789" y="2062"/>
                    </a:lnTo>
                    <a:lnTo>
                      <a:pt x="7818" y="2094"/>
                    </a:lnTo>
                    <a:lnTo>
                      <a:pt x="7845" y="2126"/>
                    </a:lnTo>
                    <a:lnTo>
                      <a:pt x="7872" y="2159"/>
                    </a:lnTo>
                    <a:lnTo>
                      <a:pt x="7897" y="2191"/>
                    </a:lnTo>
                    <a:lnTo>
                      <a:pt x="7920" y="2224"/>
                    </a:lnTo>
                    <a:lnTo>
                      <a:pt x="7943" y="2258"/>
                    </a:lnTo>
                    <a:lnTo>
                      <a:pt x="7966" y="2290"/>
                    </a:lnTo>
                    <a:lnTo>
                      <a:pt x="7985" y="2323"/>
                    </a:lnTo>
                    <a:lnTo>
                      <a:pt x="8005" y="2356"/>
                    </a:lnTo>
                    <a:lnTo>
                      <a:pt x="8022" y="2390"/>
                    </a:lnTo>
                    <a:lnTo>
                      <a:pt x="8039" y="2423"/>
                    </a:lnTo>
                    <a:lnTo>
                      <a:pt x="8055" y="2456"/>
                    </a:lnTo>
                    <a:lnTo>
                      <a:pt x="8069" y="2489"/>
                    </a:lnTo>
                    <a:lnTo>
                      <a:pt x="8082" y="2524"/>
                    </a:lnTo>
                    <a:lnTo>
                      <a:pt x="8095" y="2558"/>
                    </a:lnTo>
                    <a:lnTo>
                      <a:pt x="8105" y="2591"/>
                    </a:lnTo>
                    <a:lnTo>
                      <a:pt x="8114" y="2625"/>
                    </a:lnTo>
                    <a:lnTo>
                      <a:pt x="8122" y="2659"/>
                    </a:lnTo>
                    <a:lnTo>
                      <a:pt x="8130" y="2693"/>
                    </a:lnTo>
                    <a:lnTo>
                      <a:pt x="8135" y="2726"/>
                    </a:lnTo>
                    <a:lnTo>
                      <a:pt x="8139" y="2762"/>
                    </a:lnTo>
                    <a:lnTo>
                      <a:pt x="8142" y="2796"/>
                    </a:lnTo>
                    <a:lnTo>
                      <a:pt x="8144" y="2830"/>
                    </a:lnTo>
                    <a:lnTo>
                      <a:pt x="8145" y="2864"/>
                    </a:lnTo>
                    <a:lnTo>
                      <a:pt x="8245"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72" name="Freeform 68"/>
              <p:cNvSpPr>
                <a:spLocks/>
              </p:cNvSpPr>
              <p:nvPr>
                <p:custDataLst>
                  <p:tags r:id="rId215"/>
                </p:custDataLst>
              </p:nvPr>
            </p:nvSpPr>
            <p:spPr bwMode="auto">
              <a:xfrm>
                <a:off x="370" y="3472"/>
                <a:ext cx="714" cy="160"/>
              </a:xfrm>
              <a:custGeom>
                <a:avLst/>
                <a:gdLst>
                  <a:gd name="T0" fmla="*/ 0 w 16419"/>
                  <a:gd name="T1" fmla="*/ 0 h 4020"/>
                  <a:gd name="T2" fmla="*/ 0 w 16419"/>
                  <a:gd name="T3" fmla="*/ 4020 h 4020"/>
                  <a:gd name="T4" fmla="*/ 16415 w 16419"/>
                  <a:gd name="T5" fmla="*/ 4020 h 4020"/>
                  <a:gd name="T6" fmla="*/ 16419 w 16419"/>
                  <a:gd name="T7" fmla="*/ 2 h 4020"/>
                  <a:gd name="T8" fmla="*/ 0 w 16419"/>
                  <a:gd name="T9" fmla="*/ 0 h 4020"/>
                </a:gdLst>
                <a:ahLst/>
                <a:cxnLst>
                  <a:cxn ang="0">
                    <a:pos x="T0" y="T1"/>
                  </a:cxn>
                  <a:cxn ang="0">
                    <a:pos x="T2" y="T3"/>
                  </a:cxn>
                  <a:cxn ang="0">
                    <a:pos x="T4" y="T5"/>
                  </a:cxn>
                  <a:cxn ang="0">
                    <a:pos x="T6" y="T7"/>
                  </a:cxn>
                  <a:cxn ang="0">
                    <a:pos x="T8" y="T9"/>
                  </a:cxn>
                </a:cxnLst>
                <a:rect l="0" t="0" r="r" b="b"/>
                <a:pathLst>
                  <a:path w="16419" h="4020">
                    <a:moveTo>
                      <a:pt x="0" y="0"/>
                    </a:moveTo>
                    <a:lnTo>
                      <a:pt x="0" y="4020"/>
                    </a:lnTo>
                    <a:lnTo>
                      <a:pt x="16415" y="4020"/>
                    </a:lnTo>
                    <a:lnTo>
                      <a:pt x="16419" y="2"/>
                    </a:lnTo>
                    <a:lnTo>
                      <a:pt x="0" y="0"/>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73" name="Freeform 69"/>
              <p:cNvSpPr>
                <a:spLocks/>
              </p:cNvSpPr>
              <p:nvPr>
                <p:custDataLst>
                  <p:tags r:id="rId216"/>
                </p:custDataLst>
              </p:nvPr>
            </p:nvSpPr>
            <p:spPr bwMode="auto">
              <a:xfrm>
                <a:off x="371" y="3356"/>
                <a:ext cx="713" cy="225"/>
              </a:xfrm>
              <a:custGeom>
                <a:avLst/>
                <a:gdLst>
                  <a:gd name="T0" fmla="*/ 16347 w 16389"/>
                  <a:gd name="T1" fmla="*/ 3102 h 5628"/>
                  <a:gd name="T2" fmla="*/ 16132 w 16389"/>
                  <a:gd name="T3" fmla="*/ 3517 h 5628"/>
                  <a:gd name="T4" fmla="*/ 15745 w 16389"/>
                  <a:gd name="T5" fmla="*/ 3909 h 5628"/>
                  <a:gd name="T6" fmla="*/ 15203 w 16389"/>
                  <a:gd name="T7" fmla="*/ 4272 h 5628"/>
                  <a:gd name="T8" fmla="*/ 14518 w 16389"/>
                  <a:gd name="T9" fmla="*/ 4604 h 5628"/>
                  <a:gd name="T10" fmla="*/ 13704 w 16389"/>
                  <a:gd name="T11" fmla="*/ 4896 h 5628"/>
                  <a:gd name="T12" fmla="*/ 12776 w 16389"/>
                  <a:gd name="T13" fmla="*/ 5147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7 h 5628"/>
                  <a:gd name="T30" fmla="*/ 2685 w 16389"/>
                  <a:gd name="T31" fmla="*/ 4896 h 5628"/>
                  <a:gd name="T32" fmla="*/ 1871 w 16389"/>
                  <a:gd name="T33" fmla="*/ 4604 h 5628"/>
                  <a:gd name="T34" fmla="*/ 1186 w 16389"/>
                  <a:gd name="T35" fmla="*/ 4272 h 5628"/>
                  <a:gd name="T36" fmla="*/ 644 w 16389"/>
                  <a:gd name="T37" fmla="*/ 3909 h 5628"/>
                  <a:gd name="T38" fmla="*/ 257 w 16389"/>
                  <a:gd name="T39" fmla="*/ 3517 h 5628"/>
                  <a:gd name="T40" fmla="*/ 42 w 16389"/>
                  <a:gd name="T41" fmla="*/ 3102 h 5628"/>
                  <a:gd name="T42" fmla="*/ 10 w 16389"/>
                  <a:gd name="T43" fmla="*/ 2669 h 5628"/>
                  <a:gd name="T44" fmla="*/ 165 w 16389"/>
                  <a:gd name="T45" fmla="*/ 2247 h 5628"/>
                  <a:gd name="T46" fmla="*/ 496 w 16389"/>
                  <a:gd name="T47" fmla="*/ 1846 h 5628"/>
                  <a:gd name="T48" fmla="*/ 989 w 16389"/>
                  <a:gd name="T49" fmla="*/ 1473 h 5628"/>
                  <a:gd name="T50" fmla="*/ 1628 w 16389"/>
                  <a:gd name="T51" fmla="*/ 1130 h 5628"/>
                  <a:gd name="T52" fmla="*/ 2400 w 16389"/>
                  <a:gd name="T53" fmla="*/ 824 h 5628"/>
                  <a:gd name="T54" fmla="*/ 3292 w 16389"/>
                  <a:gd name="T55" fmla="*/ 559 h 5628"/>
                  <a:gd name="T56" fmla="*/ 4289 w 16389"/>
                  <a:gd name="T57" fmla="*/ 339 h 5628"/>
                  <a:gd name="T58" fmla="*/ 5378 w 16389"/>
                  <a:gd name="T59" fmla="*/ 170 h 5628"/>
                  <a:gd name="T60" fmla="*/ 6543 w 16389"/>
                  <a:gd name="T61" fmla="*/ 57 h 5628"/>
                  <a:gd name="T62" fmla="*/ 7773 w 16389"/>
                  <a:gd name="T63" fmla="*/ 3 h 5628"/>
                  <a:gd name="T64" fmla="*/ 9032 w 16389"/>
                  <a:gd name="T65" fmla="*/ 14 h 5628"/>
                  <a:gd name="T66" fmla="*/ 10241 w 16389"/>
                  <a:gd name="T67" fmla="*/ 88 h 5628"/>
                  <a:gd name="T68" fmla="*/ 11383 w 16389"/>
                  <a:gd name="T69" fmla="*/ 220 h 5628"/>
                  <a:gd name="T70" fmla="*/ 12443 w 16389"/>
                  <a:gd name="T71" fmla="*/ 406 h 5628"/>
                  <a:gd name="T72" fmla="*/ 13407 w 16389"/>
                  <a:gd name="T73" fmla="*/ 642 h 5628"/>
                  <a:gd name="T74" fmla="*/ 14260 w 16389"/>
                  <a:gd name="T75" fmla="*/ 922 h 5628"/>
                  <a:gd name="T76" fmla="*/ 14990 w 16389"/>
                  <a:gd name="T77" fmla="*/ 1241 h 5628"/>
                  <a:gd name="T78" fmla="*/ 15581 w 16389"/>
                  <a:gd name="T79" fmla="*/ 1594 h 5628"/>
                  <a:gd name="T80" fmla="*/ 16022 w 16389"/>
                  <a:gd name="T81" fmla="*/ 1977 h 5628"/>
                  <a:gd name="T82" fmla="*/ 16296 w 16389"/>
                  <a:gd name="T83" fmla="*/ 2385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2"/>
                    </a:lnTo>
                    <a:lnTo>
                      <a:pt x="16224" y="3381"/>
                    </a:lnTo>
                    <a:lnTo>
                      <a:pt x="16132" y="3517"/>
                    </a:lnTo>
                    <a:lnTo>
                      <a:pt x="16022" y="3650"/>
                    </a:lnTo>
                    <a:lnTo>
                      <a:pt x="15893" y="3781"/>
                    </a:lnTo>
                    <a:lnTo>
                      <a:pt x="15745" y="3909"/>
                    </a:lnTo>
                    <a:lnTo>
                      <a:pt x="15581" y="4033"/>
                    </a:lnTo>
                    <a:lnTo>
                      <a:pt x="15400" y="4155"/>
                    </a:lnTo>
                    <a:lnTo>
                      <a:pt x="15203" y="4272"/>
                    </a:lnTo>
                    <a:lnTo>
                      <a:pt x="14990" y="4387"/>
                    </a:lnTo>
                    <a:lnTo>
                      <a:pt x="14761" y="4497"/>
                    </a:lnTo>
                    <a:lnTo>
                      <a:pt x="14518" y="4604"/>
                    </a:lnTo>
                    <a:lnTo>
                      <a:pt x="14260" y="4706"/>
                    </a:lnTo>
                    <a:lnTo>
                      <a:pt x="13989" y="4803"/>
                    </a:lnTo>
                    <a:lnTo>
                      <a:pt x="13704" y="4896"/>
                    </a:lnTo>
                    <a:lnTo>
                      <a:pt x="13407" y="4985"/>
                    </a:lnTo>
                    <a:lnTo>
                      <a:pt x="13096" y="5069"/>
                    </a:lnTo>
                    <a:lnTo>
                      <a:pt x="12776" y="5147"/>
                    </a:lnTo>
                    <a:lnTo>
                      <a:pt x="12443" y="5220"/>
                    </a:lnTo>
                    <a:lnTo>
                      <a:pt x="12100" y="5289"/>
                    </a:lnTo>
                    <a:lnTo>
                      <a:pt x="11746" y="5351"/>
                    </a:lnTo>
                    <a:lnTo>
                      <a:pt x="11383" y="5407"/>
                    </a:lnTo>
                    <a:lnTo>
                      <a:pt x="11011" y="5457"/>
                    </a:lnTo>
                    <a:lnTo>
                      <a:pt x="10631" y="5502"/>
                    </a:lnTo>
                    <a:lnTo>
                      <a:pt x="10241" y="5539"/>
                    </a:lnTo>
                    <a:lnTo>
                      <a:pt x="9846" y="5571"/>
                    </a:lnTo>
                    <a:lnTo>
                      <a:pt x="9442" y="5596"/>
                    </a:lnTo>
                    <a:lnTo>
                      <a:pt x="9032" y="5614"/>
                    </a:lnTo>
                    <a:lnTo>
                      <a:pt x="8616" y="5624"/>
                    </a:lnTo>
                    <a:lnTo>
                      <a:pt x="8195" y="5628"/>
                    </a:lnTo>
                    <a:lnTo>
                      <a:pt x="7773" y="5624"/>
                    </a:lnTo>
                    <a:lnTo>
                      <a:pt x="7357" y="5614"/>
                    </a:lnTo>
                    <a:lnTo>
                      <a:pt x="6947" y="5596"/>
                    </a:lnTo>
                    <a:lnTo>
                      <a:pt x="6543" y="5571"/>
                    </a:lnTo>
                    <a:lnTo>
                      <a:pt x="6148" y="5539"/>
                    </a:lnTo>
                    <a:lnTo>
                      <a:pt x="5758" y="5502"/>
                    </a:lnTo>
                    <a:lnTo>
                      <a:pt x="5378" y="5457"/>
                    </a:lnTo>
                    <a:lnTo>
                      <a:pt x="5006" y="5407"/>
                    </a:lnTo>
                    <a:lnTo>
                      <a:pt x="4643" y="5351"/>
                    </a:lnTo>
                    <a:lnTo>
                      <a:pt x="4289" y="5289"/>
                    </a:lnTo>
                    <a:lnTo>
                      <a:pt x="3946" y="5220"/>
                    </a:lnTo>
                    <a:lnTo>
                      <a:pt x="3613" y="5147"/>
                    </a:lnTo>
                    <a:lnTo>
                      <a:pt x="3292" y="5069"/>
                    </a:lnTo>
                    <a:lnTo>
                      <a:pt x="2982" y="4985"/>
                    </a:lnTo>
                    <a:lnTo>
                      <a:pt x="2685" y="4896"/>
                    </a:lnTo>
                    <a:lnTo>
                      <a:pt x="2400" y="4803"/>
                    </a:lnTo>
                    <a:lnTo>
                      <a:pt x="2129" y="4706"/>
                    </a:lnTo>
                    <a:lnTo>
                      <a:pt x="1871" y="4604"/>
                    </a:lnTo>
                    <a:lnTo>
                      <a:pt x="1628" y="4497"/>
                    </a:lnTo>
                    <a:lnTo>
                      <a:pt x="1399" y="4387"/>
                    </a:lnTo>
                    <a:lnTo>
                      <a:pt x="1186" y="4272"/>
                    </a:lnTo>
                    <a:lnTo>
                      <a:pt x="989" y="4155"/>
                    </a:lnTo>
                    <a:lnTo>
                      <a:pt x="808" y="4033"/>
                    </a:lnTo>
                    <a:lnTo>
                      <a:pt x="644" y="3909"/>
                    </a:lnTo>
                    <a:lnTo>
                      <a:pt x="496" y="3781"/>
                    </a:lnTo>
                    <a:lnTo>
                      <a:pt x="367" y="3650"/>
                    </a:lnTo>
                    <a:lnTo>
                      <a:pt x="257" y="3517"/>
                    </a:lnTo>
                    <a:lnTo>
                      <a:pt x="165" y="3381"/>
                    </a:lnTo>
                    <a:lnTo>
                      <a:pt x="93" y="3242"/>
                    </a:lnTo>
                    <a:lnTo>
                      <a:pt x="42" y="3102"/>
                    </a:lnTo>
                    <a:lnTo>
                      <a:pt x="10" y="2959"/>
                    </a:lnTo>
                    <a:lnTo>
                      <a:pt x="0" y="2814"/>
                    </a:lnTo>
                    <a:lnTo>
                      <a:pt x="10" y="2669"/>
                    </a:lnTo>
                    <a:lnTo>
                      <a:pt x="42" y="2526"/>
                    </a:lnTo>
                    <a:lnTo>
                      <a:pt x="93" y="2385"/>
                    </a:lnTo>
                    <a:lnTo>
                      <a:pt x="165" y="2247"/>
                    </a:lnTo>
                    <a:lnTo>
                      <a:pt x="257" y="2111"/>
                    </a:lnTo>
                    <a:lnTo>
                      <a:pt x="367" y="1977"/>
                    </a:lnTo>
                    <a:lnTo>
                      <a:pt x="496" y="1846"/>
                    </a:lnTo>
                    <a:lnTo>
                      <a:pt x="644" y="1719"/>
                    </a:lnTo>
                    <a:lnTo>
                      <a:pt x="808" y="1594"/>
                    </a:lnTo>
                    <a:lnTo>
                      <a:pt x="989" y="1473"/>
                    </a:lnTo>
                    <a:lnTo>
                      <a:pt x="1186" y="1355"/>
                    </a:lnTo>
                    <a:lnTo>
                      <a:pt x="1399" y="1241"/>
                    </a:lnTo>
                    <a:lnTo>
                      <a:pt x="1628" y="1130"/>
                    </a:lnTo>
                    <a:lnTo>
                      <a:pt x="1871" y="1023"/>
                    </a:lnTo>
                    <a:lnTo>
                      <a:pt x="2129" y="922"/>
                    </a:lnTo>
                    <a:lnTo>
                      <a:pt x="2400" y="824"/>
                    </a:lnTo>
                    <a:lnTo>
                      <a:pt x="2685" y="730"/>
                    </a:lnTo>
                    <a:lnTo>
                      <a:pt x="2982" y="642"/>
                    </a:lnTo>
                    <a:lnTo>
                      <a:pt x="3292" y="559"/>
                    </a:lnTo>
                    <a:lnTo>
                      <a:pt x="3613" y="480"/>
                    </a:lnTo>
                    <a:lnTo>
                      <a:pt x="3946" y="406"/>
                    </a:lnTo>
                    <a:lnTo>
                      <a:pt x="4289" y="339"/>
                    </a:lnTo>
                    <a:lnTo>
                      <a:pt x="4643" y="277"/>
                    </a:lnTo>
                    <a:lnTo>
                      <a:pt x="5006" y="220"/>
                    </a:lnTo>
                    <a:lnTo>
                      <a:pt x="5378" y="170"/>
                    </a:lnTo>
                    <a:lnTo>
                      <a:pt x="5758" y="126"/>
                    </a:lnTo>
                    <a:lnTo>
                      <a:pt x="6148" y="88"/>
                    </a:lnTo>
                    <a:lnTo>
                      <a:pt x="6543" y="57"/>
                    </a:lnTo>
                    <a:lnTo>
                      <a:pt x="6947" y="32"/>
                    </a:lnTo>
                    <a:lnTo>
                      <a:pt x="7357" y="14"/>
                    </a:lnTo>
                    <a:lnTo>
                      <a:pt x="7773" y="3"/>
                    </a:lnTo>
                    <a:lnTo>
                      <a:pt x="8195" y="0"/>
                    </a:lnTo>
                    <a:lnTo>
                      <a:pt x="8616" y="3"/>
                    </a:lnTo>
                    <a:lnTo>
                      <a:pt x="9032" y="14"/>
                    </a:lnTo>
                    <a:lnTo>
                      <a:pt x="9442" y="32"/>
                    </a:lnTo>
                    <a:lnTo>
                      <a:pt x="9846" y="57"/>
                    </a:lnTo>
                    <a:lnTo>
                      <a:pt x="10241" y="88"/>
                    </a:lnTo>
                    <a:lnTo>
                      <a:pt x="10631" y="126"/>
                    </a:lnTo>
                    <a:lnTo>
                      <a:pt x="11011" y="170"/>
                    </a:lnTo>
                    <a:lnTo>
                      <a:pt x="11383" y="220"/>
                    </a:lnTo>
                    <a:lnTo>
                      <a:pt x="11746" y="277"/>
                    </a:lnTo>
                    <a:lnTo>
                      <a:pt x="12100" y="339"/>
                    </a:lnTo>
                    <a:lnTo>
                      <a:pt x="12443" y="406"/>
                    </a:lnTo>
                    <a:lnTo>
                      <a:pt x="12776" y="480"/>
                    </a:lnTo>
                    <a:lnTo>
                      <a:pt x="13096" y="559"/>
                    </a:lnTo>
                    <a:lnTo>
                      <a:pt x="13407" y="642"/>
                    </a:lnTo>
                    <a:lnTo>
                      <a:pt x="13704" y="730"/>
                    </a:lnTo>
                    <a:lnTo>
                      <a:pt x="13989" y="824"/>
                    </a:lnTo>
                    <a:lnTo>
                      <a:pt x="14260" y="922"/>
                    </a:lnTo>
                    <a:lnTo>
                      <a:pt x="14518" y="1023"/>
                    </a:lnTo>
                    <a:lnTo>
                      <a:pt x="14761" y="1130"/>
                    </a:lnTo>
                    <a:lnTo>
                      <a:pt x="14990" y="1241"/>
                    </a:lnTo>
                    <a:lnTo>
                      <a:pt x="15203" y="1355"/>
                    </a:lnTo>
                    <a:lnTo>
                      <a:pt x="15400" y="1473"/>
                    </a:lnTo>
                    <a:lnTo>
                      <a:pt x="15581" y="1594"/>
                    </a:lnTo>
                    <a:lnTo>
                      <a:pt x="15745" y="1719"/>
                    </a:lnTo>
                    <a:lnTo>
                      <a:pt x="15893" y="1846"/>
                    </a:lnTo>
                    <a:lnTo>
                      <a:pt x="16022" y="1977"/>
                    </a:lnTo>
                    <a:lnTo>
                      <a:pt x="16132" y="2111"/>
                    </a:lnTo>
                    <a:lnTo>
                      <a:pt x="16224" y="2247"/>
                    </a:lnTo>
                    <a:lnTo>
                      <a:pt x="16296" y="2385"/>
                    </a:lnTo>
                    <a:lnTo>
                      <a:pt x="16347" y="2526"/>
                    </a:lnTo>
                    <a:lnTo>
                      <a:pt x="16379" y="2669"/>
                    </a:lnTo>
                    <a:lnTo>
                      <a:pt x="16389" y="2814"/>
                    </a:lnTo>
                    <a:close/>
                  </a:path>
                </a:pathLst>
              </a:custGeom>
              <a:solidFill>
                <a:srgbClr val="B8CAD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74" name="Freeform 70"/>
              <p:cNvSpPr>
                <a:spLocks/>
              </p:cNvSpPr>
              <p:nvPr>
                <p:custDataLst>
                  <p:tags r:id="rId217"/>
                </p:custDataLst>
              </p:nvPr>
            </p:nvSpPr>
            <p:spPr bwMode="auto">
              <a:xfrm>
                <a:off x="725" y="3469"/>
                <a:ext cx="361" cy="114"/>
              </a:xfrm>
              <a:custGeom>
                <a:avLst/>
                <a:gdLst>
                  <a:gd name="T0" fmla="*/ 472 w 8295"/>
                  <a:gd name="T1" fmla="*/ 2861 h 2864"/>
                  <a:gd name="T2" fmla="*/ 1300 w 8295"/>
                  <a:gd name="T3" fmla="*/ 2832 h 2864"/>
                  <a:gd name="T4" fmla="*/ 2102 w 8295"/>
                  <a:gd name="T5" fmla="*/ 2776 h 2864"/>
                  <a:gd name="T6" fmla="*/ 2873 w 8295"/>
                  <a:gd name="T7" fmla="*/ 2693 h 2864"/>
                  <a:gd name="T8" fmla="*/ 3609 w 8295"/>
                  <a:gd name="T9" fmla="*/ 2587 h 2864"/>
                  <a:gd name="T10" fmla="*/ 4308 w 8295"/>
                  <a:gd name="T11" fmla="*/ 2456 h 2864"/>
                  <a:gd name="T12" fmla="*/ 4964 w 8295"/>
                  <a:gd name="T13" fmla="*/ 2304 h 2864"/>
                  <a:gd name="T14" fmla="*/ 5426 w 8295"/>
                  <a:gd name="T15" fmla="*/ 2176 h 2864"/>
                  <a:gd name="T16" fmla="*/ 5718 w 8295"/>
                  <a:gd name="T17" fmla="*/ 2085 h 2864"/>
                  <a:gd name="T18" fmla="*/ 5998 w 8295"/>
                  <a:gd name="T19" fmla="*/ 1988 h 2864"/>
                  <a:gd name="T20" fmla="*/ 6264 w 8295"/>
                  <a:gd name="T21" fmla="*/ 1888 h 2864"/>
                  <a:gd name="T22" fmla="*/ 6516 w 8295"/>
                  <a:gd name="T23" fmla="*/ 1783 h 2864"/>
                  <a:gd name="T24" fmla="*/ 6754 w 8295"/>
                  <a:gd name="T25" fmla="*/ 1674 h 2864"/>
                  <a:gd name="T26" fmla="*/ 6977 w 8295"/>
                  <a:gd name="T27" fmla="*/ 1561 h 2864"/>
                  <a:gd name="T28" fmla="*/ 7184 w 8295"/>
                  <a:gd name="T29" fmla="*/ 1444 h 2864"/>
                  <a:gd name="T30" fmla="*/ 7376 w 8295"/>
                  <a:gd name="T31" fmla="*/ 1323 h 2864"/>
                  <a:gd name="T32" fmla="*/ 7551 w 8295"/>
                  <a:gd name="T33" fmla="*/ 1198 h 2864"/>
                  <a:gd name="T34" fmla="*/ 7709 w 8295"/>
                  <a:gd name="T35" fmla="*/ 1069 h 2864"/>
                  <a:gd name="T36" fmla="*/ 7850 w 8295"/>
                  <a:gd name="T37" fmla="*/ 938 h 2864"/>
                  <a:gd name="T38" fmla="*/ 7972 w 8295"/>
                  <a:gd name="T39" fmla="*/ 802 h 2864"/>
                  <a:gd name="T40" fmla="*/ 8076 w 8295"/>
                  <a:gd name="T41" fmla="*/ 663 h 2864"/>
                  <a:gd name="T42" fmla="*/ 8161 w 8295"/>
                  <a:gd name="T43" fmla="*/ 521 h 2864"/>
                  <a:gd name="T44" fmla="*/ 8226 w 8295"/>
                  <a:gd name="T45" fmla="*/ 376 h 2864"/>
                  <a:gd name="T46" fmla="*/ 8269 w 8295"/>
                  <a:gd name="T47" fmla="*/ 227 h 2864"/>
                  <a:gd name="T48" fmla="*/ 8292 w 8295"/>
                  <a:gd name="T49" fmla="*/ 76 h 2864"/>
                  <a:gd name="T50" fmla="*/ 8194 w 8295"/>
                  <a:gd name="T51" fmla="*/ 34 h 2864"/>
                  <a:gd name="T52" fmla="*/ 8180 w 8295"/>
                  <a:gd name="T53" fmla="*/ 172 h 2864"/>
                  <a:gd name="T54" fmla="*/ 8145 w 8295"/>
                  <a:gd name="T55" fmla="*/ 307 h 2864"/>
                  <a:gd name="T56" fmla="*/ 8089 w 8295"/>
                  <a:gd name="T57" fmla="*/ 441 h 2864"/>
                  <a:gd name="T58" fmla="*/ 8016 w 8295"/>
                  <a:gd name="T59" fmla="*/ 574 h 2864"/>
                  <a:gd name="T60" fmla="*/ 7922 w 8295"/>
                  <a:gd name="T61" fmla="*/ 706 h 2864"/>
                  <a:gd name="T62" fmla="*/ 7810 w 8295"/>
                  <a:gd name="T63" fmla="*/ 835 h 2864"/>
                  <a:gd name="T64" fmla="*/ 7679 w 8295"/>
                  <a:gd name="T65" fmla="*/ 963 h 2864"/>
                  <a:gd name="T66" fmla="*/ 7530 w 8295"/>
                  <a:gd name="T67" fmla="*/ 1087 h 2864"/>
                  <a:gd name="T68" fmla="*/ 7364 w 8295"/>
                  <a:gd name="T69" fmla="*/ 1209 h 2864"/>
                  <a:gd name="T70" fmla="*/ 7182 w 8295"/>
                  <a:gd name="T71" fmla="*/ 1328 h 2864"/>
                  <a:gd name="T72" fmla="*/ 6982 w 8295"/>
                  <a:gd name="T73" fmla="*/ 1444 h 2864"/>
                  <a:gd name="T74" fmla="*/ 6766 w 8295"/>
                  <a:gd name="T75" fmla="*/ 1556 h 2864"/>
                  <a:gd name="T76" fmla="*/ 6537 w 8295"/>
                  <a:gd name="T77" fmla="*/ 1664 h 2864"/>
                  <a:gd name="T78" fmla="*/ 6290 w 8295"/>
                  <a:gd name="T79" fmla="*/ 1769 h 2864"/>
                  <a:gd name="T80" fmla="*/ 6032 w 8295"/>
                  <a:gd name="T81" fmla="*/ 1869 h 2864"/>
                  <a:gd name="T82" fmla="*/ 5757 w 8295"/>
                  <a:gd name="T83" fmla="*/ 1965 h 2864"/>
                  <a:gd name="T84" fmla="*/ 5471 w 8295"/>
                  <a:gd name="T85" fmla="*/ 2058 h 2864"/>
                  <a:gd name="T86" fmla="*/ 5096 w 8295"/>
                  <a:gd name="T87" fmla="*/ 2165 h 2864"/>
                  <a:gd name="T88" fmla="*/ 4455 w 8295"/>
                  <a:gd name="T89" fmla="*/ 2322 h 2864"/>
                  <a:gd name="T90" fmla="*/ 3771 w 8295"/>
                  <a:gd name="T91" fmla="*/ 2457 h 2864"/>
                  <a:gd name="T92" fmla="*/ 3047 w 8295"/>
                  <a:gd name="T93" fmla="*/ 2569 h 2864"/>
                  <a:gd name="T94" fmla="*/ 2287 w 8295"/>
                  <a:gd name="T95" fmla="*/ 2658 h 2864"/>
                  <a:gd name="T96" fmla="*/ 1497 w 8295"/>
                  <a:gd name="T97" fmla="*/ 2720 h 2864"/>
                  <a:gd name="T98" fmla="*/ 678 w 8295"/>
                  <a:gd name="T99" fmla="*/ 2756 h 2864"/>
                  <a:gd name="T100" fmla="*/ 50 w 8295"/>
                  <a:gd name="T101" fmla="*/ 2764 h 2864"/>
                  <a:gd name="T102" fmla="*/ 33 w 8295"/>
                  <a:gd name="T103" fmla="*/ 2767 h 2864"/>
                  <a:gd name="T104" fmla="*/ 15 w 8295"/>
                  <a:gd name="T105" fmla="*/ 2776 h 2864"/>
                  <a:gd name="T106" fmla="*/ 0 w 8295"/>
                  <a:gd name="T107" fmla="*/ 2805 h 2864"/>
                  <a:gd name="T108" fmla="*/ 6 w 8295"/>
                  <a:gd name="T109" fmla="*/ 2841 h 2864"/>
                  <a:gd name="T110" fmla="*/ 23 w 8295"/>
                  <a:gd name="T111" fmla="*/ 2858 h 2864"/>
                  <a:gd name="T112" fmla="*/ 43 w 8295"/>
                  <a:gd name="T113" fmla="*/ 2864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4">
                    <a:moveTo>
                      <a:pt x="50" y="2864"/>
                    </a:moveTo>
                    <a:lnTo>
                      <a:pt x="50" y="2864"/>
                    </a:lnTo>
                    <a:lnTo>
                      <a:pt x="262" y="2864"/>
                    </a:lnTo>
                    <a:lnTo>
                      <a:pt x="472" y="2861"/>
                    </a:lnTo>
                    <a:lnTo>
                      <a:pt x="681" y="2856"/>
                    </a:lnTo>
                    <a:lnTo>
                      <a:pt x="888" y="2849"/>
                    </a:lnTo>
                    <a:lnTo>
                      <a:pt x="1095" y="2841"/>
                    </a:lnTo>
                    <a:lnTo>
                      <a:pt x="1300" y="2832"/>
                    </a:lnTo>
                    <a:lnTo>
                      <a:pt x="1503" y="2820"/>
                    </a:lnTo>
                    <a:lnTo>
                      <a:pt x="1704" y="2807"/>
                    </a:lnTo>
                    <a:lnTo>
                      <a:pt x="1904" y="2792"/>
                    </a:lnTo>
                    <a:lnTo>
                      <a:pt x="2102" y="2776"/>
                    </a:lnTo>
                    <a:lnTo>
                      <a:pt x="2296" y="2757"/>
                    </a:lnTo>
                    <a:lnTo>
                      <a:pt x="2491" y="2738"/>
                    </a:lnTo>
                    <a:lnTo>
                      <a:pt x="2683" y="2716"/>
                    </a:lnTo>
                    <a:lnTo>
                      <a:pt x="2873" y="2693"/>
                    </a:lnTo>
                    <a:lnTo>
                      <a:pt x="3060" y="2668"/>
                    </a:lnTo>
                    <a:lnTo>
                      <a:pt x="3246" y="2642"/>
                    </a:lnTo>
                    <a:lnTo>
                      <a:pt x="3429" y="2615"/>
                    </a:lnTo>
                    <a:lnTo>
                      <a:pt x="3609" y="2587"/>
                    </a:lnTo>
                    <a:lnTo>
                      <a:pt x="3788" y="2555"/>
                    </a:lnTo>
                    <a:lnTo>
                      <a:pt x="3964" y="2523"/>
                    </a:lnTo>
                    <a:lnTo>
                      <a:pt x="4137" y="2490"/>
                    </a:lnTo>
                    <a:lnTo>
                      <a:pt x="4308" y="2456"/>
                    </a:lnTo>
                    <a:lnTo>
                      <a:pt x="4476" y="2420"/>
                    </a:lnTo>
                    <a:lnTo>
                      <a:pt x="4642" y="2383"/>
                    </a:lnTo>
                    <a:lnTo>
                      <a:pt x="4804" y="2343"/>
                    </a:lnTo>
                    <a:lnTo>
                      <a:pt x="4964" y="2304"/>
                    </a:lnTo>
                    <a:lnTo>
                      <a:pt x="5122" y="2263"/>
                    </a:lnTo>
                    <a:lnTo>
                      <a:pt x="5275" y="2219"/>
                    </a:lnTo>
                    <a:lnTo>
                      <a:pt x="5351" y="2197"/>
                    </a:lnTo>
                    <a:lnTo>
                      <a:pt x="5426" y="2176"/>
                    </a:lnTo>
                    <a:lnTo>
                      <a:pt x="5500" y="2153"/>
                    </a:lnTo>
                    <a:lnTo>
                      <a:pt x="5574" y="2131"/>
                    </a:lnTo>
                    <a:lnTo>
                      <a:pt x="5646" y="2107"/>
                    </a:lnTo>
                    <a:lnTo>
                      <a:pt x="5718" y="2085"/>
                    </a:lnTo>
                    <a:lnTo>
                      <a:pt x="5789" y="2061"/>
                    </a:lnTo>
                    <a:lnTo>
                      <a:pt x="5859" y="2037"/>
                    </a:lnTo>
                    <a:lnTo>
                      <a:pt x="5930" y="2013"/>
                    </a:lnTo>
                    <a:lnTo>
                      <a:pt x="5998" y="1988"/>
                    </a:lnTo>
                    <a:lnTo>
                      <a:pt x="6066" y="1963"/>
                    </a:lnTo>
                    <a:lnTo>
                      <a:pt x="6133" y="1939"/>
                    </a:lnTo>
                    <a:lnTo>
                      <a:pt x="6199" y="1914"/>
                    </a:lnTo>
                    <a:lnTo>
                      <a:pt x="6264" y="1888"/>
                    </a:lnTo>
                    <a:lnTo>
                      <a:pt x="6328" y="1862"/>
                    </a:lnTo>
                    <a:lnTo>
                      <a:pt x="6391" y="1836"/>
                    </a:lnTo>
                    <a:lnTo>
                      <a:pt x="6454" y="1809"/>
                    </a:lnTo>
                    <a:lnTo>
                      <a:pt x="6516" y="1783"/>
                    </a:lnTo>
                    <a:lnTo>
                      <a:pt x="6577" y="1756"/>
                    </a:lnTo>
                    <a:lnTo>
                      <a:pt x="6637" y="1728"/>
                    </a:lnTo>
                    <a:lnTo>
                      <a:pt x="6695" y="1702"/>
                    </a:lnTo>
                    <a:lnTo>
                      <a:pt x="6754" y="1674"/>
                    </a:lnTo>
                    <a:lnTo>
                      <a:pt x="6811" y="1646"/>
                    </a:lnTo>
                    <a:lnTo>
                      <a:pt x="6867" y="1618"/>
                    </a:lnTo>
                    <a:lnTo>
                      <a:pt x="6922" y="1590"/>
                    </a:lnTo>
                    <a:lnTo>
                      <a:pt x="6977" y="1561"/>
                    </a:lnTo>
                    <a:lnTo>
                      <a:pt x="7030" y="1532"/>
                    </a:lnTo>
                    <a:lnTo>
                      <a:pt x="7082" y="1503"/>
                    </a:lnTo>
                    <a:lnTo>
                      <a:pt x="7133" y="1473"/>
                    </a:lnTo>
                    <a:lnTo>
                      <a:pt x="7184" y="1444"/>
                    </a:lnTo>
                    <a:lnTo>
                      <a:pt x="7233" y="1414"/>
                    </a:lnTo>
                    <a:lnTo>
                      <a:pt x="7282" y="1384"/>
                    </a:lnTo>
                    <a:lnTo>
                      <a:pt x="7329" y="1353"/>
                    </a:lnTo>
                    <a:lnTo>
                      <a:pt x="7376" y="1323"/>
                    </a:lnTo>
                    <a:lnTo>
                      <a:pt x="7421" y="1292"/>
                    </a:lnTo>
                    <a:lnTo>
                      <a:pt x="7465" y="1261"/>
                    </a:lnTo>
                    <a:lnTo>
                      <a:pt x="7509" y="1230"/>
                    </a:lnTo>
                    <a:lnTo>
                      <a:pt x="7551" y="1198"/>
                    </a:lnTo>
                    <a:lnTo>
                      <a:pt x="7592" y="1165"/>
                    </a:lnTo>
                    <a:lnTo>
                      <a:pt x="7632" y="1134"/>
                    </a:lnTo>
                    <a:lnTo>
                      <a:pt x="7670" y="1102"/>
                    </a:lnTo>
                    <a:lnTo>
                      <a:pt x="7709" y="1069"/>
                    </a:lnTo>
                    <a:lnTo>
                      <a:pt x="7746" y="1037"/>
                    </a:lnTo>
                    <a:lnTo>
                      <a:pt x="7782" y="1004"/>
                    </a:lnTo>
                    <a:lnTo>
                      <a:pt x="7816" y="971"/>
                    </a:lnTo>
                    <a:lnTo>
                      <a:pt x="7850" y="938"/>
                    </a:lnTo>
                    <a:lnTo>
                      <a:pt x="7882" y="904"/>
                    </a:lnTo>
                    <a:lnTo>
                      <a:pt x="7914" y="870"/>
                    </a:lnTo>
                    <a:lnTo>
                      <a:pt x="7944" y="836"/>
                    </a:lnTo>
                    <a:lnTo>
                      <a:pt x="7972" y="802"/>
                    </a:lnTo>
                    <a:lnTo>
                      <a:pt x="8000" y="768"/>
                    </a:lnTo>
                    <a:lnTo>
                      <a:pt x="8027" y="733"/>
                    </a:lnTo>
                    <a:lnTo>
                      <a:pt x="8052" y="699"/>
                    </a:lnTo>
                    <a:lnTo>
                      <a:pt x="8076" y="663"/>
                    </a:lnTo>
                    <a:lnTo>
                      <a:pt x="8099" y="628"/>
                    </a:lnTo>
                    <a:lnTo>
                      <a:pt x="8121" y="592"/>
                    </a:lnTo>
                    <a:lnTo>
                      <a:pt x="8141" y="557"/>
                    </a:lnTo>
                    <a:lnTo>
                      <a:pt x="8161" y="521"/>
                    </a:lnTo>
                    <a:lnTo>
                      <a:pt x="8180" y="484"/>
                    </a:lnTo>
                    <a:lnTo>
                      <a:pt x="8196" y="448"/>
                    </a:lnTo>
                    <a:lnTo>
                      <a:pt x="8212" y="412"/>
                    </a:lnTo>
                    <a:lnTo>
                      <a:pt x="8226" y="376"/>
                    </a:lnTo>
                    <a:lnTo>
                      <a:pt x="8238" y="338"/>
                    </a:lnTo>
                    <a:lnTo>
                      <a:pt x="8251" y="301"/>
                    </a:lnTo>
                    <a:lnTo>
                      <a:pt x="8261" y="265"/>
                    </a:lnTo>
                    <a:lnTo>
                      <a:pt x="8269" y="227"/>
                    </a:lnTo>
                    <a:lnTo>
                      <a:pt x="8277" y="189"/>
                    </a:lnTo>
                    <a:lnTo>
                      <a:pt x="8284" y="152"/>
                    </a:lnTo>
                    <a:lnTo>
                      <a:pt x="8289" y="114"/>
                    </a:lnTo>
                    <a:lnTo>
                      <a:pt x="8292" y="76"/>
                    </a:lnTo>
                    <a:lnTo>
                      <a:pt x="8294" y="38"/>
                    </a:lnTo>
                    <a:lnTo>
                      <a:pt x="8295" y="0"/>
                    </a:lnTo>
                    <a:lnTo>
                      <a:pt x="8195" y="0"/>
                    </a:lnTo>
                    <a:lnTo>
                      <a:pt x="8194" y="34"/>
                    </a:lnTo>
                    <a:lnTo>
                      <a:pt x="8192" y="69"/>
                    </a:lnTo>
                    <a:lnTo>
                      <a:pt x="8189" y="103"/>
                    </a:lnTo>
                    <a:lnTo>
                      <a:pt x="8185" y="138"/>
                    </a:lnTo>
                    <a:lnTo>
                      <a:pt x="8180" y="172"/>
                    </a:lnTo>
                    <a:lnTo>
                      <a:pt x="8172" y="205"/>
                    </a:lnTo>
                    <a:lnTo>
                      <a:pt x="8164" y="239"/>
                    </a:lnTo>
                    <a:lnTo>
                      <a:pt x="8155" y="273"/>
                    </a:lnTo>
                    <a:lnTo>
                      <a:pt x="8145" y="307"/>
                    </a:lnTo>
                    <a:lnTo>
                      <a:pt x="8132" y="340"/>
                    </a:lnTo>
                    <a:lnTo>
                      <a:pt x="8119" y="375"/>
                    </a:lnTo>
                    <a:lnTo>
                      <a:pt x="8105" y="408"/>
                    </a:lnTo>
                    <a:lnTo>
                      <a:pt x="8089" y="441"/>
                    </a:lnTo>
                    <a:lnTo>
                      <a:pt x="8072" y="475"/>
                    </a:lnTo>
                    <a:lnTo>
                      <a:pt x="8055" y="508"/>
                    </a:lnTo>
                    <a:lnTo>
                      <a:pt x="8035" y="541"/>
                    </a:lnTo>
                    <a:lnTo>
                      <a:pt x="8016" y="574"/>
                    </a:lnTo>
                    <a:lnTo>
                      <a:pt x="7993" y="608"/>
                    </a:lnTo>
                    <a:lnTo>
                      <a:pt x="7970" y="640"/>
                    </a:lnTo>
                    <a:lnTo>
                      <a:pt x="7947" y="673"/>
                    </a:lnTo>
                    <a:lnTo>
                      <a:pt x="7922" y="706"/>
                    </a:lnTo>
                    <a:lnTo>
                      <a:pt x="7895" y="738"/>
                    </a:lnTo>
                    <a:lnTo>
                      <a:pt x="7868" y="770"/>
                    </a:lnTo>
                    <a:lnTo>
                      <a:pt x="7839" y="803"/>
                    </a:lnTo>
                    <a:lnTo>
                      <a:pt x="7810" y="835"/>
                    </a:lnTo>
                    <a:lnTo>
                      <a:pt x="7779" y="867"/>
                    </a:lnTo>
                    <a:lnTo>
                      <a:pt x="7747" y="898"/>
                    </a:lnTo>
                    <a:lnTo>
                      <a:pt x="7714" y="930"/>
                    </a:lnTo>
                    <a:lnTo>
                      <a:pt x="7679" y="963"/>
                    </a:lnTo>
                    <a:lnTo>
                      <a:pt x="7644" y="994"/>
                    </a:lnTo>
                    <a:lnTo>
                      <a:pt x="7607" y="1025"/>
                    </a:lnTo>
                    <a:lnTo>
                      <a:pt x="7569" y="1056"/>
                    </a:lnTo>
                    <a:lnTo>
                      <a:pt x="7530" y="1087"/>
                    </a:lnTo>
                    <a:lnTo>
                      <a:pt x="7490" y="1118"/>
                    </a:lnTo>
                    <a:lnTo>
                      <a:pt x="7450" y="1148"/>
                    </a:lnTo>
                    <a:lnTo>
                      <a:pt x="7408" y="1179"/>
                    </a:lnTo>
                    <a:lnTo>
                      <a:pt x="7364" y="1209"/>
                    </a:lnTo>
                    <a:lnTo>
                      <a:pt x="7320" y="1239"/>
                    </a:lnTo>
                    <a:lnTo>
                      <a:pt x="7275" y="1269"/>
                    </a:lnTo>
                    <a:lnTo>
                      <a:pt x="7228" y="1299"/>
                    </a:lnTo>
                    <a:lnTo>
                      <a:pt x="7182" y="1328"/>
                    </a:lnTo>
                    <a:lnTo>
                      <a:pt x="7133" y="1357"/>
                    </a:lnTo>
                    <a:lnTo>
                      <a:pt x="7084" y="1386"/>
                    </a:lnTo>
                    <a:lnTo>
                      <a:pt x="7033" y="1415"/>
                    </a:lnTo>
                    <a:lnTo>
                      <a:pt x="6982" y="1444"/>
                    </a:lnTo>
                    <a:lnTo>
                      <a:pt x="6929" y="1472"/>
                    </a:lnTo>
                    <a:lnTo>
                      <a:pt x="6877" y="1501"/>
                    </a:lnTo>
                    <a:lnTo>
                      <a:pt x="6822" y="1529"/>
                    </a:lnTo>
                    <a:lnTo>
                      <a:pt x="6766" y="1556"/>
                    </a:lnTo>
                    <a:lnTo>
                      <a:pt x="6711" y="1584"/>
                    </a:lnTo>
                    <a:lnTo>
                      <a:pt x="6653" y="1610"/>
                    </a:lnTo>
                    <a:lnTo>
                      <a:pt x="6595" y="1637"/>
                    </a:lnTo>
                    <a:lnTo>
                      <a:pt x="6537" y="1664"/>
                    </a:lnTo>
                    <a:lnTo>
                      <a:pt x="6476" y="1691"/>
                    </a:lnTo>
                    <a:lnTo>
                      <a:pt x="6415" y="1717"/>
                    </a:lnTo>
                    <a:lnTo>
                      <a:pt x="6354" y="1743"/>
                    </a:lnTo>
                    <a:lnTo>
                      <a:pt x="6290" y="1769"/>
                    </a:lnTo>
                    <a:lnTo>
                      <a:pt x="6227" y="1795"/>
                    </a:lnTo>
                    <a:lnTo>
                      <a:pt x="6163" y="1820"/>
                    </a:lnTo>
                    <a:lnTo>
                      <a:pt x="6098" y="1845"/>
                    </a:lnTo>
                    <a:lnTo>
                      <a:pt x="6032" y="1869"/>
                    </a:lnTo>
                    <a:lnTo>
                      <a:pt x="5965" y="1894"/>
                    </a:lnTo>
                    <a:lnTo>
                      <a:pt x="5897" y="1918"/>
                    </a:lnTo>
                    <a:lnTo>
                      <a:pt x="5828" y="1942"/>
                    </a:lnTo>
                    <a:lnTo>
                      <a:pt x="5757" y="1965"/>
                    </a:lnTo>
                    <a:lnTo>
                      <a:pt x="5687" y="1989"/>
                    </a:lnTo>
                    <a:lnTo>
                      <a:pt x="5616" y="2012"/>
                    </a:lnTo>
                    <a:lnTo>
                      <a:pt x="5544" y="2035"/>
                    </a:lnTo>
                    <a:lnTo>
                      <a:pt x="5471" y="2058"/>
                    </a:lnTo>
                    <a:lnTo>
                      <a:pt x="5398" y="2079"/>
                    </a:lnTo>
                    <a:lnTo>
                      <a:pt x="5324" y="2101"/>
                    </a:lnTo>
                    <a:lnTo>
                      <a:pt x="5248" y="2123"/>
                    </a:lnTo>
                    <a:lnTo>
                      <a:pt x="5096" y="2165"/>
                    </a:lnTo>
                    <a:lnTo>
                      <a:pt x="4940" y="2207"/>
                    </a:lnTo>
                    <a:lnTo>
                      <a:pt x="4781" y="2246"/>
                    </a:lnTo>
                    <a:lnTo>
                      <a:pt x="4620" y="2284"/>
                    </a:lnTo>
                    <a:lnTo>
                      <a:pt x="4455" y="2322"/>
                    </a:lnTo>
                    <a:lnTo>
                      <a:pt x="4288" y="2358"/>
                    </a:lnTo>
                    <a:lnTo>
                      <a:pt x="4119" y="2392"/>
                    </a:lnTo>
                    <a:lnTo>
                      <a:pt x="3945" y="2425"/>
                    </a:lnTo>
                    <a:lnTo>
                      <a:pt x="3771" y="2457"/>
                    </a:lnTo>
                    <a:lnTo>
                      <a:pt x="3593" y="2487"/>
                    </a:lnTo>
                    <a:lnTo>
                      <a:pt x="3414" y="2516"/>
                    </a:lnTo>
                    <a:lnTo>
                      <a:pt x="3231" y="2543"/>
                    </a:lnTo>
                    <a:lnTo>
                      <a:pt x="3047" y="2569"/>
                    </a:lnTo>
                    <a:lnTo>
                      <a:pt x="2860" y="2594"/>
                    </a:lnTo>
                    <a:lnTo>
                      <a:pt x="2672" y="2617"/>
                    </a:lnTo>
                    <a:lnTo>
                      <a:pt x="2481" y="2637"/>
                    </a:lnTo>
                    <a:lnTo>
                      <a:pt x="2287" y="2658"/>
                    </a:lnTo>
                    <a:lnTo>
                      <a:pt x="2092" y="2676"/>
                    </a:lnTo>
                    <a:lnTo>
                      <a:pt x="1895" y="2692"/>
                    </a:lnTo>
                    <a:lnTo>
                      <a:pt x="1698" y="2707"/>
                    </a:lnTo>
                    <a:lnTo>
                      <a:pt x="1497" y="2720"/>
                    </a:lnTo>
                    <a:lnTo>
                      <a:pt x="1295" y="2731"/>
                    </a:lnTo>
                    <a:lnTo>
                      <a:pt x="1090" y="2742"/>
                    </a:lnTo>
                    <a:lnTo>
                      <a:pt x="885" y="2750"/>
                    </a:lnTo>
                    <a:lnTo>
                      <a:pt x="678" y="2756"/>
                    </a:lnTo>
                    <a:lnTo>
                      <a:pt x="470" y="2760"/>
                    </a:lnTo>
                    <a:lnTo>
                      <a:pt x="261" y="2762"/>
                    </a:lnTo>
                    <a:lnTo>
                      <a:pt x="50" y="2764"/>
                    </a:lnTo>
                    <a:lnTo>
                      <a:pt x="50" y="2764"/>
                    </a:lnTo>
                    <a:lnTo>
                      <a:pt x="50" y="2764"/>
                    </a:lnTo>
                    <a:lnTo>
                      <a:pt x="43" y="2765"/>
                    </a:lnTo>
                    <a:lnTo>
                      <a:pt x="38" y="2765"/>
                    </a:lnTo>
                    <a:lnTo>
                      <a:pt x="33" y="2767"/>
                    </a:lnTo>
                    <a:lnTo>
                      <a:pt x="28" y="2769"/>
                    </a:lnTo>
                    <a:lnTo>
                      <a:pt x="23" y="2771"/>
                    </a:lnTo>
                    <a:lnTo>
                      <a:pt x="19" y="2773"/>
                    </a:lnTo>
                    <a:lnTo>
                      <a:pt x="15" y="2776"/>
                    </a:lnTo>
                    <a:lnTo>
                      <a:pt x="12" y="2780"/>
                    </a:lnTo>
                    <a:lnTo>
                      <a:pt x="6" y="2787"/>
                    </a:lnTo>
                    <a:lnTo>
                      <a:pt x="3" y="2796"/>
                    </a:lnTo>
                    <a:lnTo>
                      <a:pt x="0" y="2805"/>
                    </a:lnTo>
                    <a:lnTo>
                      <a:pt x="0" y="2814"/>
                    </a:lnTo>
                    <a:lnTo>
                      <a:pt x="0" y="2824"/>
                    </a:lnTo>
                    <a:lnTo>
                      <a:pt x="3" y="2833"/>
                    </a:lnTo>
                    <a:lnTo>
                      <a:pt x="6" y="2841"/>
                    </a:lnTo>
                    <a:lnTo>
                      <a:pt x="12" y="2848"/>
                    </a:lnTo>
                    <a:lnTo>
                      <a:pt x="15" y="2853"/>
                    </a:lnTo>
                    <a:lnTo>
                      <a:pt x="19" y="2856"/>
                    </a:lnTo>
                    <a:lnTo>
                      <a:pt x="23" y="2858"/>
                    </a:lnTo>
                    <a:lnTo>
                      <a:pt x="28" y="2860"/>
                    </a:lnTo>
                    <a:lnTo>
                      <a:pt x="33" y="2862"/>
                    </a:lnTo>
                    <a:lnTo>
                      <a:pt x="38" y="2863"/>
                    </a:lnTo>
                    <a:lnTo>
                      <a:pt x="43" y="2864"/>
                    </a:lnTo>
                    <a:lnTo>
                      <a:pt x="50"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75" name="Freeform 71"/>
              <p:cNvSpPr>
                <a:spLocks/>
              </p:cNvSpPr>
              <p:nvPr>
                <p:custDataLst>
                  <p:tags r:id="rId218"/>
                </p:custDataLst>
              </p:nvPr>
            </p:nvSpPr>
            <p:spPr bwMode="auto">
              <a:xfrm>
                <a:off x="369" y="3467"/>
                <a:ext cx="359" cy="116"/>
              </a:xfrm>
              <a:custGeom>
                <a:avLst/>
                <a:gdLst>
                  <a:gd name="T0" fmla="*/ 3 w 8246"/>
                  <a:gd name="T1" fmla="*/ 127 h 2915"/>
                  <a:gd name="T2" fmla="*/ 25 w 8246"/>
                  <a:gd name="T3" fmla="*/ 278 h 2915"/>
                  <a:gd name="T4" fmla="*/ 69 w 8246"/>
                  <a:gd name="T5" fmla="*/ 427 h 2915"/>
                  <a:gd name="T6" fmla="*/ 134 w 8246"/>
                  <a:gd name="T7" fmla="*/ 572 h 2915"/>
                  <a:gd name="T8" fmla="*/ 219 w 8246"/>
                  <a:gd name="T9" fmla="*/ 714 h 2915"/>
                  <a:gd name="T10" fmla="*/ 323 w 8246"/>
                  <a:gd name="T11" fmla="*/ 853 h 2915"/>
                  <a:gd name="T12" fmla="*/ 445 w 8246"/>
                  <a:gd name="T13" fmla="*/ 989 h 2915"/>
                  <a:gd name="T14" fmla="*/ 586 w 8246"/>
                  <a:gd name="T15" fmla="*/ 1120 h 2915"/>
                  <a:gd name="T16" fmla="*/ 744 w 8246"/>
                  <a:gd name="T17" fmla="*/ 1249 h 2915"/>
                  <a:gd name="T18" fmla="*/ 919 w 8246"/>
                  <a:gd name="T19" fmla="*/ 1374 h 2915"/>
                  <a:gd name="T20" fmla="*/ 1111 w 8246"/>
                  <a:gd name="T21" fmla="*/ 1495 h 2915"/>
                  <a:gd name="T22" fmla="*/ 1318 w 8246"/>
                  <a:gd name="T23" fmla="*/ 1612 h 2915"/>
                  <a:gd name="T24" fmla="*/ 1541 w 8246"/>
                  <a:gd name="T25" fmla="*/ 1725 h 2915"/>
                  <a:gd name="T26" fmla="*/ 1779 w 8246"/>
                  <a:gd name="T27" fmla="*/ 1834 h 2915"/>
                  <a:gd name="T28" fmla="*/ 2030 w 8246"/>
                  <a:gd name="T29" fmla="*/ 1939 h 2915"/>
                  <a:gd name="T30" fmla="*/ 2297 w 8246"/>
                  <a:gd name="T31" fmla="*/ 2039 h 2915"/>
                  <a:gd name="T32" fmla="*/ 2577 w 8246"/>
                  <a:gd name="T33" fmla="*/ 2136 h 2915"/>
                  <a:gd name="T34" fmla="*/ 2869 w 8246"/>
                  <a:gd name="T35" fmla="*/ 2227 h 2915"/>
                  <a:gd name="T36" fmla="*/ 3331 w 8246"/>
                  <a:gd name="T37" fmla="*/ 2355 h 2915"/>
                  <a:gd name="T38" fmla="*/ 3987 w 8246"/>
                  <a:gd name="T39" fmla="*/ 2507 h 2915"/>
                  <a:gd name="T40" fmla="*/ 4686 w 8246"/>
                  <a:gd name="T41" fmla="*/ 2638 h 2915"/>
                  <a:gd name="T42" fmla="*/ 5422 w 8246"/>
                  <a:gd name="T43" fmla="*/ 2744 h 2915"/>
                  <a:gd name="T44" fmla="*/ 6193 w 8246"/>
                  <a:gd name="T45" fmla="*/ 2827 h 2915"/>
                  <a:gd name="T46" fmla="*/ 6995 w 8246"/>
                  <a:gd name="T47" fmla="*/ 2883 h 2915"/>
                  <a:gd name="T48" fmla="*/ 7823 w 8246"/>
                  <a:gd name="T49" fmla="*/ 2912 h 2915"/>
                  <a:gd name="T50" fmla="*/ 8034 w 8246"/>
                  <a:gd name="T51" fmla="*/ 2813 h 2915"/>
                  <a:gd name="T52" fmla="*/ 7205 w 8246"/>
                  <a:gd name="T53" fmla="*/ 2793 h 2915"/>
                  <a:gd name="T54" fmla="*/ 6400 w 8246"/>
                  <a:gd name="T55" fmla="*/ 2743 h 2915"/>
                  <a:gd name="T56" fmla="*/ 5623 w 8246"/>
                  <a:gd name="T57" fmla="*/ 2668 h 2915"/>
                  <a:gd name="T58" fmla="*/ 4881 w 8246"/>
                  <a:gd name="T59" fmla="*/ 2567 h 2915"/>
                  <a:gd name="T60" fmla="*/ 4176 w 8246"/>
                  <a:gd name="T61" fmla="*/ 2443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1 h 2915"/>
                  <a:gd name="T76" fmla="*/ 1418 w 8246"/>
                  <a:gd name="T77" fmla="*/ 1552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9 h 2915"/>
                  <a:gd name="T94" fmla="*/ 175 w 8246"/>
                  <a:gd name="T95" fmla="*/ 426 h 2915"/>
                  <a:gd name="T96" fmla="*/ 131 w 8246"/>
                  <a:gd name="T97" fmla="*/ 290 h 2915"/>
                  <a:gd name="T98" fmla="*/ 106 w 8246"/>
                  <a:gd name="T99" fmla="*/ 154 h 2915"/>
                  <a:gd name="T100" fmla="*/ 100 w 8246"/>
                  <a:gd name="T101" fmla="*/ 51 h 2915"/>
                  <a:gd name="T102" fmla="*/ 98 w 8246"/>
                  <a:gd name="T103" fmla="*/ 33 h 2915"/>
                  <a:gd name="T104" fmla="*/ 88 w 8246"/>
                  <a:gd name="T105" fmla="*/ 17 h 2915"/>
                  <a:gd name="T106" fmla="*/ 60 w 8246"/>
                  <a:gd name="T107" fmla="*/ 1 h 2915"/>
                  <a:gd name="T108" fmla="*/ 23 w 8246"/>
                  <a:gd name="T109" fmla="*/ 7 h 2915"/>
                  <a:gd name="T110" fmla="*/ 6 w 8246"/>
                  <a:gd name="T111" fmla="*/ 24 h 2915"/>
                  <a:gd name="T112" fmla="*/ 0 w 8246"/>
                  <a:gd name="T113" fmla="*/ 45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1"/>
                    </a:moveTo>
                    <a:lnTo>
                      <a:pt x="0" y="51"/>
                    </a:lnTo>
                    <a:lnTo>
                      <a:pt x="1" y="89"/>
                    </a:lnTo>
                    <a:lnTo>
                      <a:pt x="3" y="127"/>
                    </a:lnTo>
                    <a:lnTo>
                      <a:pt x="6" y="165"/>
                    </a:lnTo>
                    <a:lnTo>
                      <a:pt x="11" y="203"/>
                    </a:lnTo>
                    <a:lnTo>
                      <a:pt x="18" y="240"/>
                    </a:lnTo>
                    <a:lnTo>
                      <a:pt x="25" y="278"/>
                    </a:lnTo>
                    <a:lnTo>
                      <a:pt x="34" y="316"/>
                    </a:lnTo>
                    <a:lnTo>
                      <a:pt x="44" y="352"/>
                    </a:lnTo>
                    <a:lnTo>
                      <a:pt x="56" y="389"/>
                    </a:lnTo>
                    <a:lnTo>
                      <a:pt x="69" y="427"/>
                    </a:lnTo>
                    <a:lnTo>
                      <a:pt x="83" y="463"/>
                    </a:lnTo>
                    <a:lnTo>
                      <a:pt x="99" y="499"/>
                    </a:lnTo>
                    <a:lnTo>
                      <a:pt x="115" y="535"/>
                    </a:lnTo>
                    <a:lnTo>
                      <a:pt x="134" y="572"/>
                    </a:lnTo>
                    <a:lnTo>
                      <a:pt x="154" y="608"/>
                    </a:lnTo>
                    <a:lnTo>
                      <a:pt x="174" y="643"/>
                    </a:lnTo>
                    <a:lnTo>
                      <a:pt x="196" y="679"/>
                    </a:lnTo>
                    <a:lnTo>
                      <a:pt x="219" y="714"/>
                    </a:lnTo>
                    <a:lnTo>
                      <a:pt x="243" y="750"/>
                    </a:lnTo>
                    <a:lnTo>
                      <a:pt x="268" y="784"/>
                    </a:lnTo>
                    <a:lnTo>
                      <a:pt x="295" y="819"/>
                    </a:lnTo>
                    <a:lnTo>
                      <a:pt x="323" y="853"/>
                    </a:lnTo>
                    <a:lnTo>
                      <a:pt x="351" y="887"/>
                    </a:lnTo>
                    <a:lnTo>
                      <a:pt x="381" y="921"/>
                    </a:lnTo>
                    <a:lnTo>
                      <a:pt x="413" y="955"/>
                    </a:lnTo>
                    <a:lnTo>
                      <a:pt x="445" y="989"/>
                    </a:lnTo>
                    <a:lnTo>
                      <a:pt x="479" y="1022"/>
                    </a:lnTo>
                    <a:lnTo>
                      <a:pt x="513" y="1055"/>
                    </a:lnTo>
                    <a:lnTo>
                      <a:pt x="549" y="1088"/>
                    </a:lnTo>
                    <a:lnTo>
                      <a:pt x="586" y="1120"/>
                    </a:lnTo>
                    <a:lnTo>
                      <a:pt x="624" y="1153"/>
                    </a:lnTo>
                    <a:lnTo>
                      <a:pt x="663" y="1185"/>
                    </a:lnTo>
                    <a:lnTo>
                      <a:pt x="703" y="1216"/>
                    </a:lnTo>
                    <a:lnTo>
                      <a:pt x="744" y="1249"/>
                    </a:lnTo>
                    <a:lnTo>
                      <a:pt x="786" y="1281"/>
                    </a:lnTo>
                    <a:lnTo>
                      <a:pt x="830" y="1312"/>
                    </a:lnTo>
                    <a:lnTo>
                      <a:pt x="874" y="1343"/>
                    </a:lnTo>
                    <a:lnTo>
                      <a:pt x="919" y="1374"/>
                    </a:lnTo>
                    <a:lnTo>
                      <a:pt x="966" y="1404"/>
                    </a:lnTo>
                    <a:lnTo>
                      <a:pt x="1013" y="1435"/>
                    </a:lnTo>
                    <a:lnTo>
                      <a:pt x="1062" y="1465"/>
                    </a:lnTo>
                    <a:lnTo>
                      <a:pt x="1111" y="1495"/>
                    </a:lnTo>
                    <a:lnTo>
                      <a:pt x="1162" y="1524"/>
                    </a:lnTo>
                    <a:lnTo>
                      <a:pt x="1212" y="1554"/>
                    </a:lnTo>
                    <a:lnTo>
                      <a:pt x="1265" y="1583"/>
                    </a:lnTo>
                    <a:lnTo>
                      <a:pt x="1318" y="1612"/>
                    </a:lnTo>
                    <a:lnTo>
                      <a:pt x="1373" y="1641"/>
                    </a:lnTo>
                    <a:lnTo>
                      <a:pt x="1428" y="1669"/>
                    </a:lnTo>
                    <a:lnTo>
                      <a:pt x="1484" y="1697"/>
                    </a:lnTo>
                    <a:lnTo>
                      <a:pt x="1541" y="1725"/>
                    </a:lnTo>
                    <a:lnTo>
                      <a:pt x="1600" y="1753"/>
                    </a:lnTo>
                    <a:lnTo>
                      <a:pt x="1658" y="1779"/>
                    </a:lnTo>
                    <a:lnTo>
                      <a:pt x="1718" y="1807"/>
                    </a:lnTo>
                    <a:lnTo>
                      <a:pt x="1779" y="1834"/>
                    </a:lnTo>
                    <a:lnTo>
                      <a:pt x="1841" y="1860"/>
                    </a:lnTo>
                    <a:lnTo>
                      <a:pt x="1904" y="1887"/>
                    </a:lnTo>
                    <a:lnTo>
                      <a:pt x="1967" y="1913"/>
                    </a:lnTo>
                    <a:lnTo>
                      <a:pt x="2030" y="1939"/>
                    </a:lnTo>
                    <a:lnTo>
                      <a:pt x="2096" y="1965"/>
                    </a:lnTo>
                    <a:lnTo>
                      <a:pt x="2162" y="1990"/>
                    </a:lnTo>
                    <a:lnTo>
                      <a:pt x="2229" y="2014"/>
                    </a:lnTo>
                    <a:lnTo>
                      <a:pt x="2297" y="2039"/>
                    </a:lnTo>
                    <a:lnTo>
                      <a:pt x="2365" y="2064"/>
                    </a:lnTo>
                    <a:lnTo>
                      <a:pt x="2436" y="2088"/>
                    </a:lnTo>
                    <a:lnTo>
                      <a:pt x="2506" y="2112"/>
                    </a:lnTo>
                    <a:lnTo>
                      <a:pt x="2577" y="2136"/>
                    </a:lnTo>
                    <a:lnTo>
                      <a:pt x="2649" y="2158"/>
                    </a:lnTo>
                    <a:lnTo>
                      <a:pt x="2721" y="2182"/>
                    </a:lnTo>
                    <a:lnTo>
                      <a:pt x="2794" y="2204"/>
                    </a:lnTo>
                    <a:lnTo>
                      <a:pt x="2869" y="2227"/>
                    </a:lnTo>
                    <a:lnTo>
                      <a:pt x="2944" y="2248"/>
                    </a:lnTo>
                    <a:lnTo>
                      <a:pt x="3020" y="2270"/>
                    </a:lnTo>
                    <a:lnTo>
                      <a:pt x="3173" y="2314"/>
                    </a:lnTo>
                    <a:lnTo>
                      <a:pt x="3331" y="2355"/>
                    </a:lnTo>
                    <a:lnTo>
                      <a:pt x="3491" y="2394"/>
                    </a:lnTo>
                    <a:lnTo>
                      <a:pt x="3653" y="2434"/>
                    </a:lnTo>
                    <a:lnTo>
                      <a:pt x="3819" y="2471"/>
                    </a:lnTo>
                    <a:lnTo>
                      <a:pt x="3987" y="2507"/>
                    </a:lnTo>
                    <a:lnTo>
                      <a:pt x="4158" y="2541"/>
                    </a:lnTo>
                    <a:lnTo>
                      <a:pt x="4331" y="2574"/>
                    </a:lnTo>
                    <a:lnTo>
                      <a:pt x="4507" y="2606"/>
                    </a:lnTo>
                    <a:lnTo>
                      <a:pt x="4686" y="2638"/>
                    </a:lnTo>
                    <a:lnTo>
                      <a:pt x="4866" y="2666"/>
                    </a:lnTo>
                    <a:lnTo>
                      <a:pt x="5049" y="2693"/>
                    </a:lnTo>
                    <a:lnTo>
                      <a:pt x="5235" y="2719"/>
                    </a:lnTo>
                    <a:lnTo>
                      <a:pt x="5422" y="2744"/>
                    </a:lnTo>
                    <a:lnTo>
                      <a:pt x="5612" y="2767"/>
                    </a:lnTo>
                    <a:lnTo>
                      <a:pt x="5804" y="2789"/>
                    </a:lnTo>
                    <a:lnTo>
                      <a:pt x="5998" y="2808"/>
                    </a:lnTo>
                    <a:lnTo>
                      <a:pt x="6193" y="2827"/>
                    </a:lnTo>
                    <a:lnTo>
                      <a:pt x="6391" y="2843"/>
                    </a:lnTo>
                    <a:lnTo>
                      <a:pt x="6591" y="2858"/>
                    </a:lnTo>
                    <a:lnTo>
                      <a:pt x="6792" y="2871"/>
                    </a:lnTo>
                    <a:lnTo>
                      <a:pt x="6995" y="2883"/>
                    </a:lnTo>
                    <a:lnTo>
                      <a:pt x="7200" y="2892"/>
                    </a:lnTo>
                    <a:lnTo>
                      <a:pt x="7407" y="2900"/>
                    </a:lnTo>
                    <a:lnTo>
                      <a:pt x="7614" y="2907"/>
                    </a:lnTo>
                    <a:lnTo>
                      <a:pt x="7823" y="2912"/>
                    </a:lnTo>
                    <a:lnTo>
                      <a:pt x="8034" y="2915"/>
                    </a:lnTo>
                    <a:lnTo>
                      <a:pt x="8246" y="2915"/>
                    </a:lnTo>
                    <a:lnTo>
                      <a:pt x="8246" y="2815"/>
                    </a:lnTo>
                    <a:lnTo>
                      <a:pt x="8034" y="2813"/>
                    </a:lnTo>
                    <a:lnTo>
                      <a:pt x="7825" y="2811"/>
                    </a:lnTo>
                    <a:lnTo>
                      <a:pt x="7617" y="2807"/>
                    </a:lnTo>
                    <a:lnTo>
                      <a:pt x="7410" y="2801"/>
                    </a:lnTo>
                    <a:lnTo>
                      <a:pt x="7205" y="2793"/>
                    </a:lnTo>
                    <a:lnTo>
                      <a:pt x="7000" y="2782"/>
                    </a:lnTo>
                    <a:lnTo>
                      <a:pt x="6798" y="2771"/>
                    </a:lnTo>
                    <a:lnTo>
                      <a:pt x="6597" y="2758"/>
                    </a:lnTo>
                    <a:lnTo>
                      <a:pt x="6400" y="2743"/>
                    </a:lnTo>
                    <a:lnTo>
                      <a:pt x="6203" y="2727"/>
                    </a:lnTo>
                    <a:lnTo>
                      <a:pt x="6008" y="2709"/>
                    </a:lnTo>
                    <a:lnTo>
                      <a:pt x="5814" y="2688"/>
                    </a:lnTo>
                    <a:lnTo>
                      <a:pt x="5623" y="2668"/>
                    </a:lnTo>
                    <a:lnTo>
                      <a:pt x="5435" y="2645"/>
                    </a:lnTo>
                    <a:lnTo>
                      <a:pt x="5248" y="2620"/>
                    </a:lnTo>
                    <a:lnTo>
                      <a:pt x="5064" y="2594"/>
                    </a:lnTo>
                    <a:lnTo>
                      <a:pt x="4881" y="2567"/>
                    </a:lnTo>
                    <a:lnTo>
                      <a:pt x="4702" y="2538"/>
                    </a:lnTo>
                    <a:lnTo>
                      <a:pt x="4524" y="2508"/>
                    </a:lnTo>
                    <a:lnTo>
                      <a:pt x="4350" y="2476"/>
                    </a:lnTo>
                    <a:lnTo>
                      <a:pt x="4176" y="2443"/>
                    </a:lnTo>
                    <a:lnTo>
                      <a:pt x="4007" y="2409"/>
                    </a:lnTo>
                    <a:lnTo>
                      <a:pt x="3839" y="2373"/>
                    </a:lnTo>
                    <a:lnTo>
                      <a:pt x="3675" y="2335"/>
                    </a:lnTo>
                    <a:lnTo>
                      <a:pt x="3514" y="2297"/>
                    </a:lnTo>
                    <a:lnTo>
                      <a:pt x="3355" y="2258"/>
                    </a:lnTo>
                    <a:lnTo>
                      <a:pt x="3199" y="2216"/>
                    </a:lnTo>
                    <a:lnTo>
                      <a:pt x="3047" y="2174"/>
                    </a:lnTo>
                    <a:lnTo>
                      <a:pt x="2971" y="2152"/>
                    </a:lnTo>
                    <a:lnTo>
                      <a:pt x="2897" y="2130"/>
                    </a:lnTo>
                    <a:lnTo>
                      <a:pt x="2824" y="2109"/>
                    </a:lnTo>
                    <a:lnTo>
                      <a:pt x="2751" y="2086"/>
                    </a:lnTo>
                    <a:lnTo>
                      <a:pt x="2679" y="2063"/>
                    </a:lnTo>
                    <a:lnTo>
                      <a:pt x="2608" y="2040"/>
                    </a:lnTo>
                    <a:lnTo>
                      <a:pt x="2538" y="2016"/>
                    </a:lnTo>
                    <a:lnTo>
                      <a:pt x="2467" y="1993"/>
                    </a:lnTo>
                    <a:lnTo>
                      <a:pt x="2398" y="1969"/>
                    </a:lnTo>
                    <a:lnTo>
                      <a:pt x="2330" y="1945"/>
                    </a:lnTo>
                    <a:lnTo>
                      <a:pt x="2263" y="1920"/>
                    </a:lnTo>
                    <a:lnTo>
                      <a:pt x="2197" y="1896"/>
                    </a:lnTo>
                    <a:lnTo>
                      <a:pt x="2132" y="1871"/>
                    </a:lnTo>
                    <a:lnTo>
                      <a:pt x="2068" y="1846"/>
                    </a:lnTo>
                    <a:lnTo>
                      <a:pt x="2004" y="1820"/>
                    </a:lnTo>
                    <a:lnTo>
                      <a:pt x="1941" y="1794"/>
                    </a:lnTo>
                    <a:lnTo>
                      <a:pt x="1880" y="1768"/>
                    </a:lnTo>
                    <a:lnTo>
                      <a:pt x="1819" y="1742"/>
                    </a:lnTo>
                    <a:lnTo>
                      <a:pt x="1758" y="1715"/>
                    </a:lnTo>
                    <a:lnTo>
                      <a:pt x="1700" y="1688"/>
                    </a:lnTo>
                    <a:lnTo>
                      <a:pt x="1642" y="1661"/>
                    </a:lnTo>
                    <a:lnTo>
                      <a:pt x="1584" y="1635"/>
                    </a:lnTo>
                    <a:lnTo>
                      <a:pt x="1529" y="1607"/>
                    </a:lnTo>
                    <a:lnTo>
                      <a:pt x="1473" y="1580"/>
                    </a:lnTo>
                    <a:lnTo>
                      <a:pt x="1418" y="1552"/>
                    </a:lnTo>
                    <a:lnTo>
                      <a:pt x="1366" y="1523"/>
                    </a:lnTo>
                    <a:lnTo>
                      <a:pt x="1313" y="1495"/>
                    </a:lnTo>
                    <a:lnTo>
                      <a:pt x="1262" y="1466"/>
                    </a:lnTo>
                    <a:lnTo>
                      <a:pt x="1211" y="1437"/>
                    </a:lnTo>
                    <a:lnTo>
                      <a:pt x="1162" y="1408"/>
                    </a:lnTo>
                    <a:lnTo>
                      <a:pt x="1113" y="1379"/>
                    </a:lnTo>
                    <a:lnTo>
                      <a:pt x="1066" y="1350"/>
                    </a:lnTo>
                    <a:lnTo>
                      <a:pt x="1020" y="1320"/>
                    </a:lnTo>
                    <a:lnTo>
                      <a:pt x="975" y="1290"/>
                    </a:lnTo>
                    <a:lnTo>
                      <a:pt x="931" y="1260"/>
                    </a:lnTo>
                    <a:lnTo>
                      <a:pt x="887" y="1230"/>
                    </a:lnTo>
                    <a:lnTo>
                      <a:pt x="845" y="1199"/>
                    </a:lnTo>
                    <a:lnTo>
                      <a:pt x="804" y="1169"/>
                    </a:lnTo>
                    <a:lnTo>
                      <a:pt x="765" y="1138"/>
                    </a:lnTo>
                    <a:lnTo>
                      <a:pt x="726" y="1107"/>
                    </a:lnTo>
                    <a:lnTo>
                      <a:pt x="688" y="1076"/>
                    </a:lnTo>
                    <a:lnTo>
                      <a:pt x="651" y="1045"/>
                    </a:lnTo>
                    <a:lnTo>
                      <a:pt x="616" y="1014"/>
                    </a:lnTo>
                    <a:lnTo>
                      <a:pt x="581" y="981"/>
                    </a:lnTo>
                    <a:lnTo>
                      <a:pt x="548" y="949"/>
                    </a:lnTo>
                    <a:lnTo>
                      <a:pt x="516" y="918"/>
                    </a:lnTo>
                    <a:lnTo>
                      <a:pt x="485" y="886"/>
                    </a:lnTo>
                    <a:lnTo>
                      <a:pt x="456" y="854"/>
                    </a:lnTo>
                    <a:lnTo>
                      <a:pt x="427" y="821"/>
                    </a:lnTo>
                    <a:lnTo>
                      <a:pt x="400" y="789"/>
                    </a:lnTo>
                    <a:lnTo>
                      <a:pt x="373" y="757"/>
                    </a:lnTo>
                    <a:lnTo>
                      <a:pt x="348" y="724"/>
                    </a:lnTo>
                    <a:lnTo>
                      <a:pt x="324" y="691"/>
                    </a:lnTo>
                    <a:lnTo>
                      <a:pt x="301" y="659"/>
                    </a:lnTo>
                    <a:lnTo>
                      <a:pt x="280" y="625"/>
                    </a:lnTo>
                    <a:lnTo>
                      <a:pt x="260" y="592"/>
                    </a:lnTo>
                    <a:lnTo>
                      <a:pt x="240" y="559"/>
                    </a:lnTo>
                    <a:lnTo>
                      <a:pt x="223" y="526"/>
                    </a:lnTo>
                    <a:lnTo>
                      <a:pt x="205" y="492"/>
                    </a:lnTo>
                    <a:lnTo>
                      <a:pt x="190" y="459"/>
                    </a:lnTo>
                    <a:lnTo>
                      <a:pt x="175" y="426"/>
                    </a:lnTo>
                    <a:lnTo>
                      <a:pt x="163" y="391"/>
                    </a:lnTo>
                    <a:lnTo>
                      <a:pt x="150" y="358"/>
                    </a:lnTo>
                    <a:lnTo>
                      <a:pt x="140" y="324"/>
                    </a:lnTo>
                    <a:lnTo>
                      <a:pt x="131" y="290"/>
                    </a:lnTo>
                    <a:lnTo>
                      <a:pt x="123" y="256"/>
                    </a:lnTo>
                    <a:lnTo>
                      <a:pt x="115" y="223"/>
                    </a:lnTo>
                    <a:lnTo>
                      <a:pt x="110" y="189"/>
                    </a:lnTo>
                    <a:lnTo>
                      <a:pt x="106" y="154"/>
                    </a:lnTo>
                    <a:lnTo>
                      <a:pt x="102" y="120"/>
                    </a:lnTo>
                    <a:lnTo>
                      <a:pt x="101" y="85"/>
                    </a:lnTo>
                    <a:lnTo>
                      <a:pt x="100" y="51"/>
                    </a:lnTo>
                    <a:lnTo>
                      <a:pt x="100" y="51"/>
                    </a:lnTo>
                    <a:lnTo>
                      <a:pt x="100" y="51"/>
                    </a:lnTo>
                    <a:lnTo>
                      <a:pt x="100" y="45"/>
                    </a:lnTo>
                    <a:lnTo>
                      <a:pt x="99" y="39"/>
                    </a:lnTo>
                    <a:lnTo>
                      <a:pt x="98" y="33"/>
                    </a:lnTo>
                    <a:lnTo>
                      <a:pt x="96" y="29"/>
                    </a:lnTo>
                    <a:lnTo>
                      <a:pt x="94" y="24"/>
                    </a:lnTo>
                    <a:lnTo>
                      <a:pt x="91" y="20"/>
                    </a:lnTo>
                    <a:lnTo>
                      <a:pt x="88" y="17"/>
                    </a:lnTo>
                    <a:lnTo>
                      <a:pt x="85" y="13"/>
                    </a:lnTo>
                    <a:lnTo>
                      <a:pt x="77" y="7"/>
                    </a:lnTo>
                    <a:lnTo>
                      <a:pt x="68" y="3"/>
                    </a:lnTo>
                    <a:lnTo>
                      <a:pt x="60" y="1"/>
                    </a:lnTo>
                    <a:lnTo>
                      <a:pt x="51" y="0"/>
                    </a:lnTo>
                    <a:lnTo>
                      <a:pt x="40" y="1"/>
                    </a:lnTo>
                    <a:lnTo>
                      <a:pt x="32" y="3"/>
                    </a:lnTo>
                    <a:lnTo>
                      <a:pt x="23" y="7"/>
                    </a:lnTo>
                    <a:lnTo>
                      <a:pt x="15" y="13"/>
                    </a:lnTo>
                    <a:lnTo>
                      <a:pt x="12" y="17"/>
                    </a:lnTo>
                    <a:lnTo>
                      <a:pt x="9" y="20"/>
                    </a:lnTo>
                    <a:lnTo>
                      <a:pt x="6" y="24"/>
                    </a:lnTo>
                    <a:lnTo>
                      <a:pt x="4" y="29"/>
                    </a:lnTo>
                    <a:lnTo>
                      <a:pt x="2" y="33"/>
                    </a:lnTo>
                    <a:lnTo>
                      <a:pt x="1" y="39"/>
                    </a:lnTo>
                    <a:lnTo>
                      <a:pt x="0" y="45"/>
                    </a:lnTo>
                    <a:lnTo>
                      <a:pt x="0" y="51"/>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76" name="Freeform 72"/>
              <p:cNvSpPr>
                <a:spLocks/>
              </p:cNvSpPr>
              <p:nvPr>
                <p:custDataLst>
                  <p:tags r:id="rId219"/>
                </p:custDataLst>
              </p:nvPr>
            </p:nvSpPr>
            <p:spPr bwMode="auto">
              <a:xfrm>
                <a:off x="369" y="3354"/>
                <a:ext cx="361" cy="115"/>
              </a:xfrm>
              <a:custGeom>
                <a:avLst/>
                <a:gdLst>
                  <a:gd name="T0" fmla="*/ 7823 w 8296"/>
                  <a:gd name="T1" fmla="*/ 4 h 2865"/>
                  <a:gd name="T2" fmla="*/ 6995 w 8296"/>
                  <a:gd name="T3" fmla="*/ 33 h 2865"/>
                  <a:gd name="T4" fmla="*/ 6193 w 8296"/>
                  <a:gd name="T5" fmla="*/ 89 h 2865"/>
                  <a:gd name="T6" fmla="*/ 5422 w 8296"/>
                  <a:gd name="T7" fmla="*/ 171 h 2865"/>
                  <a:gd name="T8" fmla="*/ 4686 w 8296"/>
                  <a:gd name="T9" fmla="*/ 278 h 2865"/>
                  <a:gd name="T10" fmla="*/ 3987 w 8296"/>
                  <a:gd name="T11" fmla="*/ 409 h 2865"/>
                  <a:gd name="T12" fmla="*/ 3331 w 8296"/>
                  <a:gd name="T13" fmla="*/ 561 h 2865"/>
                  <a:gd name="T14" fmla="*/ 2721 w 8296"/>
                  <a:gd name="T15" fmla="*/ 734 h 2865"/>
                  <a:gd name="T16" fmla="*/ 2436 w 8296"/>
                  <a:gd name="T17" fmla="*/ 827 h 2865"/>
                  <a:gd name="T18" fmla="*/ 2162 w 8296"/>
                  <a:gd name="T19" fmla="*/ 925 h 2865"/>
                  <a:gd name="T20" fmla="*/ 1904 w 8296"/>
                  <a:gd name="T21" fmla="*/ 1029 h 2865"/>
                  <a:gd name="T22" fmla="*/ 1658 w 8296"/>
                  <a:gd name="T23" fmla="*/ 1135 h 2865"/>
                  <a:gd name="T24" fmla="*/ 1428 w 8296"/>
                  <a:gd name="T25" fmla="*/ 1247 h 2865"/>
                  <a:gd name="T26" fmla="*/ 1212 w 8296"/>
                  <a:gd name="T27" fmla="*/ 1362 h 2865"/>
                  <a:gd name="T28" fmla="*/ 1013 w 8296"/>
                  <a:gd name="T29" fmla="*/ 1481 h 2865"/>
                  <a:gd name="T30" fmla="*/ 830 w 8296"/>
                  <a:gd name="T31" fmla="*/ 1604 h 2865"/>
                  <a:gd name="T32" fmla="*/ 663 w 8296"/>
                  <a:gd name="T33" fmla="*/ 1731 h 2865"/>
                  <a:gd name="T34" fmla="*/ 513 w 8296"/>
                  <a:gd name="T35" fmla="*/ 1861 h 2865"/>
                  <a:gd name="T36" fmla="*/ 381 w 8296"/>
                  <a:gd name="T37" fmla="*/ 1995 h 2865"/>
                  <a:gd name="T38" fmla="*/ 268 w 8296"/>
                  <a:gd name="T39" fmla="*/ 2131 h 2865"/>
                  <a:gd name="T40" fmla="*/ 174 w 8296"/>
                  <a:gd name="T41" fmla="*/ 2272 h 2865"/>
                  <a:gd name="T42" fmla="*/ 99 w 8296"/>
                  <a:gd name="T43" fmla="*/ 2416 h 2865"/>
                  <a:gd name="T44" fmla="*/ 44 w 8296"/>
                  <a:gd name="T45" fmla="*/ 2563 h 2865"/>
                  <a:gd name="T46" fmla="*/ 11 w 8296"/>
                  <a:gd name="T47" fmla="*/ 2713 h 2865"/>
                  <a:gd name="T48" fmla="*/ 0 w 8296"/>
                  <a:gd name="T49" fmla="*/ 2865 h 2865"/>
                  <a:gd name="T50" fmla="*/ 106 w 8296"/>
                  <a:gd name="T51" fmla="*/ 2761 h 2865"/>
                  <a:gd name="T52" fmla="*/ 131 w 8296"/>
                  <a:gd name="T53" fmla="*/ 2625 h 2865"/>
                  <a:gd name="T54" fmla="*/ 175 w 8296"/>
                  <a:gd name="T55" fmla="*/ 2490 h 2865"/>
                  <a:gd name="T56" fmla="*/ 240 w 8296"/>
                  <a:gd name="T57" fmla="*/ 2357 h 2865"/>
                  <a:gd name="T58" fmla="*/ 324 w 8296"/>
                  <a:gd name="T59" fmla="*/ 2224 h 2865"/>
                  <a:gd name="T60" fmla="*/ 427 w 8296"/>
                  <a:gd name="T61" fmla="*/ 2094 h 2865"/>
                  <a:gd name="T62" fmla="*/ 548 w 8296"/>
                  <a:gd name="T63" fmla="*/ 1966 h 2865"/>
                  <a:gd name="T64" fmla="*/ 688 w 8296"/>
                  <a:gd name="T65" fmla="*/ 1839 h 2865"/>
                  <a:gd name="T66" fmla="*/ 845 w 8296"/>
                  <a:gd name="T67" fmla="*/ 1716 h 2865"/>
                  <a:gd name="T68" fmla="*/ 1020 w 8296"/>
                  <a:gd name="T69" fmla="*/ 1596 h 2865"/>
                  <a:gd name="T70" fmla="*/ 1211 w 8296"/>
                  <a:gd name="T71" fmla="*/ 1478 h 2865"/>
                  <a:gd name="T72" fmla="*/ 1418 w 8296"/>
                  <a:gd name="T73" fmla="*/ 1364 h 2865"/>
                  <a:gd name="T74" fmla="*/ 1642 w 8296"/>
                  <a:gd name="T75" fmla="*/ 1253 h 2865"/>
                  <a:gd name="T76" fmla="*/ 1880 w 8296"/>
                  <a:gd name="T77" fmla="*/ 1147 h 2865"/>
                  <a:gd name="T78" fmla="*/ 2132 w 8296"/>
                  <a:gd name="T79" fmla="*/ 1044 h 2865"/>
                  <a:gd name="T80" fmla="*/ 2398 w 8296"/>
                  <a:gd name="T81" fmla="*/ 946 h 2865"/>
                  <a:gd name="T82" fmla="*/ 2679 w 8296"/>
                  <a:gd name="T83" fmla="*/ 852 h 2865"/>
                  <a:gd name="T84" fmla="*/ 3199 w 8296"/>
                  <a:gd name="T85" fmla="*/ 700 h 2865"/>
                  <a:gd name="T86" fmla="*/ 3839 w 8296"/>
                  <a:gd name="T87" fmla="*/ 543 h 2865"/>
                  <a:gd name="T88" fmla="*/ 4524 w 8296"/>
                  <a:gd name="T89" fmla="*/ 408 h 2865"/>
                  <a:gd name="T90" fmla="*/ 5248 w 8296"/>
                  <a:gd name="T91" fmla="*/ 295 h 2865"/>
                  <a:gd name="T92" fmla="*/ 6008 w 8296"/>
                  <a:gd name="T93" fmla="*/ 207 h 2865"/>
                  <a:gd name="T94" fmla="*/ 6798 w 8296"/>
                  <a:gd name="T95" fmla="*/ 144 h 2865"/>
                  <a:gd name="T96" fmla="*/ 7617 w 8296"/>
                  <a:gd name="T97" fmla="*/ 109 h 2865"/>
                  <a:gd name="T98" fmla="*/ 8246 w 8296"/>
                  <a:gd name="T99" fmla="*/ 100 h 2865"/>
                  <a:gd name="T100" fmla="*/ 8263 w 8296"/>
                  <a:gd name="T101" fmla="*/ 98 h 2865"/>
                  <a:gd name="T102" fmla="*/ 8280 w 8296"/>
                  <a:gd name="T103" fmla="*/ 88 h 2865"/>
                  <a:gd name="T104" fmla="*/ 8295 w 8296"/>
                  <a:gd name="T105" fmla="*/ 60 h 2865"/>
                  <a:gd name="T106" fmla="*/ 8289 w 8296"/>
                  <a:gd name="T107" fmla="*/ 24 h 2865"/>
                  <a:gd name="T108" fmla="*/ 8272 w 8296"/>
                  <a:gd name="T109" fmla="*/ 6 h 2865"/>
                  <a:gd name="T110" fmla="*/ 8252 w 8296"/>
                  <a:gd name="T111" fmla="*/ 0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5">
                    <a:moveTo>
                      <a:pt x="8246" y="0"/>
                    </a:moveTo>
                    <a:lnTo>
                      <a:pt x="8246" y="0"/>
                    </a:lnTo>
                    <a:lnTo>
                      <a:pt x="8034" y="1"/>
                    </a:lnTo>
                    <a:lnTo>
                      <a:pt x="7823" y="4"/>
                    </a:lnTo>
                    <a:lnTo>
                      <a:pt x="7614" y="8"/>
                    </a:lnTo>
                    <a:lnTo>
                      <a:pt x="7407" y="14"/>
                    </a:lnTo>
                    <a:lnTo>
                      <a:pt x="7200" y="23"/>
                    </a:lnTo>
                    <a:lnTo>
                      <a:pt x="6995" y="33"/>
                    </a:lnTo>
                    <a:lnTo>
                      <a:pt x="6792" y="45"/>
                    </a:lnTo>
                    <a:lnTo>
                      <a:pt x="6591" y="57"/>
                    </a:lnTo>
                    <a:lnTo>
                      <a:pt x="6391" y="72"/>
                    </a:lnTo>
                    <a:lnTo>
                      <a:pt x="6193" y="89"/>
                    </a:lnTo>
                    <a:lnTo>
                      <a:pt x="5998" y="108"/>
                    </a:lnTo>
                    <a:lnTo>
                      <a:pt x="5804" y="127"/>
                    </a:lnTo>
                    <a:lnTo>
                      <a:pt x="5612" y="148"/>
                    </a:lnTo>
                    <a:lnTo>
                      <a:pt x="5422" y="171"/>
                    </a:lnTo>
                    <a:lnTo>
                      <a:pt x="5235" y="196"/>
                    </a:lnTo>
                    <a:lnTo>
                      <a:pt x="5049" y="221"/>
                    </a:lnTo>
                    <a:lnTo>
                      <a:pt x="4866" y="249"/>
                    </a:lnTo>
                    <a:lnTo>
                      <a:pt x="4686" y="278"/>
                    </a:lnTo>
                    <a:lnTo>
                      <a:pt x="4507" y="308"/>
                    </a:lnTo>
                    <a:lnTo>
                      <a:pt x="4331" y="341"/>
                    </a:lnTo>
                    <a:lnTo>
                      <a:pt x="4158" y="374"/>
                    </a:lnTo>
                    <a:lnTo>
                      <a:pt x="3987" y="409"/>
                    </a:lnTo>
                    <a:lnTo>
                      <a:pt x="3819" y="445"/>
                    </a:lnTo>
                    <a:lnTo>
                      <a:pt x="3653" y="482"/>
                    </a:lnTo>
                    <a:lnTo>
                      <a:pt x="3491" y="521"/>
                    </a:lnTo>
                    <a:lnTo>
                      <a:pt x="3331" y="561"/>
                    </a:lnTo>
                    <a:lnTo>
                      <a:pt x="3173" y="602"/>
                    </a:lnTo>
                    <a:lnTo>
                      <a:pt x="3020" y="645"/>
                    </a:lnTo>
                    <a:lnTo>
                      <a:pt x="2869" y="689"/>
                    </a:lnTo>
                    <a:lnTo>
                      <a:pt x="2721" y="734"/>
                    </a:lnTo>
                    <a:lnTo>
                      <a:pt x="2649" y="757"/>
                    </a:lnTo>
                    <a:lnTo>
                      <a:pt x="2577" y="780"/>
                    </a:lnTo>
                    <a:lnTo>
                      <a:pt x="2506" y="803"/>
                    </a:lnTo>
                    <a:lnTo>
                      <a:pt x="2436" y="827"/>
                    </a:lnTo>
                    <a:lnTo>
                      <a:pt x="2365" y="852"/>
                    </a:lnTo>
                    <a:lnTo>
                      <a:pt x="2297" y="876"/>
                    </a:lnTo>
                    <a:lnTo>
                      <a:pt x="2229" y="900"/>
                    </a:lnTo>
                    <a:lnTo>
                      <a:pt x="2162" y="925"/>
                    </a:lnTo>
                    <a:lnTo>
                      <a:pt x="2096" y="951"/>
                    </a:lnTo>
                    <a:lnTo>
                      <a:pt x="2030" y="976"/>
                    </a:lnTo>
                    <a:lnTo>
                      <a:pt x="1967" y="1002"/>
                    </a:lnTo>
                    <a:lnTo>
                      <a:pt x="1904" y="1029"/>
                    </a:lnTo>
                    <a:lnTo>
                      <a:pt x="1841" y="1055"/>
                    </a:lnTo>
                    <a:lnTo>
                      <a:pt x="1779" y="1082"/>
                    </a:lnTo>
                    <a:lnTo>
                      <a:pt x="1718" y="1109"/>
                    </a:lnTo>
                    <a:lnTo>
                      <a:pt x="1658" y="1135"/>
                    </a:lnTo>
                    <a:lnTo>
                      <a:pt x="1600" y="1163"/>
                    </a:lnTo>
                    <a:lnTo>
                      <a:pt x="1541" y="1190"/>
                    </a:lnTo>
                    <a:lnTo>
                      <a:pt x="1484" y="1218"/>
                    </a:lnTo>
                    <a:lnTo>
                      <a:pt x="1428" y="1247"/>
                    </a:lnTo>
                    <a:lnTo>
                      <a:pt x="1373" y="1275"/>
                    </a:lnTo>
                    <a:lnTo>
                      <a:pt x="1318" y="1304"/>
                    </a:lnTo>
                    <a:lnTo>
                      <a:pt x="1265" y="1333"/>
                    </a:lnTo>
                    <a:lnTo>
                      <a:pt x="1212" y="1362"/>
                    </a:lnTo>
                    <a:lnTo>
                      <a:pt x="1162" y="1391"/>
                    </a:lnTo>
                    <a:lnTo>
                      <a:pt x="1111" y="1421"/>
                    </a:lnTo>
                    <a:lnTo>
                      <a:pt x="1062" y="1451"/>
                    </a:lnTo>
                    <a:lnTo>
                      <a:pt x="1013" y="1481"/>
                    </a:lnTo>
                    <a:lnTo>
                      <a:pt x="966" y="1511"/>
                    </a:lnTo>
                    <a:lnTo>
                      <a:pt x="919" y="1542"/>
                    </a:lnTo>
                    <a:lnTo>
                      <a:pt x="874" y="1573"/>
                    </a:lnTo>
                    <a:lnTo>
                      <a:pt x="830" y="1604"/>
                    </a:lnTo>
                    <a:lnTo>
                      <a:pt x="786" y="1635"/>
                    </a:lnTo>
                    <a:lnTo>
                      <a:pt x="744" y="1666"/>
                    </a:lnTo>
                    <a:lnTo>
                      <a:pt x="703" y="1698"/>
                    </a:lnTo>
                    <a:lnTo>
                      <a:pt x="663" y="1731"/>
                    </a:lnTo>
                    <a:lnTo>
                      <a:pt x="624" y="1763"/>
                    </a:lnTo>
                    <a:lnTo>
                      <a:pt x="586" y="1795"/>
                    </a:lnTo>
                    <a:lnTo>
                      <a:pt x="549" y="1828"/>
                    </a:lnTo>
                    <a:lnTo>
                      <a:pt x="513" y="1861"/>
                    </a:lnTo>
                    <a:lnTo>
                      <a:pt x="479" y="1894"/>
                    </a:lnTo>
                    <a:lnTo>
                      <a:pt x="445" y="1927"/>
                    </a:lnTo>
                    <a:lnTo>
                      <a:pt x="413" y="1960"/>
                    </a:lnTo>
                    <a:lnTo>
                      <a:pt x="381" y="1995"/>
                    </a:lnTo>
                    <a:lnTo>
                      <a:pt x="351" y="2029"/>
                    </a:lnTo>
                    <a:lnTo>
                      <a:pt x="323" y="2063"/>
                    </a:lnTo>
                    <a:lnTo>
                      <a:pt x="295" y="2097"/>
                    </a:lnTo>
                    <a:lnTo>
                      <a:pt x="268" y="2131"/>
                    </a:lnTo>
                    <a:lnTo>
                      <a:pt x="243" y="2166"/>
                    </a:lnTo>
                    <a:lnTo>
                      <a:pt x="219" y="2202"/>
                    </a:lnTo>
                    <a:lnTo>
                      <a:pt x="196" y="2237"/>
                    </a:lnTo>
                    <a:lnTo>
                      <a:pt x="174" y="2272"/>
                    </a:lnTo>
                    <a:lnTo>
                      <a:pt x="154" y="2308"/>
                    </a:lnTo>
                    <a:lnTo>
                      <a:pt x="134" y="2343"/>
                    </a:lnTo>
                    <a:lnTo>
                      <a:pt x="115" y="2380"/>
                    </a:lnTo>
                    <a:lnTo>
                      <a:pt x="99" y="2416"/>
                    </a:lnTo>
                    <a:lnTo>
                      <a:pt x="83" y="2452"/>
                    </a:lnTo>
                    <a:lnTo>
                      <a:pt x="69" y="2489"/>
                    </a:lnTo>
                    <a:lnTo>
                      <a:pt x="56" y="2525"/>
                    </a:lnTo>
                    <a:lnTo>
                      <a:pt x="44" y="2563"/>
                    </a:lnTo>
                    <a:lnTo>
                      <a:pt x="34" y="2600"/>
                    </a:lnTo>
                    <a:lnTo>
                      <a:pt x="25" y="2637"/>
                    </a:lnTo>
                    <a:lnTo>
                      <a:pt x="18" y="2676"/>
                    </a:lnTo>
                    <a:lnTo>
                      <a:pt x="11" y="2713"/>
                    </a:lnTo>
                    <a:lnTo>
                      <a:pt x="6" y="2750"/>
                    </a:lnTo>
                    <a:lnTo>
                      <a:pt x="3" y="2788"/>
                    </a:lnTo>
                    <a:lnTo>
                      <a:pt x="1" y="2827"/>
                    </a:lnTo>
                    <a:lnTo>
                      <a:pt x="0" y="2865"/>
                    </a:lnTo>
                    <a:lnTo>
                      <a:pt x="100" y="2865"/>
                    </a:lnTo>
                    <a:lnTo>
                      <a:pt x="101" y="2830"/>
                    </a:lnTo>
                    <a:lnTo>
                      <a:pt x="102" y="2796"/>
                    </a:lnTo>
                    <a:lnTo>
                      <a:pt x="106" y="2761"/>
                    </a:lnTo>
                    <a:lnTo>
                      <a:pt x="110" y="2727"/>
                    </a:lnTo>
                    <a:lnTo>
                      <a:pt x="115" y="2693"/>
                    </a:lnTo>
                    <a:lnTo>
                      <a:pt x="123" y="2659"/>
                    </a:lnTo>
                    <a:lnTo>
                      <a:pt x="131" y="2625"/>
                    </a:lnTo>
                    <a:lnTo>
                      <a:pt x="140" y="2592"/>
                    </a:lnTo>
                    <a:lnTo>
                      <a:pt x="150" y="2558"/>
                    </a:lnTo>
                    <a:lnTo>
                      <a:pt x="163" y="2524"/>
                    </a:lnTo>
                    <a:lnTo>
                      <a:pt x="175" y="2490"/>
                    </a:lnTo>
                    <a:lnTo>
                      <a:pt x="190" y="2457"/>
                    </a:lnTo>
                    <a:lnTo>
                      <a:pt x="205" y="2423"/>
                    </a:lnTo>
                    <a:lnTo>
                      <a:pt x="223" y="2390"/>
                    </a:lnTo>
                    <a:lnTo>
                      <a:pt x="240" y="2357"/>
                    </a:lnTo>
                    <a:lnTo>
                      <a:pt x="260" y="2324"/>
                    </a:lnTo>
                    <a:lnTo>
                      <a:pt x="279" y="2291"/>
                    </a:lnTo>
                    <a:lnTo>
                      <a:pt x="301" y="2257"/>
                    </a:lnTo>
                    <a:lnTo>
                      <a:pt x="324" y="2224"/>
                    </a:lnTo>
                    <a:lnTo>
                      <a:pt x="348" y="2192"/>
                    </a:lnTo>
                    <a:lnTo>
                      <a:pt x="373" y="2159"/>
                    </a:lnTo>
                    <a:lnTo>
                      <a:pt x="400" y="2127"/>
                    </a:lnTo>
                    <a:lnTo>
                      <a:pt x="427" y="2094"/>
                    </a:lnTo>
                    <a:lnTo>
                      <a:pt x="456" y="2062"/>
                    </a:lnTo>
                    <a:lnTo>
                      <a:pt x="485" y="2030"/>
                    </a:lnTo>
                    <a:lnTo>
                      <a:pt x="516" y="1998"/>
                    </a:lnTo>
                    <a:lnTo>
                      <a:pt x="548" y="1966"/>
                    </a:lnTo>
                    <a:lnTo>
                      <a:pt x="581" y="1934"/>
                    </a:lnTo>
                    <a:lnTo>
                      <a:pt x="616" y="1902"/>
                    </a:lnTo>
                    <a:lnTo>
                      <a:pt x="651" y="1871"/>
                    </a:lnTo>
                    <a:lnTo>
                      <a:pt x="688" y="1839"/>
                    </a:lnTo>
                    <a:lnTo>
                      <a:pt x="726" y="1808"/>
                    </a:lnTo>
                    <a:lnTo>
                      <a:pt x="765" y="1777"/>
                    </a:lnTo>
                    <a:lnTo>
                      <a:pt x="804" y="1747"/>
                    </a:lnTo>
                    <a:lnTo>
                      <a:pt x="845" y="1716"/>
                    </a:lnTo>
                    <a:lnTo>
                      <a:pt x="887" y="1686"/>
                    </a:lnTo>
                    <a:lnTo>
                      <a:pt x="931" y="1656"/>
                    </a:lnTo>
                    <a:lnTo>
                      <a:pt x="975" y="1625"/>
                    </a:lnTo>
                    <a:lnTo>
                      <a:pt x="1020" y="1596"/>
                    </a:lnTo>
                    <a:lnTo>
                      <a:pt x="1066" y="1566"/>
                    </a:lnTo>
                    <a:lnTo>
                      <a:pt x="1113" y="1537"/>
                    </a:lnTo>
                    <a:lnTo>
                      <a:pt x="1162" y="1507"/>
                    </a:lnTo>
                    <a:lnTo>
                      <a:pt x="1211" y="1478"/>
                    </a:lnTo>
                    <a:lnTo>
                      <a:pt x="1262" y="1449"/>
                    </a:lnTo>
                    <a:lnTo>
                      <a:pt x="1313" y="1421"/>
                    </a:lnTo>
                    <a:lnTo>
                      <a:pt x="1366" y="1392"/>
                    </a:lnTo>
                    <a:lnTo>
                      <a:pt x="1418" y="1364"/>
                    </a:lnTo>
                    <a:lnTo>
                      <a:pt x="1473" y="1336"/>
                    </a:lnTo>
                    <a:lnTo>
                      <a:pt x="1529" y="1308"/>
                    </a:lnTo>
                    <a:lnTo>
                      <a:pt x="1584" y="1281"/>
                    </a:lnTo>
                    <a:lnTo>
                      <a:pt x="1642" y="1253"/>
                    </a:lnTo>
                    <a:lnTo>
                      <a:pt x="1700" y="1227"/>
                    </a:lnTo>
                    <a:lnTo>
                      <a:pt x="1758" y="1200"/>
                    </a:lnTo>
                    <a:lnTo>
                      <a:pt x="1819" y="1174"/>
                    </a:lnTo>
                    <a:lnTo>
                      <a:pt x="1880" y="1147"/>
                    </a:lnTo>
                    <a:lnTo>
                      <a:pt x="1941" y="1121"/>
                    </a:lnTo>
                    <a:lnTo>
                      <a:pt x="2004" y="1095"/>
                    </a:lnTo>
                    <a:lnTo>
                      <a:pt x="2068" y="1070"/>
                    </a:lnTo>
                    <a:lnTo>
                      <a:pt x="2132" y="1044"/>
                    </a:lnTo>
                    <a:lnTo>
                      <a:pt x="2197" y="1020"/>
                    </a:lnTo>
                    <a:lnTo>
                      <a:pt x="2263" y="995"/>
                    </a:lnTo>
                    <a:lnTo>
                      <a:pt x="2330" y="971"/>
                    </a:lnTo>
                    <a:lnTo>
                      <a:pt x="2398" y="946"/>
                    </a:lnTo>
                    <a:lnTo>
                      <a:pt x="2467" y="922"/>
                    </a:lnTo>
                    <a:lnTo>
                      <a:pt x="2538" y="898"/>
                    </a:lnTo>
                    <a:lnTo>
                      <a:pt x="2608" y="876"/>
                    </a:lnTo>
                    <a:lnTo>
                      <a:pt x="2679" y="852"/>
                    </a:lnTo>
                    <a:lnTo>
                      <a:pt x="2751" y="830"/>
                    </a:lnTo>
                    <a:lnTo>
                      <a:pt x="2897" y="785"/>
                    </a:lnTo>
                    <a:lnTo>
                      <a:pt x="3047" y="741"/>
                    </a:lnTo>
                    <a:lnTo>
                      <a:pt x="3199" y="700"/>
                    </a:lnTo>
                    <a:lnTo>
                      <a:pt x="3355" y="658"/>
                    </a:lnTo>
                    <a:lnTo>
                      <a:pt x="3514" y="619"/>
                    </a:lnTo>
                    <a:lnTo>
                      <a:pt x="3675" y="580"/>
                    </a:lnTo>
                    <a:lnTo>
                      <a:pt x="3839" y="543"/>
                    </a:lnTo>
                    <a:lnTo>
                      <a:pt x="4007" y="507"/>
                    </a:lnTo>
                    <a:lnTo>
                      <a:pt x="4176" y="473"/>
                    </a:lnTo>
                    <a:lnTo>
                      <a:pt x="4350" y="440"/>
                    </a:lnTo>
                    <a:lnTo>
                      <a:pt x="4524" y="408"/>
                    </a:lnTo>
                    <a:lnTo>
                      <a:pt x="4702" y="378"/>
                    </a:lnTo>
                    <a:lnTo>
                      <a:pt x="4881" y="349"/>
                    </a:lnTo>
                    <a:lnTo>
                      <a:pt x="5064" y="321"/>
                    </a:lnTo>
                    <a:lnTo>
                      <a:pt x="5248" y="295"/>
                    </a:lnTo>
                    <a:lnTo>
                      <a:pt x="5435" y="271"/>
                    </a:lnTo>
                    <a:lnTo>
                      <a:pt x="5623" y="248"/>
                    </a:lnTo>
                    <a:lnTo>
                      <a:pt x="5814" y="227"/>
                    </a:lnTo>
                    <a:lnTo>
                      <a:pt x="6008" y="207"/>
                    </a:lnTo>
                    <a:lnTo>
                      <a:pt x="6203" y="189"/>
                    </a:lnTo>
                    <a:lnTo>
                      <a:pt x="6400" y="173"/>
                    </a:lnTo>
                    <a:lnTo>
                      <a:pt x="6597" y="157"/>
                    </a:lnTo>
                    <a:lnTo>
                      <a:pt x="6798" y="144"/>
                    </a:lnTo>
                    <a:lnTo>
                      <a:pt x="7000" y="132"/>
                    </a:lnTo>
                    <a:lnTo>
                      <a:pt x="7205" y="123"/>
                    </a:lnTo>
                    <a:lnTo>
                      <a:pt x="7410" y="115"/>
                    </a:lnTo>
                    <a:lnTo>
                      <a:pt x="7617" y="109"/>
                    </a:lnTo>
                    <a:lnTo>
                      <a:pt x="7825" y="105"/>
                    </a:lnTo>
                    <a:lnTo>
                      <a:pt x="8034" y="101"/>
                    </a:lnTo>
                    <a:lnTo>
                      <a:pt x="8246" y="100"/>
                    </a:lnTo>
                    <a:lnTo>
                      <a:pt x="8246" y="100"/>
                    </a:lnTo>
                    <a:lnTo>
                      <a:pt x="8246" y="100"/>
                    </a:lnTo>
                    <a:lnTo>
                      <a:pt x="8252" y="100"/>
                    </a:lnTo>
                    <a:lnTo>
                      <a:pt x="8257" y="99"/>
                    </a:lnTo>
                    <a:lnTo>
                      <a:pt x="8263" y="98"/>
                    </a:lnTo>
                    <a:lnTo>
                      <a:pt x="8267" y="96"/>
                    </a:lnTo>
                    <a:lnTo>
                      <a:pt x="8272" y="94"/>
                    </a:lnTo>
                    <a:lnTo>
                      <a:pt x="8276" y="91"/>
                    </a:lnTo>
                    <a:lnTo>
                      <a:pt x="8280" y="88"/>
                    </a:lnTo>
                    <a:lnTo>
                      <a:pt x="8284" y="85"/>
                    </a:lnTo>
                    <a:lnTo>
                      <a:pt x="8289" y="78"/>
                    </a:lnTo>
                    <a:lnTo>
                      <a:pt x="8293" y="68"/>
                    </a:lnTo>
                    <a:lnTo>
                      <a:pt x="8295" y="60"/>
                    </a:lnTo>
                    <a:lnTo>
                      <a:pt x="8296" y="51"/>
                    </a:lnTo>
                    <a:lnTo>
                      <a:pt x="8295" y="41"/>
                    </a:lnTo>
                    <a:lnTo>
                      <a:pt x="8293" y="32"/>
                    </a:lnTo>
                    <a:lnTo>
                      <a:pt x="8289" y="24"/>
                    </a:lnTo>
                    <a:lnTo>
                      <a:pt x="8284" y="16"/>
                    </a:lnTo>
                    <a:lnTo>
                      <a:pt x="8280" y="12"/>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77" name="Freeform 73"/>
              <p:cNvSpPr>
                <a:spLocks/>
              </p:cNvSpPr>
              <p:nvPr>
                <p:custDataLst>
                  <p:tags r:id="rId220"/>
                </p:custDataLst>
              </p:nvPr>
            </p:nvSpPr>
            <p:spPr bwMode="auto">
              <a:xfrm>
                <a:off x="728" y="3354"/>
                <a:ext cx="358" cy="115"/>
              </a:xfrm>
              <a:custGeom>
                <a:avLst/>
                <a:gdLst>
                  <a:gd name="T0" fmla="*/ 8239 w 8245"/>
                  <a:gd name="T1" fmla="*/ 2750 h 2865"/>
                  <a:gd name="T2" fmla="*/ 8211 w 8245"/>
                  <a:gd name="T3" fmla="*/ 2600 h 2865"/>
                  <a:gd name="T4" fmla="*/ 8162 w 8245"/>
                  <a:gd name="T5" fmla="*/ 2452 h 2865"/>
                  <a:gd name="T6" fmla="*/ 8091 w 8245"/>
                  <a:gd name="T7" fmla="*/ 2308 h 2865"/>
                  <a:gd name="T8" fmla="*/ 8002 w 8245"/>
                  <a:gd name="T9" fmla="*/ 2166 h 2865"/>
                  <a:gd name="T10" fmla="*/ 7894 w 8245"/>
                  <a:gd name="T11" fmla="*/ 2029 h 2865"/>
                  <a:gd name="T12" fmla="*/ 7766 w 8245"/>
                  <a:gd name="T13" fmla="*/ 1894 h 2865"/>
                  <a:gd name="T14" fmla="*/ 7620 w 8245"/>
                  <a:gd name="T15" fmla="*/ 1763 h 2865"/>
                  <a:gd name="T16" fmla="*/ 7459 w 8245"/>
                  <a:gd name="T17" fmla="*/ 1635 h 2865"/>
                  <a:gd name="T18" fmla="*/ 7279 w 8245"/>
                  <a:gd name="T19" fmla="*/ 1511 h 2865"/>
                  <a:gd name="T20" fmla="*/ 7083 w 8245"/>
                  <a:gd name="T21" fmla="*/ 1391 h 2865"/>
                  <a:gd name="T22" fmla="*/ 6872 w 8245"/>
                  <a:gd name="T23" fmla="*/ 1275 h 2865"/>
                  <a:gd name="T24" fmla="*/ 6645 w 8245"/>
                  <a:gd name="T25" fmla="*/ 1163 h 2865"/>
                  <a:gd name="T26" fmla="*/ 6404 w 8245"/>
                  <a:gd name="T27" fmla="*/ 1055 h 2865"/>
                  <a:gd name="T28" fmla="*/ 6149 w 8245"/>
                  <a:gd name="T29" fmla="*/ 951 h 2865"/>
                  <a:gd name="T30" fmla="*/ 5880 w 8245"/>
                  <a:gd name="T31" fmla="*/ 852 h 2865"/>
                  <a:gd name="T32" fmla="*/ 5596 w 8245"/>
                  <a:gd name="T33" fmla="*/ 757 h 2865"/>
                  <a:gd name="T34" fmla="*/ 5072 w 8245"/>
                  <a:gd name="T35" fmla="*/ 602 h 2865"/>
                  <a:gd name="T36" fmla="*/ 4426 w 8245"/>
                  <a:gd name="T37" fmla="*/ 445 h 2865"/>
                  <a:gd name="T38" fmla="*/ 3738 w 8245"/>
                  <a:gd name="T39" fmla="*/ 308 h 2865"/>
                  <a:gd name="T40" fmla="*/ 3010 w 8245"/>
                  <a:gd name="T41" fmla="*/ 196 h 2865"/>
                  <a:gd name="T42" fmla="*/ 2246 w 8245"/>
                  <a:gd name="T43" fmla="*/ 108 h 2865"/>
                  <a:gd name="T44" fmla="*/ 1453 w 8245"/>
                  <a:gd name="T45" fmla="*/ 45 h 2865"/>
                  <a:gd name="T46" fmla="*/ 631 w 8245"/>
                  <a:gd name="T47" fmla="*/ 8 h 2865"/>
                  <a:gd name="T48" fmla="*/ 0 w 8245"/>
                  <a:gd name="T49" fmla="*/ 100 h 2865"/>
                  <a:gd name="T50" fmla="*/ 835 w 8245"/>
                  <a:gd name="T51" fmla="*/ 115 h 2865"/>
                  <a:gd name="T52" fmla="*/ 1648 w 8245"/>
                  <a:gd name="T53" fmla="*/ 157 h 2865"/>
                  <a:gd name="T54" fmla="*/ 2431 w 8245"/>
                  <a:gd name="T55" fmla="*/ 227 h 2865"/>
                  <a:gd name="T56" fmla="*/ 3181 w 8245"/>
                  <a:gd name="T57" fmla="*/ 321 h 2865"/>
                  <a:gd name="T58" fmla="*/ 3895 w 8245"/>
                  <a:gd name="T59" fmla="*/ 440 h 2865"/>
                  <a:gd name="T60" fmla="*/ 4570 w 8245"/>
                  <a:gd name="T61" fmla="*/ 580 h 2865"/>
                  <a:gd name="T62" fmla="*/ 5198 w 8245"/>
                  <a:gd name="T63" fmla="*/ 741 h 2865"/>
                  <a:gd name="T64" fmla="*/ 5637 w 8245"/>
                  <a:gd name="T65" fmla="*/ 876 h 2865"/>
                  <a:gd name="T66" fmla="*/ 5915 w 8245"/>
                  <a:gd name="T67" fmla="*/ 971 h 2865"/>
                  <a:gd name="T68" fmla="*/ 6177 w 8245"/>
                  <a:gd name="T69" fmla="*/ 1070 h 2865"/>
                  <a:gd name="T70" fmla="*/ 6426 w 8245"/>
                  <a:gd name="T71" fmla="*/ 1174 h 2865"/>
                  <a:gd name="T72" fmla="*/ 6661 w 8245"/>
                  <a:gd name="T73" fmla="*/ 1281 h 2865"/>
                  <a:gd name="T74" fmla="*/ 6879 w 8245"/>
                  <a:gd name="T75" fmla="*/ 1392 h 2865"/>
                  <a:gd name="T76" fmla="*/ 7083 w 8245"/>
                  <a:gd name="T77" fmla="*/ 1507 h 2865"/>
                  <a:gd name="T78" fmla="*/ 7270 w 8245"/>
                  <a:gd name="T79" fmla="*/ 1625 h 2865"/>
                  <a:gd name="T80" fmla="*/ 7440 w 8245"/>
                  <a:gd name="T81" fmla="*/ 1747 h 2865"/>
                  <a:gd name="T82" fmla="*/ 7594 w 8245"/>
                  <a:gd name="T83" fmla="*/ 1871 h 2865"/>
                  <a:gd name="T84" fmla="*/ 7729 w 8245"/>
                  <a:gd name="T85" fmla="*/ 1998 h 2865"/>
                  <a:gd name="T86" fmla="*/ 7845 w 8245"/>
                  <a:gd name="T87" fmla="*/ 2127 h 2865"/>
                  <a:gd name="T88" fmla="*/ 7943 w 8245"/>
                  <a:gd name="T89" fmla="*/ 2257 h 2865"/>
                  <a:gd name="T90" fmla="*/ 8022 w 8245"/>
                  <a:gd name="T91" fmla="*/ 2390 h 2865"/>
                  <a:gd name="T92" fmla="*/ 8082 w 8245"/>
                  <a:gd name="T93" fmla="*/ 2524 h 2865"/>
                  <a:gd name="T94" fmla="*/ 8122 w 8245"/>
                  <a:gd name="T95" fmla="*/ 2659 h 2865"/>
                  <a:gd name="T96" fmla="*/ 8142 w 8245"/>
                  <a:gd name="T97" fmla="*/ 279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5">
                    <a:moveTo>
                      <a:pt x="8245" y="2865"/>
                    </a:moveTo>
                    <a:lnTo>
                      <a:pt x="8244" y="2827"/>
                    </a:lnTo>
                    <a:lnTo>
                      <a:pt x="8242" y="2788"/>
                    </a:lnTo>
                    <a:lnTo>
                      <a:pt x="8239" y="2750"/>
                    </a:lnTo>
                    <a:lnTo>
                      <a:pt x="8234" y="2713"/>
                    </a:lnTo>
                    <a:lnTo>
                      <a:pt x="8227" y="2676"/>
                    </a:lnTo>
                    <a:lnTo>
                      <a:pt x="8219" y="2637"/>
                    </a:lnTo>
                    <a:lnTo>
                      <a:pt x="8211" y="2600"/>
                    </a:lnTo>
                    <a:lnTo>
                      <a:pt x="8201" y="2563"/>
                    </a:lnTo>
                    <a:lnTo>
                      <a:pt x="8188" y="2525"/>
                    </a:lnTo>
                    <a:lnTo>
                      <a:pt x="8176" y="2489"/>
                    </a:lnTo>
                    <a:lnTo>
                      <a:pt x="8162" y="2452"/>
                    </a:lnTo>
                    <a:lnTo>
                      <a:pt x="8146" y="2416"/>
                    </a:lnTo>
                    <a:lnTo>
                      <a:pt x="8130" y="2380"/>
                    </a:lnTo>
                    <a:lnTo>
                      <a:pt x="8111" y="2343"/>
                    </a:lnTo>
                    <a:lnTo>
                      <a:pt x="8091" y="2308"/>
                    </a:lnTo>
                    <a:lnTo>
                      <a:pt x="8071" y="2272"/>
                    </a:lnTo>
                    <a:lnTo>
                      <a:pt x="8049" y="2237"/>
                    </a:lnTo>
                    <a:lnTo>
                      <a:pt x="8026" y="2202"/>
                    </a:lnTo>
                    <a:lnTo>
                      <a:pt x="8002" y="2166"/>
                    </a:lnTo>
                    <a:lnTo>
                      <a:pt x="7977" y="2131"/>
                    </a:lnTo>
                    <a:lnTo>
                      <a:pt x="7950" y="2097"/>
                    </a:lnTo>
                    <a:lnTo>
                      <a:pt x="7922" y="2063"/>
                    </a:lnTo>
                    <a:lnTo>
                      <a:pt x="7894" y="2029"/>
                    </a:lnTo>
                    <a:lnTo>
                      <a:pt x="7864" y="1995"/>
                    </a:lnTo>
                    <a:lnTo>
                      <a:pt x="7832" y="1960"/>
                    </a:lnTo>
                    <a:lnTo>
                      <a:pt x="7800" y="1927"/>
                    </a:lnTo>
                    <a:lnTo>
                      <a:pt x="7766" y="1894"/>
                    </a:lnTo>
                    <a:lnTo>
                      <a:pt x="7732" y="1861"/>
                    </a:lnTo>
                    <a:lnTo>
                      <a:pt x="7696" y="1828"/>
                    </a:lnTo>
                    <a:lnTo>
                      <a:pt x="7659" y="1795"/>
                    </a:lnTo>
                    <a:lnTo>
                      <a:pt x="7620" y="1763"/>
                    </a:lnTo>
                    <a:lnTo>
                      <a:pt x="7582" y="1731"/>
                    </a:lnTo>
                    <a:lnTo>
                      <a:pt x="7542" y="1698"/>
                    </a:lnTo>
                    <a:lnTo>
                      <a:pt x="7501" y="1666"/>
                    </a:lnTo>
                    <a:lnTo>
                      <a:pt x="7459" y="1635"/>
                    </a:lnTo>
                    <a:lnTo>
                      <a:pt x="7415" y="1604"/>
                    </a:lnTo>
                    <a:lnTo>
                      <a:pt x="7371" y="1573"/>
                    </a:lnTo>
                    <a:lnTo>
                      <a:pt x="7326" y="1542"/>
                    </a:lnTo>
                    <a:lnTo>
                      <a:pt x="7279" y="1511"/>
                    </a:lnTo>
                    <a:lnTo>
                      <a:pt x="7232" y="1481"/>
                    </a:lnTo>
                    <a:lnTo>
                      <a:pt x="7183" y="1451"/>
                    </a:lnTo>
                    <a:lnTo>
                      <a:pt x="7134" y="1421"/>
                    </a:lnTo>
                    <a:lnTo>
                      <a:pt x="7083" y="1391"/>
                    </a:lnTo>
                    <a:lnTo>
                      <a:pt x="7032" y="1362"/>
                    </a:lnTo>
                    <a:lnTo>
                      <a:pt x="6980" y="1333"/>
                    </a:lnTo>
                    <a:lnTo>
                      <a:pt x="6927" y="1304"/>
                    </a:lnTo>
                    <a:lnTo>
                      <a:pt x="6872" y="1275"/>
                    </a:lnTo>
                    <a:lnTo>
                      <a:pt x="6817" y="1247"/>
                    </a:lnTo>
                    <a:lnTo>
                      <a:pt x="6761" y="1218"/>
                    </a:lnTo>
                    <a:lnTo>
                      <a:pt x="6704" y="1190"/>
                    </a:lnTo>
                    <a:lnTo>
                      <a:pt x="6645" y="1163"/>
                    </a:lnTo>
                    <a:lnTo>
                      <a:pt x="6587" y="1135"/>
                    </a:lnTo>
                    <a:lnTo>
                      <a:pt x="6527" y="1109"/>
                    </a:lnTo>
                    <a:lnTo>
                      <a:pt x="6466" y="1082"/>
                    </a:lnTo>
                    <a:lnTo>
                      <a:pt x="6404" y="1055"/>
                    </a:lnTo>
                    <a:lnTo>
                      <a:pt x="6341" y="1029"/>
                    </a:lnTo>
                    <a:lnTo>
                      <a:pt x="6278" y="1002"/>
                    </a:lnTo>
                    <a:lnTo>
                      <a:pt x="6214" y="976"/>
                    </a:lnTo>
                    <a:lnTo>
                      <a:pt x="6149" y="951"/>
                    </a:lnTo>
                    <a:lnTo>
                      <a:pt x="6083" y="925"/>
                    </a:lnTo>
                    <a:lnTo>
                      <a:pt x="6016" y="900"/>
                    </a:lnTo>
                    <a:lnTo>
                      <a:pt x="5948" y="876"/>
                    </a:lnTo>
                    <a:lnTo>
                      <a:pt x="5880" y="852"/>
                    </a:lnTo>
                    <a:lnTo>
                      <a:pt x="5809" y="827"/>
                    </a:lnTo>
                    <a:lnTo>
                      <a:pt x="5739" y="803"/>
                    </a:lnTo>
                    <a:lnTo>
                      <a:pt x="5668" y="780"/>
                    </a:lnTo>
                    <a:lnTo>
                      <a:pt x="5596" y="757"/>
                    </a:lnTo>
                    <a:lnTo>
                      <a:pt x="5524" y="734"/>
                    </a:lnTo>
                    <a:lnTo>
                      <a:pt x="5376" y="689"/>
                    </a:lnTo>
                    <a:lnTo>
                      <a:pt x="5225" y="645"/>
                    </a:lnTo>
                    <a:lnTo>
                      <a:pt x="5072" y="602"/>
                    </a:lnTo>
                    <a:lnTo>
                      <a:pt x="4914" y="561"/>
                    </a:lnTo>
                    <a:lnTo>
                      <a:pt x="4754" y="521"/>
                    </a:lnTo>
                    <a:lnTo>
                      <a:pt x="4592" y="482"/>
                    </a:lnTo>
                    <a:lnTo>
                      <a:pt x="4426" y="445"/>
                    </a:lnTo>
                    <a:lnTo>
                      <a:pt x="4258" y="409"/>
                    </a:lnTo>
                    <a:lnTo>
                      <a:pt x="4087" y="374"/>
                    </a:lnTo>
                    <a:lnTo>
                      <a:pt x="3914" y="341"/>
                    </a:lnTo>
                    <a:lnTo>
                      <a:pt x="3738" y="308"/>
                    </a:lnTo>
                    <a:lnTo>
                      <a:pt x="3559" y="278"/>
                    </a:lnTo>
                    <a:lnTo>
                      <a:pt x="3379" y="249"/>
                    </a:lnTo>
                    <a:lnTo>
                      <a:pt x="3196" y="221"/>
                    </a:lnTo>
                    <a:lnTo>
                      <a:pt x="3010" y="196"/>
                    </a:lnTo>
                    <a:lnTo>
                      <a:pt x="2823" y="171"/>
                    </a:lnTo>
                    <a:lnTo>
                      <a:pt x="2633" y="148"/>
                    </a:lnTo>
                    <a:lnTo>
                      <a:pt x="2441" y="127"/>
                    </a:lnTo>
                    <a:lnTo>
                      <a:pt x="2246" y="108"/>
                    </a:lnTo>
                    <a:lnTo>
                      <a:pt x="2052" y="89"/>
                    </a:lnTo>
                    <a:lnTo>
                      <a:pt x="1854" y="72"/>
                    </a:lnTo>
                    <a:lnTo>
                      <a:pt x="1654" y="57"/>
                    </a:lnTo>
                    <a:lnTo>
                      <a:pt x="1453" y="45"/>
                    </a:lnTo>
                    <a:lnTo>
                      <a:pt x="1250" y="33"/>
                    </a:lnTo>
                    <a:lnTo>
                      <a:pt x="1045" y="23"/>
                    </a:lnTo>
                    <a:lnTo>
                      <a:pt x="838" y="14"/>
                    </a:lnTo>
                    <a:lnTo>
                      <a:pt x="631" y="8"/>
                    </a:lnTo>
                    <a:lnTo>
                      <a:pt x="422" y="4"/>
                    </a:lnTo>
                    <a:lnTo>
                      <a:pt x="212" y="1"/>
                    </a:lnTo>
                    <a:lnTo>
                      <a:pt x="0" y="0"/>
                    </a:lnTo>
                    <a:lnTo>
                      <a:pt x="0" y="100"/>
                    </a:lnTo>
                    <a:lnTo>
                      <a:pt x="211" y="101"/>
                    </a:lnTo>
                    <a:lnTo>
                      <a:pt x="420" y="105"/>
                    </a:lnTo>
                    <a:lnTo>
                      <a:pt x="628" y="109"/>
                    </a:lnTo>
                    <a:lnTo>
                      <a:pt x="835" y="115"/>
                    </a:lnTo>
                    <a:lnTo>
                      <a:pt x="1040" y="123"/>
                    </a:lnTo>
                    <a:lnTo>
                      <a:pt x="1245" y="132"/>
                    </a:lnTo>
                    <a:lnTo>
                      <a:pt x="1447" y="144"/>
                    </a:lnTo>
                    <a:lnTo>
                      <a:pt x="1648" y="157"/>
                    </a:lnTo>
                    <a:lnTo>
                      <a:pt x="1845" y="173"/>
                    </a:lnTo>
                    <a:lnTo>
                      <a:pt x="2042" y="189"/>
                    </a:lnTo>
                    <a:lnTo>
                      <a:pt x="2237" y="207"/>
                    </a:lnTo>
                    <a:lnTo>
                      <a:pt x="2431" y="227"/>
                    </a:lnTo>
                    <a:lnTo>
                      <a:pt x="2622" y="248"/>
                    </a:lnTo>
                    <a:lnTo>
                      <a:pt x="2810" y="271"/>
                    </a:lnTo>
                    <a:lnTo>
                      <a:pt x="2997" y="295"/>
                    </a:lnTo>
                    <a:lnTo>
                      <a:pt x="3181" y="321"/>
                    </a:lnTo>
                    <a:lnTo>
                      <a:pt x="3364" y="349"/>
                    </a:lnTo>
                    <a:lnTo>
                      <a:pt x="3543" y="378"/>
                    </a:lnTo>
                    <a:lnTo>
                      <a:pt x="3721" y="408"/>
                    </a:lnTo>
                    <a:lnTo>
                      <a:pt x="3895" y="440"/>
                    </a:lnTo>
                    <a:lnTo>
                      <a:pt x="4069" y="473"/>
                    </a:lnTo>
                    <a:lnTo>
                      <a:pt x="4238" y="507"/>
                    </a:lnTo>
                    <a:lnTo>
                      <a:pt x="4405" y="543"/>
                    </a:lnTo>
                    <a:lnTo>
                      <a:pt x="4570" y="580"/>
                    </a:lnTo>
                    <a:lnTo>
                      <a:pt x="4731" y="619"/>
                    </a:lnTo>
                    <a:lnTo>
                      <a:pt x="4890" y="658"/>
                    </a:lnTo>
                    <a:lnTo>
                      <a:pt x="5046" y="700"/>
                    </a:lnTo>
                    <a:lnTo>
                      <a:pt x="5198" y="741"/>
                    </a:lnTo>
                    <a:lnTo>
                      <a:pt x="5348" y="785"/>
                    </a:lnTo>
                    <a:lnTo>
                      <a:pt x="5494" y="830"/>
                    </a:lnTo>
                    <a:lnTo>
                      <a:pt x="5566" y="852"/>
                    </a:lnTo>
                    <a:lnTo>
                      <a:pt x="5637" y="876"/>
                    </a:lnTo>
                    <a:lnTo>
                      <a:pt x="5707" y="898"/>
                    </a:lnTo>
                    <a:lnTo>
                      <a:pt x="5778" y="922"/>
                    </a:lnTo>
                    <a:lnTo>
                      <a:pt x="5847" y="946"/>
                    </a:lnTo>
                    <a:lnTo>
                      <a:pt x="5915" y="971"/>
                    </a:lnTo>
                    <a:lnTo>
                      <a:pt x="5982" y="995"/>
                    </a:lnTo>
                    <a:lnTo>
                      <a:pt x="6048" y="1020"/>
                    </a:lnTo>
                    <a:lnTo>
                      <a:pt x="6113" y="1044"/>
                    </a:lnTo>
                    <a:lnTo>
                      <a:pt x="6177" y="1070"/>
                    </a:lnTo>
                    <a:lnTo>
                      <a:pt x="6241" y="1095"/>
                    </a:lnTo>
                    <a:lnTo>
                      <a:pt x="6304" y="1121"/>
                    </a:lnTo>
                    <a:lnTo>
                      <a:pt x="6365" y="1147"/>
                    </a:lnTo>
                    <a:lnTo>
                      <a:pt x="6426" y="1174"/>
                    </a:lnTo>
                    <a:lnTo>
                      <a:pt x="6487" y="1200"/>
                    </a:lnTo>
                    <a:lnTo>
                      <a:pt x="6545" y="1227"/>
                    </a:lnTo>
                    <a:lnTo>
                      <a:pt x="6603" y="1253"/>
                    </a:lnTo>
                    <a:lnTo>
                      <a:pt x="6661" y="1281"/>
                    </a:lnTo>
                    <a:lnTo>
                      <a:pt x="6716" y="1308"/>
                    </a:lnTo>
                    <a:lnTo>
                      <a:pt x="6772" y="1336"/>
                    </a:lnTo>
                    <a:lnTo>
                      <a:pt x="6827" y="1364"/>
                    </a:lnTo>
                    <a:lnTo>
                      <a:pt x="6879" y="1392"/>
                    </a:lnTo>
                    <a:lnTo>
                      <a:pt x="6932" y="1421"/>
                    </a:lnTo>
                    <a:lnTo>
                      <a:pt x="6983" y="1449"/>
                    </a:lnTo>
                    <a:lnTo>
                      <a:pt x="7034" y="1478"/>
                    </a:lnTo>
                    <a:lnTo>
                      <a:pt x="7083" y="1507"/>
                    </a:lnTo>
                    <a:lnTo>
                      <a:pt x="7132" y="1537"/>
                    </a:lnTo>
                    <a:lnTo>
                      <a:pt x="7178" y="1566"/>
                    </a:lnTo>
                    <a:lnTo>
                      <a:pt x="7225" y="1596"/>
                    </a:lnTo>
                    <a:lnTo>
                      <a:pt x="7270" y="1625"/>
                    </a:lnTo>
                    <a:lnTo>
                      <a:pt x="7314" y="1656"/>
                    </a:lnTo>
                    <a:lnTo>
                      <a:pt x="7358" y="1686"/>
                    </a:lnTo>
                    <a:lnTo>
                      <a:pt x="7400" y="1716"/>
                    </a:lnTo>
                    <a:lnTo>
                      <a:pt x="7440" y="1747"/>
                    </a:lnTo>
                    <a:lnTo>
                      <a:pt x="7480" y="1777"/>
                    </a:lnTo>
                    <a:lnTo>
                      <a:pt x="7519" y="1808"/>
                    </a:lnTo>
                    <a:lnTo>
                      <a:pt x="7557" y="1839"/>
                    </a:lnTo>
                    <a:lnTo>
                      <a:pt x="7594" y="1871"/>
                    </a:lnTo>
                    <a:lnTo>
                      <a:pt x="7629" y="1902"/>
                    </a:lnTo>
                    <a:lnTo>
                      <a:pt x="7664" y="1934"/>
                    </a:lnTo>
                    <a:lnTo>
                      <a:pt x="7697" y="1966"/>
                    </a:lnTo>
                    <a:lnTo>
                      <a:pt x="7729" y="1998"/>
                    </a:lnTo>
                    <a:lnTo>
                      <a:pt x="7760" y="2030"/>
                    </a:lnTo>
                    <a:lnTo>
                      <a:pt x="7789" y="2062"/>
                    </a:lnTo>
                    <a:lnTo>
                      <a:pt x="7818" y="2094"/>
                    </a:lnTo>
                    <a:lnTo>
                      <a:pt x="7845" y="2127"/>
                    </a:lnTo>
                    <a:lnTo>
                      <a:pt x="7872" y="2159"/>
                    </a:lnTo>
                    <a:lnTo>
                      <a:pt x="7897" y="2192"/>
                    </a:lnTo>
                    <a:lnTo>
                      <a:pt x="7920" y="2224"/>
                    </a:lnTo>
                    <a:lnTo>
                      <a:pt x="7943" y="2257"/>
                    </a:lnTo>
                    <a:lnTo>
                      <a:pt x="7966" y="2291"/>
                    </a:lnTo>
                    <a:lnTo>
                      <a:pt x="7985" y="2324"/>
                    </a:lnTo>
                    <a:lnTo>
                      <a:pt x="8005" y="2357"/>
                    </a:lnTo>
                    <a:lnTo>
                      <a:pt x="8022" y="2390"/>
                    </a:lnTo>
                    <a:lnTo>
                      <a:pt x="8039" y="2423"/>
                    </a:lnTo>
                    <a:lnTo>
                      <a:pt x="8055" y="2457"/>
                    </a:lnTo>
                    <a:lnTo>
                      <a:pt x="8069" y="2490"/>
                    </a:lnTo>
                    <a:lnTo>
                      <a:pt x="8082" y="2524"/>
                    </a:lnTo>
                    <a:lnTo>
                      <a:pt x="8095" y="2558"/>
                    </a:lnTo>
                    <a:lnTo>
                      <a:pt x="8105" y="2592"/>
                    </a:lnTo>
                    <a:lnTo>
                      <a:pt x="8114" y="2625"/>
                    </a:lnTo>
                    <a:lnTo>
                      <a:pt x="8122" y="2659"/>
                    </a:lnTo>
                    <a:lnTo>
                      <a:pt x="8130" y="2693"/>
                    </a:lnTo>
                    <a:lnTo>
                      <a:pt x="8135" y="2727"/>
                    </a:lnTo>
                    <a:lnTo>
                      <a:pt x="8139" y="2761"/>
                    </a:lnTo>
                    <a:lnTo>
                      <a:pt x="8142" y="2796"/>
                    </a:lnTo>
                    <a:lnTo>
                      <a:pt x="8144" y="2830"/>
                    </a:lnTo>
                    <a:lnTo>
                      <a:pt x="8145" y="2865"/>
                    </a:lnTo>
                    <a:lnTo>
                      <a:pt x="8245"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78" name="Freeform 74"/>
              <p:cNvSpPr>
                <a:spLocks/>
              </p:cNvSpPr>
              <p:nvPr>
                <p:custDataLst>
                  <p:tags r:id="rId221"/>
                </p:custDataLst>
              </p:nvPr>
            </p:nvSpPr>
            <p:spPr bwMode="auto">
              <a:xfrm>
                <a:off x="737" y="3387"/>
                <a:ext cx="234" cy="73"/>
              </a:xfrm>
              <a:custGeom>
                <a:avLst/>
                <a:gdLst>
                  <a:gd name="T0" fmla="*/ 0 w 5393"/>
                  <a:gd name="T1" fmla="*/ 1426 h 1828"/>
                  <a:gd name="T2" fmla="*/ 1207 w 5393"/>
                  <a:gd name="T3" fmla="*/ 1828 h 1828"/>
                  <a:gd name="T4" fmla="*/ 4061 w 5393"/>
                  <a:gd name="T5" fmla="*/ 687 h 1828"/>
                  <a:gd name="T6" fmla="*/ 5393 w 5393"/>
                  <a:gd name="T7" fmla="*/ 1013 h 1828"/>
                  <a:gd name="T8" fmla="*/ 4690 w 5393"/>
                  <a:gd name="T9" fmla="*/ 0 h 1828"/>
                  <a:gd name="T10" fmla="*/ 1253 w 5393"/>
                  <a:gd name="T11" fmla="*/ 0 h 1828"/>
                  <a:gd name="T12" fmla="*/ 2690 w 5393"/>
                  <a:gd name="T13" fmla="*/ 352 h 1828"/>
                  <a:gd name="T14" fmla="*/ 0 w 5393"/>
                  <a:gd name="T15" fmla="*/ 1426 h 18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8">
                    <a:moveTo>
                      <a:pt x="0" y="1426"/>
                    </a:moveTo>
                    <a:lnTo>
                      <a:pt x="1207" y="1828"/>
                    </a:lnTo>
                    <a:lnTo>
                      <a:pt x="4061" y="687"/>
                    </a:lnTo>
                    <a:lnTo>
                      <a:pt x="5393" y="1013"/>
                    </a:lnTo>
                    <a:lnTo>
                      <a:pt x="4690" y="0"/>
                    </a:lnTo>
                    <a:lnTo>
                      <a:pt x="1253" y="0"/>
                    </a:lnTo>
                    <a:lnTo>
                      <a:pt x="2690" y="352"/>
                    </a:lnTo>
                    <a:lnTo>
                      <a:pt x="0"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79" name="Freeform 75"/>
              <p:cNvSpPr>
                <a:spLocks/>
              </p:cNvSpPr>
              <p:nvPr>
                <p:custDataLst>
                  <p:tags r:id="rId222"/>
                </p:custDataLst>
              </p:nvPr>
            </p:nvSpPr>
            <p:spPr bwMode="auto">
              <a:xfrm>
                <a:off x="480" y="3474"/>
                <a:ext cx="235" cy="73"/>
              </a:xfrm>
              <a:custGeom>
                <a:avLst/>
                <a:gdLst>
                  <a:gd name="T0" fmla="*/ 5394 w 5394"/>
                  <a:gd name="T1" fmla="*/ 401 h 1827"/>
                  <a:gd name="T2" fmla="*/ 4186 w 5394"/>
                  <a:gd name="T3" fmla="*/ 0 h 1827"/>
                  <a:gd name="T4" fmla="*/ 1332 w 5394"/>
                  <a:gd name="T5" fmla="*/ 1140 h 1827"/>
                  <a:gd name="T6" fmla="*/ 0 w 5394"/>
                  <a:gd name="T7" fmla="*/ 814 h 1827"/>
                  <a:gd name="T8" fmla="*/ 702 w 5394"/>
                  <a:gd name="T9" fmla="*/ 1827 h 1827"/>
                  <a:gd name="T10" fmla="*/ 4140 w 5394"/>
                  <a:gd name="T11" fmla="*/ 1827 h 1827"/>
                  <a:gd name="T12" fmla="*/ 2704 w 5394"/>
                  <a:gd name="T13" fmla="*/ 1476 h 1827"/>
                  <a:gd name="T14" fmla="*/ 5394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5394" y="401"/>
                    </a:moveTo>
                    <a:lnTo>
                      <a:pt x="4186" y="0"/>
                    </a:lnTo>
                    <a:lnTo>
                      <a:pt x="1332" y="1140"/>
                    </a:lnTo>
                    <a:lnTo>
                      <a:pt x="0" y="814"/>
                    </a:lnTo>
                    <a:lnTo>
                      <a:pt x="702" y="1827"/>
                    </a:lnTo>
                    <a:lnTo>
                      <a:pt x="4140" y="1827"/>
                    </a:lnTo>
                    <a:lnTo>
                      <a:pt x="2704" y="1476"/>
                    </a:lnTo>
                    <a:lnTo>
                      <a:pt x="5394"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80" name="Freeform 76"/>
              <p:cNvSpPr>
                <a:spLocks/>
              </p:cNvSpPr>
              <p:nvPr>
                <p:custDataLst>
                  <p:tags r:id="rId223"/>
                </p:custDataLst>
              </p:nvPr>
            </p:nvSpPr>
            <p:spPr bwMode="auto">
              <a:xfrm>
                <a:off x="493" y="3385"/>
                <a:ext cx="235" cy="73"/>
              </a:xfrm>
              <a:custGeom>
                <a:avLst/>
                <a:gdLst>
                  <a:gd name="T0" fmla="*/ 0 w 5394"/>
                  <a:gd name="T1" fmla="*/ 401 h 1827"/>
                  <a:gd name="T2" fmla="*/ 1208 w 5394"/>
                  <a:gd name="T3" fmla="*/ 0 h 1827"/>
                  <a:gd name="T4" fmla="*/ 4062 w 5394"/>
                  <a:gd name="T5" fmla="*/ 1140 h 1827"/>
                  <a:gd name="T6" fmla="*/ 5394 w 5394"/>
                  <a:gd name="T7" fmla="*/ 813 h 1827"/>
                  <a:gd name="T8" fmla="*/ 4691 w 5394"/>
                  <a:gd name="T9" fmla="*/ 1827 h 1827"/>
                  <a:gd name="T10" fmla="*/ 1253 w 5394"/>
                  <a:gd name="T11" fmla="*/ 1827 h 1827"/>
                  <a:gd name="T12" fmla="*/ 2690 w 5394"/>
                  <a:gd name="T13" fmla="*/ 1475 h 1827"/>
                  <a:gd name="T14" fmla="*/ 0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0" y="401"/>
                    </a:moveTo>
                    <a:lnTo>
                      <a:pt x="1208" y="0"/>
                    </a:lnTo>
                    <a:lnTo>
                      <a:pt x="4062" y="1140"/>
                    </a:lnTo>
                    <a:lnTo>
                      <a:pt x="5394" y="813"/>
                    </a:lnTo>
                    <a:lnTo>
                      <a:pt x="4691" y="1827"/>
                    </a:lnTo>
                    <a:lnTo>
                      <a:pt x="1253" y="1827"/>
                    </a:lnTo>
                    <a:lnTo>
                      <a:pt x="2690" y="1475"/>
                    </a:lnTo>
                    <a:lnTo>
                      <a:pt x="0"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81" name="Freeform 77"/>
              <p:cNvSpPr>
                <a:spLocks/>
              </p:cNvSpPr>
              <p:nvPr>
                <p:custDataLst>
                  <p:tags r:id="rId224"/>
                </p:custDataLst>
              </p:nvPr>
            </p:nvSpPr>
            <p:spPr bwMode="auto">
              <a:xfrm>
                <a:off x="729" y="3479"/>
                <a:ext cx="235" cy="73"/>
              </a:xfrm>
              <a:custGeom>
                <a:avLst/>
                <a:gdLst>
                  <a:gd name="T0" fmla="*/ 5393 w 5393"/>
                  <a:gd name="T1" fmla="*/ 1426 h 1827"/>
                  <a:gd name="T2" fmla="*/ 4186 w 5393"/>
                  <a:gd name="T3" fmla="*/ 1827 h 1827"/>
                  <a:gd name="T4" fmla="*/ 1332 w 5393"/>
                  <a:gd name="T5" fmla="*/ 687 h 1827"/>
                  <a:gd name="T6" fmla="*/ 0 w 5393"/>
                  <a:gd name="T7" fmla="*/ 1012 h 1827"/>
                  <a:gd name="T8" fmla="*/ 702 w 5393"/>
                  <a:gd name="T9" fmla="*/ 0 h 1827"/>
                  <a:gd name="T10" fmla="*/ 4140 w 5393"/>
                  <a:gd name="T11" fmla="*/ 0 h 1827"/>
                  <a:gd name="T12" fmla="*/ 2703 w 5393"/>
                  <a:gd name="T13" fmla="*/ 352 h 1827"/>
                  <a:gd name="T14" fmla="*/ 5393 w 5393"/>
                  <a:gd name="T15" fmla="*/ 1426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7">
                    <a:moveTo>
                      <a:pt x="5393" y="1426"/>
                    </a:moveTo>
                    <a:lnTo>
                      <a:pt x="4186" y="1827"/>
                    </a:lnTo>
                    <a:lnTo>
                      <a:pt x="1332" y="687"/>
                    </a:lnTo>
                    <a:lnTo>
                      <a:pt x="0" y="1012"/>
                    </a:lnTo>
                    <a:lnTo>
                      <a:pt x="702" y="0"/>
                    </a:lnTo>
                    <a:lnTo>
                      <a:pt x="4140" y="0"/>
                    </a:lnTo>
                    <a:lnTo>
                      <a:pt x="2703" y="352"/>
                    </a:lnTo>
                    <a:lnTo>
                      <a:pt x="5393"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82" name="Rectangle 78"/>
              <p:cNvSpPr>
                <a:spLocks noChangeArrowheads="1"/>
              </p:cNvSpPr>
              <p:nvPr>
                <p:custDataLst>
                  <p:tags r:id="rId225"/>
                </p:custDataLst>
              </p:nvPr>
            </p:nvSpPr>
            <p:spPr bwMode="auto">
              <a:xfrm>
                <a:off x="369"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83" name="Rectangle 79"/>
              <p:cNvSpPr>
                <a:spLocks noChangeArrowheads="1"/>
              </p:cNvSpPr>
              <p:nvPr>
                <p:custDataLst>
                  <p:tags r:id="rId226"/>
                </p:custDataLst>
              </p:nvPr>
            </p:nvSpPr>
            <p:spPr bwMode="auto">
              <a:xfrm>
                <a:off x="369"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84" name="Rectangle 80"/>
              <p:cNvSpPr>
                <a:spLocks noChangeArrowheads="1"/>
              </p:cNvSpPr>
              <p:nvPr>
                <p:custDataLst>
                  <p:tags r:id="rId227"/>
                </p:custDataLst>
              </p:nvPr>
            </p:nvSpPr>
            <p:spPr bwMode="auto">
              <a:xfrm>
                <a:off x="369"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85" name="Rectangle 81"/>
              <p:cNvSpPr>
                <a:spLocks noChangeArrowheads="1"/>
              </p:cNvSpPr>
              <p:nvPr>
                <p:custDataLst>
                  <p:tags r:id="rId228"/>
                </p:custDataLst>
              </p:nvPr>
            </p:nvSpPr>
            <p:spPr bwMode="auto">
              <a:xfrm>
                <a:off x="1082"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86" name="Rectangle 82"/>
              <p:cNvSpPr>
                <a:spLocks noChangeArrowheads="1"/>
              </p:cNvSpPr>
              <p:nvPr>
                <p:custDataLst>
                  <p:tags r:id="rId229"/>
                </p:custDataLst>
              </p:nvPr>
            </p:nvSpPr>
            <p:spPr bwMode="auto">
              <a:xfrm>
                <a:off x="1082"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87" name="Rectangle 83"/>
              <p:cNvSpPr>
                <a:spLocks noChangeArrowheads="1"/>
              </p:cNvSpPr>
              <p:nvPr>
                <p:custDataLst>
                  <p:tags r:id="rId230"/>
                </p:custDataLst>
              </p:nvPr>
            </p:nvSpPr>
            <p:spPr bwMode="auto">
              <a:xfrm>
                <a:off x="1082"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grpSp>
        <p:grpSp>
          <p:nvGrpSpPr>
            <p:cNvPr id="535" name="Group 84"/>
            <p:cNvGrpSpPr>
              <a:grpSpLocks/>
            </p:cNvGrpSpPr>
            <p:nvPr>
              <p:custDataLst>
                <p:tags r:id="rId8"/>
              </p:custDataLst>
            </p:nvPr>
          </p:nvGrpSpPr>
          <p:grpSpPr bwMode="auto">
            <a:xfrm>
              <a:off x="2072" y="1876"/>
              <a:ext cx="167" cy="95"/>
              <a:chOff x="369" y="3354"/>
              <a:chExt cx="717" cy="390"/>
            </a:xfrm>
          </p:grpSpPr>
          <p:sp>
            <p:nvSpPr>
              <p:cNvPr id="744" name="AutoShape 85"/>
              <p:cNvSpPr>
                <a:spLocks noChangeAspect="1" noChangeArrowheads="1" noTextEdit="1"/>
              </p:cNvSpPr>
              <p:nvPr>
                <p:custDataLst>
                  <p:tags r:id="rId187"/>
                </p:custDataLst>
              </p:nvPr>
            </p:nvSpPr>
            <p:spPr bwMode="auto">
              <a:xfrm>
                <a:off x="369" y="3354"/>
                <a:ext cx="717"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45" name="Freeform 86"/>
              <p:cNvSpPr>
                <a:spLocks/>
              </p:cNvSpPr>
              <p:nvPr>
                <p:custDataLst>
                  <p:tags r:id="rId188"/>
                </p:custDataLst>
              </p:nvPr>
            </p:nvSpPr>
            <p:spPr bwMode="auto">
              <a:xfrm>
                <a:off x="371" y="3517"/>
                <a:ext cx="713" cy="225"/>
              </a:xfrm>
              <a:custGeom>
                <a:avLst/>
                <a:gdLst>
                  <a:gd name="T0" fmla="*/ 16347 w 16389"/>
                  <a:gd name="T1" fmla="*/ 3102 h 5628"/>
                  <a:gd name="T2" fmla="*/ 16132 w 16389"/>
                  <a:gd name="T3" fmla="*/ 3518 h 5628"/>
                  <a:gd name="T4" fmla="*/ 15745 w 16389"/>
                  <a:gd name="T5" fmla="*/ 3909 h 5628"/>
                  <a:gd name="T6" fmla="*/ 15203 w 16389"/>
                  <a:gd name="T7" fmla="*/ 4273 h 5628"/>
                  <a:gd name="T8" fmla="*/ 14518 w 16389"/>
                  <a:gd name="T9" fmla="*/ 4605 h 5628"/>
                  <a:gd name="T10" fmla="*/ 13704 w 16389"/>
                  <a:gd name="T11" fmla="*/ 4898 h 5628"/>
                  <a:gd name="T12" fmla="*/ 12776 w 16389"/>
                  <a:gd name="T13" fmla="*/ 5148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8 h 5628"/>
                  <a:gd name="T30" fmla="*/ 2685 w 16389"/>
                  <a:gd name="T31" fmla="*/ 4898 h 5628"/>
                  <a:gd name="T32" fmla="*/ 1871 w 16389"/>
                  <a:gd name="T33" fmla="*/ 4605 h 5628"/>
                  <a:gd name="T34" fmla="*/ 1186 w 16389"/>
                  <a:gd name="T35" fmla="*/ 4273 h 5628"/>
                  <a:gd name="T36" fmla="*/ 644 w 16389"/>
                  <a:gd name="T37" fmla="*/ 3909 h 5628"/>
                  <a:gd name="T38" fmla="*/ 257 w 16389"/>
                  <a:gd name="T39" fmla="*/ 3518 h 5628"/>
                  <a:gd name="T40" fmla="*/ 42 w 16389"/>
                  <a:gd name="T41" fmla="*/ 3102 h 5628"/>
                  <a:gd name="T42" fmla="*/ 10 w 16389"/>
                  <a:gd name="T43" fmla="*/ 2669 h 5628"/>
                  <a:gd name="T44" fmla="*/ 165 w 16389"/>
                  <a:gd name="T45" fmla="*/ 2247 h 5628"/>
                  <a:gd name="T46" fmla="*/ 496 w 16389"/>
                  <a:gd name="T47" fmla="*/ 1847 h 5628"/>
                  <a:gd name="T48" fmla="*/ 989 w 16389"/>
                  <a:gd name="T49" fmla="*/ 1474 h 5628"/>
                  <a:gd name="T50" fmla="*/ 1628 w 16389"/>
                  <a:gd name="T51" fmla="*/ 1131 h 5628"/>
                  <a:gd name="T52" fmla="*/ 2400 w 16389"/>
                  <a:gd name="T53" fmla="*/ 825 h 5628"/>
                  <a:gd name="T54" fmla="*/ 3292 w 16389"/>
                  <a:gd name="T55" fmla="*/ 560 h 5628"/>
                  <a:gd name="T56" fmla="*/ 4289 w 16389"/>
                  <a:gd name="T57" fmla="*/ 340 h 5628"/>
                  <a:gd name="T58" fmla="*/ 5378 w 16389"/>
                  <a:gd name="T59" fmla="*/ 171 h 5628"/>
                  <a:gd name="T60" fmla="*/ 6543 w 16389"/>
                  <a:gd name="T61" fmla="*/ 57 h 5628"/>
                  <a:gd name="T62" fmla="*/ 7773 w 16389"/>
                  <a:gd name="T63" fmla="*/ 4 h 5628"/>
                  <a:gd name="T64" fmla="*/ 9032 w 16389"/>
                  <a:gd name="T65" fmla="*/ 14 h 5628"/>
                  <a:gd name="T66" fmla="*/ 10241 w 16389"/>
                  <a:gd name="T67" fmla="*/ 89 h 5628"/>
                  <a:gd name="T68" fmla="*/ 11383 w 16389"/>
                  <a:gd name="T69" fmla="*/ 221 h 5628"/>
                  <a:gd name="T70" fmla="*/ 12443 w 16389"/>
                  <a:gd name="T71" fmla="*/ 408 h 5628"/>
                  <a:gd name="T72" fmla="*/ 13407 w 16389"/>
                  <a:gd name="T73" fmla="*/ 643 h 5628"/>
                  <a:gd name="T74" fmla="*/ 14260 w 16389"/>
                  <a:gd name="T75" fmla="*/ 922 h 5628"/>
                  <a:gd name="T76" fmla="*/ 14990 w 16389"/>
                  <a:gd name="T77" fmla="*/ 1241 h 5628"/>
                  <a:gd name="T78" fmla="*/ 15581 w 16389"/>
                  <a:gd name="T79" fmla="*/ 1595 h 5628"/>
                  <a:gd name="T80" fmla="*/ 16022 w 16389"/>
                  <a:gd name="T81" fmla="*/ 1978 h 5628"/>
                  <a:gd name="T82" fmla="*/ 16296 w 16389"/>
                  <a:gd name="T83" fmla="*/ 2386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3"/>
                    </a:lnTo>
                    <a:lnTo>
                      <a:pt x="16224" y="3381"/>
                    </a:lnTo>
                    <a:lnTo>
                      <a:pt x="16132" y="3518"/>
                    </a:lnTo>
                    <a:lnTo>
                      <a:pt x="16022" y="3651"/>
                    </a:lnTo>
                    <a:lnTo>
                      <a:pt x="15893" y="3782"/>
                    </a:lnTo>
                    <a:lnTo>
                      <a:pt x="15745" y="3909"/>
                    </a:lnTo>
                    <a:lnTo>
                      <a:pt x="15581" y="4034"/>
                    </a:lnTo>
                    <a:lnTo>
                      <a:pt x="15400" y="4155"/>
                    </a:lnTo>
                    <a:lnTo>
                      <a:pt x="15203" y="4273"/>
                    </a:lnTo>
                    <a:lnTo>
                      <a:pt x="14990" y="4387"/>
                    </a:lnTo>
                    <a:lnTo>
                      <a:pt x="14761" y="4498"/>
                    </a:lnTo>
                    <a:lnTo>
                      <a:pt x="14518" y="4605"/>
                    </a:lnTo>
                    <a:lnTo>
                      <a:pt x="14260" y="4706"/>
                    </a:lnTo>
                    <a:lnTo>
                      <a:pt x="13989" y="4804"/>
                    </a:lnTo>
                    <a:lnTo>
                      <a:pt x="13704" y="4898"/>
                    </a:lnTo>
                    <a:lnTo>
                      <a:pt x="13407" y="4986"/>
                    </a:lnTo>
                    <a:lnTo>
                      <a:pt x="13096" y="5069"/>
                    </a:lnTo>
                    <a:lnTo>
                      <a:pt x="12776" y="5148"/>
                    </a:lnTo>
                    <a:lnTo>
                      <a:pt x="12443" y="5222"/>
                    </a:lnTo>
                    <a:lnTo>
                      <a:pt x="12100" y="5289"/>
                    </a:lnTo>
                    <a:lnTo>
                      <a:pt x="11746" y="5351"/>
                    </a:lnTo>
                    <a:lnTo>
                      <a:pt x="11383" y="5408"/>
                    </a:lnTo>
                    <a:lnTo>
                      <a:pt x="11011" y="5458"/>
                    </a:lnTo>
                    <a:lnTo>
                      <a:pt x="10631" y="5502"/>
                    </a:lnTo>
                    <a:lnTo>
                      <a:pt x="10241" y="5540"/>
                    </a:lnTo>
                    <a:lnTo>
                      <a:pt x="9846" y="5571"/>
                    </a:lnTo>
                    <a:lnTo>
                      <a:pt x="9442" y="5596"/>
                    </a:lnTo>
                    <a:lnTo>
                      <a:pt x="9032" y="5614"/>
                    </a:lnTo>
                    <a:lnTo>
                      <a:pt x="8616" y="5625"/>
                    </a:lnTo>
                    <a:lnTo>
                      <a:pt x="8195" y="5628"/>
                    </a:lnTo>
                    <a:lnTo>
                      <a:pt x="7773" y="5625"/>
                    </a:lnTo>
                    <a:lnTo>
                      <a:pt x="7357" y="5614"/>
                    </a:lnTo>
                    <a:lnTo>
                      <a:pt x="6947" y="5596"/>
                    </a:lnTo>
                    <a:lnTo>
                      <a:pt x="6543" y="5571"/>
                    </a:lnTo>
                    <a:lnTo>
                      <a:pt x="6148" y="5540"/>
                    </a:lnTo>
                    <a:lnTo>
                      <a:pt x="5758" y="5502"/>
                    </a:lnTo>
                    <a:lnTo>
                      <a:pt x="5378" y="5458"/>
                    </a:lnTo>
                    <a:lnTo>
                      <a:pt x="5006" y="5408"/>
                    </a:lnTo>
                    <a:lnTo>
                      <a:pt x="4643" y="5351"/>
                    </a:lnTo>
                    <a:lnTo>
                      <a:pt x="4289" y="5289"/>
                    </a:lnTo>
                    <a:lnTo>
                      <a:pt x="3946" y="5222"/>
                    </a:lnTo>
                    <a:lnTo>
                      <a:pt x="3613" y="5148"/>
                    </a:lnTo>
                    <a:lnTo>
                      <a:pt x="3292" y="5069"/>
                    </a:lnTo>
                    <a:lnTo>
                      <a:pt x="2982" y="4986"/>
                    </a:lnTo>
                    <a:lnTo>
                      <a:pt x="2685" y="4898"/>
                    </a:lnTo>
                    <a:lnTo>
                      <a:pt x="2400" y="4804"/>
                    </a:lnTo>
                    <a:lnTo>
                      <a:pt x="2129" y="4706"/>
                    </a:lnTo>
                    <a:lnTo>
                      <a:pt x="1871" y="4605"/>
                    </a:lnTo>
                    <a:lnTo>
                      <a:pt x="1628" y="4498"/>
                    </a:lnTo>
                    <a:lnTo>
                      <a:pt x="1399" y="4387"/>
                    </a:lnTo>
                    <a:lnTo>
                      <a:pt x="1186" y="4273"/>
                    </a:lnTo>
                    <a:lnTo>
                      <a:pt x="989" y="4155"/>
                    </a:lnTo>
                    <a:lnTo>
                      <a:pt x="808" y="4034"/>
                    </a:lnTo>
                    <a:lnTo>
                      <a:pt x="644" y="3909"/>
                    </a:lnTo>
                    <a:lnTo>
                      <a:pt x="496" y="3782"/>
                    </a:lnTo>
                    <a:lnTo>
                      <a:pt x="367" y="3651"/>
                    </a:lnTo>
                    <a:lnTo>
                      <a:pt x="257" y="3518"/>
                    </a:lnTo>
                    <a:lnTo>
                      <a:pt x="165" y="3381"/>
                    </a:lnTo>
                    <a:lnTo>
                      <a:pt x="93" y="3243"/>
                    </a:lnTo>
                    <a:lnTo>
                      <a:pt x="42" y="3102"/>
                    </a:lnTo>
                    <a:lnTo>
                      <a:pt x="10" y="2959"/>
                    </a:lnTo>
                    <a:lnTo>
                      <a:pt x="0" y="2814"/>
                    </a:lnTo>
                    <a:lnTo>
                      <a:pt x="10" y="2669"/>
                    </a:lnTo>
                    <a:lnTo>
                      <a:pt x="42" y="2526"/>
                    </a:lnTo>
                    <a:lnTo>
                      <a:pt x="93" y="2386"/>
                    </a:lnTo>
                    <a:lnTo>
                      <a:pt x="165" y="2247"/>
                    </a:lnTo>
                    <a:lnTo>
                      <a:pt x="257" y="2111"/>
                    </a:lnTo>
                    <a:lnTo>
                      <a:pt x="367" y="1978"/>
                    </a:lnTo>
                    <a:lnTo>
                      <a:pt x="496" y="1847"/>
                    </a:lnTo>
                    <a:lnTo>
                      <a:pt x="644" y="1719"/>
                    </a:lnTo>
                    <a:lnTo>
                      <a:pt x="808" y="1595"/>
                    </a:lnTo>
                    <a:lnTo>
                      <a:pt x="989" y="1474"/>
                    </a:lnTo>
                    <a:lnTo>
                      <a:pt x="1186" y="1356"/>
                    </a:lnTo>
                    <a:lnTo>
                      <a:pt x="1399" y="1241"/>
                    </a:lnTo>
                    <a:lnTo>
                      <a:pt x="1628" y="1131"/>
                    </a:lnTo>
                    <a:lnTo>
                      <a:pt x="1871" y="1024"/>
                    </a:lnTo>
                    <a:lnTo>
                      <a:pt x="2129" y="922"/>
                    </a:lnTo>
                    <a:lnTo>
                      <a:pt x="2400" y="825"/>
                    </a:lnTo>
                    <a:lnTo>
                      <a:pt x="2685" y="732"/>
                    </a:lnTo>
                    <a:lnTo>
                      <a:pt x="2982" y="643"/>
                    </a:lnTo>
                    <a:lnTo>
                      <a:pt x="3292" y="560"/>
                    </a:lnTo>
                    <a:lnTo>
                      <a:pt x="3613" y="481"/>
                    </a:lnTo>
                    <a:lnTo>
                      <a:pt x="3946" y="408"/>
                    </a:lnTo>
                    <a:lnTo>
                      <a:pt x="4289" y="340"/>
                    </a:lnTo>
                    <a:lnTo>
                      <a:pt x="4643" y="277"/>
                    </a:lnTo>
                    <a:lnTo>
                      <a:pt x="5006" y="221"/>
                    </a:lnTo>
                    <a:lnTo>
                      <a:pt x="5378" y="171"/>
                    </a:lnTo>
                    <a:lnTo>
                      <a:pt x="5758" y="126"/>
                    </a:lnTo>
                    <a:lnTo>
                      <a:pt x="6148" y="89"/>
                    </a:lnTo>
                    <a:lnTo>
                      <a:pt x="6543" y="57"/>
                    </a:lnTo>
                    <a:lnTo>
                      <a:pt x="6947" y="32"/>
                    </a:lnTo>
                    <a:lnTo>
                      <a:pt x="7357" y="14"/>
                    </a:lnTo>
                    <a:lnTo>
                      <a:pt x="7773" y="4"/>
                    </a:lnTo>
                    <a:lnTo>
                      <a:pt x="8195" y="0"/>
                    </a:lnTo>
                    <a:lnTo>
                      <a:pt x="8616" y="4"/>
                    </a:lnTo>
                    <a:lnTo>
                      <a:pt x="9032" y="14"/>
                    </a:lnTo>
                    <a:lnTo>
                      <a:pt x="9442" y="32"/>
                    </a:lnTo>
                    <a:lnTo>
                      <a:pt x="9846" y="57"/>
                    </a:lnTo>
                    <a:lnTo>
                      <a:pt x="10241" y="89"/>
                    </a:lnTo>
                    <a:lnTo>
                      <a:pt x="10631" y="126"/>
                    </a:lnTo>
                    <a:lnTo>
                      <a:pt x="11011" y="171"/>
                    </a:lnTo>
                    <a:lnTo>
                      <a:pt x="11383" y="221"/>
                    </a:lnTo>
                    <a:lnTo>
                      <a:pt x="11746" y="277"/>
                    </a:lnTo>
                    <a:lnTo>
                      <a:pt x="12100" y="340"/>
                    </a:lnTo>
                    <a:lnTo>
                      <a:pt x="12443" y="408"/>
                    </a:lnTo>
                    <a:lnTo>
                      <a:pt x="12776" y="481"/>
                    </a:lnTo>
                    <a:lnTo>
                      <a:pt x="13096" y="560"/>
                    </a:lnTo>
                    <a:lnTo>
                      <a:pt x="13407" y="643"/>
                    </a:lnTo>
                    <a:lnTo>
                      <a:pt x="13704" y="732"/>
                    </a:lnTo>
                    <a:lnTo>
                      <a:pt x="13989" y="825"/>
                    </a:lnTo>
                    <a:lnTo>
                      <a:pt x="14260" y="922"/>
                    </a:lnTo>
                    <a:lnTo>
                      <a:pt x="14518" y="1024"/>
                    </a:lnTo>
                    <a:lnTo>
                      <a:pt x="14761" y="1131"/>
                    </a:lnTo>
                    <a:lnTo>
                      <a:pt x="14990" y="1241"/>
                    </a:lnTo>
                    <a:lnTo>
                      <a:pt x="15203" y="1356"/>
                    </a:lnTo>
                    <a:lnTo>
                      <a:pt x="15400" y="1474"/>
                    </a:lnTo>
                    <a:lnTo>
                      <a:pt x="15581" y="1595"/>
                    </a:lnTo>
                    <a:lnTo>
                      <a:pt x="15745" y="1719"/>
                    </a:lnTo>
                    <a:lnTo>
                      <a:pt x="15893" y="1847"/>
                    </a:lnTo>
                    <a:lnTo>
                      <a:pt x="16022" y="1978"/>
                    </a:lnTo>
                    <a:lnTo>
                      <a:pt x="16132" y="2111"/>
                    </a:lnTo>
                    <a:lnTo>
                      <a:pt x="16224" y="2247"/>
                    </a:lnTo>
                    <a:lnTo>
                      <a:pt x="16296" y="2386"/>
                    </a:lnTo>
                    <a:lnTo>
                      <a:pt x="16347" y="2526"/>
                    </a:lnTo>
                    <a:lnTo>
                      <a:pt x="16379" y="2669"/>
                    </a:lnTo>
                    <a:lnTo>
                      <a:pt x="16389" y="2814"/>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46" name="Freeform 87"/>
              <p:cNvSpPr>
                <a:spLocks/>
              </p:cNvSpPr>
              <p:nvPr>
                <p:custDataLst>
                  <p:tags r:id="rId189"/>
                </p:custDataLst>
              </p:nvPr>
            </p:nvSpPr>
            <p:spPr bwMode="auto">
              <a:xfrm>
                <a:off x="725" y="3629"/>
                <a:ext cx="361" cy="115"/>
              </a:xfrm>
              <a:custGeom>
                <a:avLst/>
                <a:gdLst>
                  <a:gd name="T0" fmla="*/ 472 w 8295"/>
                  <a:gd name="T1" fmla="*/ 2861 h 2865"/>
                  <a:gd name="T2" fmla="*/ 1300 w 8295"/>
                  <a:gd name="T3" fmla="*/ 2832 h 2865"/>
                  <a:gd name="T4" fmla="*/ 2102 w 8295"/>
                  <a:gd name="T5" fmla="*/ 2776 h 2865"/>
                  <a:gd name="T6" fmla="*/ 2873 w 8295"/>
                  <a:gd name="T7" fmla="*/ 2694 h 2865"/>
                  <a:gd name="T8" fmla="*/ 3609 w 8295"/>
                  <a:gd name="T9" fmla="*/ 2587 h 2865"/>
                  <a:gd name="T10" fmla="*/ 4308 w 8295"/>
                  <a:gd name="T11" fmla="*/ 2456 h 2865"/>
                  <a:gd name="T12" fmla="*/ 4964 w 8295"/>
                  <a:gd name="T13" fmla="*/ 2304 h 2865"/>
                  <a:gd name="T14" fmla="*/ 5426 w 8295"/>
                  <a:gd name="T15" fmla="*/ 2177 h 2865"/>
                  <a:gd name="T16" fmla="*/ 5718 w 8295"/>
                  <a:gd name="T17" fmla="*/ 2085 h 2865"/>
                  <a:gd name="T18" fmla="*/ 5998 w 8295"/>
                  <a:gd name="T19" fmla="*/ 1989 h 2865"/>
                  <a:gd name="T20" fmla="*/ 6264 w 8295"/>
                  <a:gd name="T21" fmla="*/ 1889 h 2865"/>
                  <a:gd name="T22" fmla="*/ 6516 w 8295"/>
                  <a:gd name="T23" fmla="*/ 1783 h 2865"/>
                  <a:gd name="T24" fmla="*/ 6754 w 8295"/>
                  <a:gd name="T25" fmla="*/ 1675 h 2865"/>
                  <a:gd name="T26" fmla="*/ 6977 w 8295"/>
                  <a:gd name="T27" fmla="*/ 1561 h 2865"/>
                  <a:gd name="T28" fmla="*/ 7184 w 8295"/>
                  <a:gd name="T29" fmla="*/ 1444 h 2865"/>
                  <a:gd name="T30" fmla="*/ 7376 w 8295"/>
                  <a:gd name="T31" fmla="*/ 1323 h 2865"/>
                  <a:gd name="T32" fmla="*/ 7551 w 8295"/>
                  <a:gd name="T33" fmla="*/ 1199 h 2865"/>
                  <a:gd name="T34" fmla="*/ 7709 w 8295"/>
                  <a:gd name="T35" fmla="*/ 1070 h 2865"/>
                  <a:gd name="T36" fmla="*/ 7850 w 8295"/>
                  <a:gd name="T37" fmla="*/ 938 h 2865"/>
                  <a:gd name="T38" fmla="*/ 7972 w 8295"/>
                  <a:gd name="T39" fmla="*/ 802 h 2865"/>
                  <a:gd name="T40" fmla="*/ 8076 w 8295"/>
                  <a:gd name="T41" fmla="*/ 663 h 2865"/>
                  <a:gd name="T42" fmla="*/ 8161 w 8295"/>
                  <a:gd name="T43" fmla="*/ 522 h 2865"/>
                  <a:gd name="T44" fmla="*/ 8226 w 8295"/>
                  <a:gd name="T45" fmla="*/ 376 h 2865"/>
                  <a:gd name="T46" fmla="*/ 8269 w 8295"/>
                  <a:gd name="T47" fmla="*/ 228 h 2865"/>
                  <a:gd name="T48" fmla="*/ 8292 w 8295"/>
                  <a:gd name="T49" fmla="*/ 77 h 2865"/>
                  <a:gd name="T50" fmla="*/ 8194 w 8295"/>
                  <a:gd name="T51" fmla="*/ 35 h 2865"/>
                  <a:gd name="T52" fmla="*/ 8180 w 8295"/>
                  <a:gd name="T53" fmla="*/ 172 h 2865"/>
                  <a:gd name="T54" fmla="*/ 8145 w 8295"/>
                  <a:gd name="T55" fmla="*/ 307 h 2865"/>
                  <a:gd name="T56" fmla="*/ 8089 w 8295"/>
                  <a:gd name="T57" fmla="*/ 442 h 2865"/>
                  <a:gd name="T58" fmla="*/ 8016 w 8295"/>
                  <a:gd name="T59" fmla="*/ 574 h 2865"/>
                  <a:gd name="T60" fmla="*/ 7922 w 8295"/>
                  <a:gd name="T61" fmla="*/ 706 h 2865"/>
                  <a:gd name="T62" fmla="*/ 7810 w 8295"/>
                  <a:gd name="T63" fmla="*/ 835 h 2865"/>
                  <a:gd name="T64" fmla="*/ 7679 w 8295"/>
                  <a:gd name="T65" fmla="*/ 963 h 2865"/>
                  <a:gd name="T66" fmla="*/ 7530 w 8295"/>
                  <a:gd name="T67" fmla="*/ 1088 h 2865"/>
                  <a:gd name="T68" fmla="*/ 7364 w 8295"/>
                  <a:gd name="T69" fmla="*/ 1210 h 2865"/>
                  <a:gd name="T70" fmla="*/ 7182 w 8295"/>
                  <a:gd name="T71" fmla="*/ 1329 h 2865"/>
                  <a:gd name="T72" fmla="*/ 6982 w 8295"/>
                  <a:gd name="T73" fmla="*/ 1444 h 2865"/>
                  <a:gd name="T74" fmla="*/ 6766 w 8295"/>
                  <a:gd name="T75" fmla="*/ 1557 h 2865"/>
                  <a:gd name="T76" fmla="*/ 6537 w 8295"/>
                  <a:gd name="T77" fmla="*/ 1665 h 2865"/>
                  <a:gd name="T78" fmla="*/ 6290 w 8295"/>
                  <a:gd name="T79" fmla="*/ 1770 h 2865"/>
                  <a:gd name="T80" fmla="*/ 6032 w 8295"/>
                  <a:gd name="T81" fmla="*/ 1870 h 2865"/>
                  <a:gd name="T82" fmla="*/ 5757 w 8295"/>
                  <a:gd name="T83" fmla="*/ 1967 h 2865"/>
                  <a:gd name="T84" fmla="*/ 5471 w 8295"/>
                  <a:gd name="T85" fmla="*/ 2058 h 2865"/>
                  <a:gd name="T86" fmla="*/ 5096 w 8295"/>
                  <a:gd name="T87" fmla="*/ 2165 h 2865"/>
                  <a:gd name="T88" fmla="*/ 4455 w 8295"/>
                  <a:gd name="T89" fmla="*/ 2323 h 2865"/>
                  <a:gd name="T90" fmla="*/ 3771 w 8295"/>
                  <a:gd name="T91" fmla="*/ 2457 h 2865"/>
                  <a:gd name="T92" fmla="*/ 3047 w 8295"/>
                  <a:gd name="T93" fmla="*/ 2570 h 2865"/>
                  <a:gd name="T94" fmla="*/ 2287 w 8295"/>
                  <a:gd name="T95" fmla="*/ 2658 h 2865"/>
                  <a:gd name="T96" fmla="*/ 1497 w 8295"/>
                  <a:gd name="T97" fmla="*/ 2721 h 2865"/>
                  <a:gd name="T98" fmla="*/ 678 w 8295"/>
                  <a:gd name="T99" fmla="*/ 2756 h 2865"/>
                  <a:gd name="T100" fmla="*/ 50 w 8295"/>
                  <a:gd name="T101" fmla="*/ 2765 h 2865"/>
                  <a:gd name="T102" fmla="*/ 33 w 8295"/>
                  <a:gd name="T103" fmla="*/ 2767 h 2865"/>
                  <a:gd name="T104" fmla="*/ 15 w 8295"/>
                  <a:gd name="T105" fmla="*/ 2777 h 2865"/>
                  <a:gd name="T106" fmla="*/ 0 w 8295"/>
                  <a:gd name="T107" fmla="*/ 2805 h 2865"/>
                  <a:gd name="T108" fmla="*/ 6 w 8295"/>
                  <a:gd name="T109" fmla="*/ 2842 h 2865"/>
                  <a:gd name="T110" fmla="*/ 23 w 8295"/>
                  <a:gd name="T111" fmla="*/ 2859 h 2865"/>
                  <a:gd name="T112" fmla="*/ 43 w 8295"/>
                  <a:gd name="T113" fmla="*/ 2865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5">
                    <a:moveTo>
                      <a:pt x="50" y="2865"/>
                    </a:moveTo>
                    <a:lnTo>
                      <a:pt x="50" y="2865"/>
                    </a:lnTo>
                    <a:lnTo>
                      <a:pt x="262" y="2864"/>
                    </a:lnTo>
                    <a:lnTo>
                      <a:pt x="472" y="2861"/>
                    </a:lnTo>
                    <a:lnTo>
                      <a:pt x="681" y="2857"/>
                    </a:lnTo>
                    <a:lnTo>
                      <a:pt x="888" y="2851"/>
                    </a:lnTo>
                    <a:lnTo>
                      <a:pt x="1095" y="2842"/>
                    </a:lnTo>
                    <a:lnTo>
                      <a:pt x="1300" y="2832"/>
                    </a:lnTo>
                    <a:lnTo>
                      <a:pt x="1503" y="2820"/>
                    </a:lnTo>
                    <a:lnTo>
                      <a:pt x="1704" y="2808"/>
                    </a:lnTo>
                    <a:lnTo>
                      <a:pt x="1904" y="2793"/>
                    </a:lnTo>
                    <a:lnTo>
                      <a:pt x="2102" y="2776"/>
                    </a:lnTo>
                    <a:lnTo>
                      <a:pt x="2296" y="2757"/>
                    </a:lnTo>
                    <a:lnTo>
                      <a:pt x="2491" y="2738"/>
                    </a:lnTo>
                    <a:lnTo>
                      <a:pt x="2683" y="2717"/>
                    </a:lnTo>
                    <a:lnTo>
                      <a:pt x="2873" y="2694"/>
                    </a:lnTo>
                    <a:lnTo>
                      <a:pt x="3060" y="2669"/>
                    </a:lnTo>
                    <a:lnTo>
                      <a:pt x="3246" y="2644"/>
                    </a:lnTo>
                    <a:lnTo>
                      <a:pt x="3429" y="2616"/>
                    </a:lnTo>
                    <a:lnTo>
                      <a:pt x="3609" y="2587"/>
                    </a:lnTo>
                    <a:lnTo>
                      <a:pt x="3788" y="2557"/>
                    </a:lnTo>
                    <a:lnTo>
                      <a:pt x="3964" y="2524"/>
                    </a:lnTo>
                    <a:lnTo>
                      <a:pt x="4137" y="2491"/>
                    </a:lnTo>
                    <a:lnTo>
                      <a:pt x="4308" y="2456"/>
                    </a:lnTo>
                    <a:lnTo>
                      <a:pt x="4476" y="2420"/>
                    </a:lnTo>
                    <a:lnTo>
                      <a:pt x="4642" y="2383"/>
                    </a:lnTo>
                    <a:lnTo>
                      <a:pt x="4804" y="2344"/>
                    </a:lnTo>
                    <a:lnTo>
                      <a:pt x="4964" y="2304"/>
                    </a:lnTo>
                    <a:lnTo>
                      <a:pt x="5122" y="2263"/>
                    </a:lnTo>
                    <a:lnTo>
                      <a:pt x="5275" y="2220"/>
                    </a:lnTo>
                    <a:lnTo>
                      <a:pt x="5351" y="2198"/>
                    </a:lnTo>
                    <a:lnTo>
                      <a:pt x="5426" y="2177"/>
                    </a:lnTo>
                    <a:lnTo>
                      <a:pt x="5500" y="2154"/>
                    </a:lnTo>
                    <a:lnTo>
                      <a:pt x="5574" y="2131"/>
                    </a:lnTo>
                    <a:lnTo>
                      <a:pt x="5646" y="2108"/>
                    </a:lnTo>
                    <a:lnTo>
                      <a:pt x="5718" y="2085"/>
                    </a:lnTo>
                    <a:lnTo>
                      <a:pt x="5789" y="2062"/>
                    </a:lnTo>
                    <a:lnTo>
                      <a:pt x="5859" y="2038"/>
                    </a:lnTo>
                    <a:lnTo>
                      <a:pt x="5930" y="2013"/>
                    </a:lnTo>
                    <a:lnTo>
                      <a:pt x="5998" y="1989"/>
                    </a:lnTo>
                    <a:lnTo>
                      <a:pt x="6066" y="1965"/>
                    </a:lnTo>
                    <a:lnTo>
                      <a:pt x="6133" y="1940"/>
                    </a:lnTo>
                    <a:lnTo>
                      <a:pt x="6199" y="1914"/>
                    </a:lnTo>
                    <a:lnTo>
                      <a:pt x="6264" y="1889"/>
                    </a:lnTo>
                    <a:lnTo>
                      <a:pt x="6328" y="1863"/>
                    </a:lnTo>
                    <a:lnTo>
                      <a:pt x="6391" y="1836"/>
                    </a:lnTo>
                    <a:lnTo>
                      <a:pt x="6454" y="1810"/>
                    </a:lnTo>
                    <a:lnTo>
                      <a:pt x="6516" y="1783"/>
                    </a:lnTo>
                    <a:lnTo>
                      <a:pt x="6577" y="1756"/>
                    </a:lnTo>
                    <a:lnTo>
                      <a:pt x="6637" y="1730"/>
                    </a:lnTo>
                    <a:lnTo>
                      <a:pt x="6695" y="1702"/>
                    </a:lnTo>
                    <a:lnTo>
                      <a:pt x="6754" y="1675"/>
                    </a:lnTo>
                    <a:lnTo>
                      <a:pt x="6811" y="1647"/>
                    </a:lnTo>
                    <a:lnTo>
                      <a:pt x="6867" y="1619"/>
                    </a:lnTo>
                    <a:lnTo>
                      <a:pt x="6922" y="1590"/>
                    </a:lnTo>
                    <a:lnTo>
                      <a:pt x="6977" y="1561"/>
                    </a:lnTo>
                    <a:lnTo>
                      <a:pt x="7030" y="1532"/>
                    </a:lnTo>
                    <a:lnTo>
                      <a:pt x="7082" y="1503"/>
                    </a:lnTo>
                    <a:lnTo>
                      <a:pt x="7133" y="1474"/>
                    </a:lnTo>
                    <a:lnTo>
                      <a:pt x="7184" y="1444"/>
                    </a:lnTo>
                    <a:lnTo>
                      <a:pt x="7233" y="1414"/>
                    </a:lnTo>
                    <a:lnTo>
                      <a:pt x="7282" y="1384"/>
                    </a:lnTo>
                    <a:lnTo>
                      <a:pt x="7329" y="1354"/>
                    </a:lnTo>
                    <a:lnTo>
                      <a:pt x="7376" y="1323"/>
                    </a:lnTo>
                    <a:lnTo>
                      <a:pt x="7421" y="1292"/>
                    </a:lnTo>
                    <a:lnTo>
                      <a:pt x="7465" y="1261"/>
                    </a:lnTo>
                    <a:lnTo>
                      <a:pt x="7509" y="1230"/>
                    </a:lnTo>
                    <a:lnTo>
                      <a:pt x="7551" y="1199"/>
                    </a:lnTo>
                    <a:lnTo>
                      <a:pt x="7592" y="1167"/>
                    </a:lnTo>
                    <a:lnTo>
                      <a:pt x="7632" y="1134"/>
                    </a:lnTo>
                    <a:lnTo>
                      <a:pt x="7670" y="1102"/>
                    </a:lnTo>
                    <a:lnTo>
                      <a:pt x="7709" y="1070"/>
                    </a:lnTo>
                    <a:lnTo>
                      <a:pt x="7746" y="1037"/>
                    </a:lnTo>
                    <a:lnTo>
                      <a:pt x="7782" y="1004"/>
                    </a:lnTo>
                    <a:lnTo>
                      <a:pt x="7816" y="971"/>
                    </a:lnTo>
                    <a:lnTo>
                      <a:pt x="7850" y="938"/>
                    </a:lnTo>
                    <a:lnTo>
                      <a:pt x="7882" y="905"/>
                    </a:lnTo>
                    <a:lnTo>
                      <a:pt x="7914" y="870"/>
                    </a:lnTo>
                    <a:lnTo>
                      <a:pt x="7944" y="837"/>
                    </a:lnTo>
                    <a:lnTo>
                      <a:pt x="7972" y="802"/>
                    </a:lnTo>
                    <a:lnTo>
                      <a:pt x="8000" y="768"/>
                    </a:lnTo>
                    <a:lnTo>
                      <a:pt x="8027" y="734"/>
                    </a:lnTo>
                    <a:lnTo>
                      <a:pt x="8052" y="699"/>
                    </a:lnTo>
                    <a:lnTo>
                      <a:pt x="8076" y="663"/>
                    </a:lnTo>
                    <a:lnTo>
                      <a:pt x="8099" y="628"/>
                    </a:lnTo>
                    <a:lnTo>
                      <a:pt x="8121" y="593"/>
                    </a:lnTo>
                    <a:lnTo>
                      <a:pt x="8141" y="558"/>
                    </a:lnTo>
                    <a:lnTo>
                      <a:pt x="8161" y="522"/>
                    </a:lnTo>
                    <a:lnTo>
                      <a:pt x="8180" y="485"/>
                    </a:lnTo>
                    <a:lnTo>
                      <a:pt x="8196" y="449"/>
                    </a:lnTo>
                    <a:lnTo>
                      <a:pt x="8212" y="413"/>
                    </a:lnTo>
                    <a:lnTo>
                      <a:pt x="8226" y="376"/>
                    </a:lnTo>
                    <a:lnTo>
                      <a:pt x="8238" y="340"/>
                    </a:lnTo>
                    <a:lnTo>
                      <a:pt x="8251" y="302"/>
                    </a:lnTo>
                    <a:lnTo>
                      <a:pt x="8261" y="265"/>
                    </a:lnTo>
                    <a:lnTo>
                      <a:pt x="8269" y="228"/>
                    </a:lnTo>
                    <a:lnTo>
                      <a:pt x="8277" y="190"/>
                    </a:lnTo>
                    <a:lnTo>
                      <a:pt x="8284" y="152"/>
                    </a:lnTo>
                    <a:lnTo>
                      <a:pt x="8289" y="115"/>
                    </a:lnTo>
                    <a:lnTo>
                      <a:pt x="8292" y="77"/>
                    </a:lnTo>
                    <a:lnTo>
                      <a:pt x="8294" y="38"/>
                    </a:lnTo>
                    <a:lnTo>
                      <a:pt x="8295" y="0"/>
                    </a:lnTo>
                    <a:lnTo>
                      <a:pt x="8195" y="0"/>
                    </a:lnTo>
                    <a:lnTo>
                      <a:pt x="8194" y="35"/>
                    </a:lnTo>
                    <a:lnTo>
                      <a:pt x="8192" y="69"/>
                    </a:lnTo>
                    <a:lnTo>
                      <a:pt x="8189" y="104"/>
                    </a:lnTo>
                    <a:lnTo>
                      <a:pt x="8185" y="138"/>
                    </a:lnTo>
                    <a:lnTo>
                      <a:pt x="8180" y="172"/>
                    </a:lnTo>
                    <a:lnTo>
                      <a:pt x="8172" y="206"/>
                    </a:lnTo>
                    <a:lnTo>
                      <a:pt x="8164" y="240"/>
                    </a:lnTo>
                    <a:lnTo>
                      <a:pt x="8155" y="274"/>
                    </a:lnTo>
                    <a:lnTo>
                      <a:pt x="8145" y="307"/>
                    </a:lnTo>
                    <a:lnTo>
                      <a:pt x="8132" y="342"/>
                    </a:lnTo>
                    <a:lnTo>
                      <a:pt x="8119" y="375"/>
                    </a:lnTo>
                    <a:lnTo>
                      <a:pt x="8105" y="409"/>
                    </a:lnTo>
                    <a:lnTo>
                      <a:pt x="8089" y="442"/>
                    </a:lnTo>
                    <a:lnTo>
                      <a:pt x="8072" y="475"/>
                    </a:lnTo>
                    <a:lnTo>
                      <a:pt x="8055" y="508"/>
                    </a:lnTo>
                    <a:lnTo>
                      <a:pt x="8035" y="541"/>
                    </a:lnTo>
                    <a:lnTo>
                      <a:pt x="8016" y="574"/>
                    </a:lnTo>
                    <a:lnTo>
                      <a:pt x="7993" y="608"/>
                    </a:lnTo>
                    <a:lnTo>
                      <a:pt x="7970" y="641"/>
                    </a:lnTo>
                    <a:lnTo>
                      <a:pt x="7947" y="673"/>
                    </a:lnTo>
                    <a:lnTo>
                      <a:pt x="7922" y="706"/>
                    </a:lnTo>
                    <a:lnTo>
                      <a:pt x="7895" y="739"/>
                    </a:lnTo>
                    <a:lnTo>
                      <a:pt x="7868" y="771"/>
                    </a:lnTo>
                    <a:lnTo>
                      <a:pt x="7839" y="803"/>
                    </a:lnTo>
                    <a:lnTo>
                      <a:pt x="7810" y="835"/>
                    </a:lnTo>
                    <a:lnTo>
                      <a:pt x="7779" y="867"/>
                    </a:lnTo>
                    <a:lnTo>
                      <a:pt x="7747" y="899"/>
                    </a:lnTo>
                    <a:lnTo>
                      <a:pt x="7714" y="931"/>
                    </a:lnTo>
                    <a:lnTo>
                      <a:pt x="7679" y="963"/>
                    </a:lnTo>
                    <a:lnTo>
                      <a:pt x="7644" y="994"/>
                    </a:lnTo>
                    <a:lnTo>
                      <a:pt x="7607" y="1026"/>
                    </a:lnTo>
                    <a:lnTo>
                      <a:pt x="7569" y="1057"/>
                    </a:lnTo>
                    <a:lnTo>
                      <a:pt x="7530" y="1088"/>
                    </a:lnTo>
                    <a:lnTo>
                      <a:pt x="7490" y="1118"/>
                    </a:lnTo>
                    <a:lnTo>
                      <a:pt x="7450" y="1149"/>
                    </a:lnTo>
                    <a:lnTo>
                      <a:pt x="7408" y="1179"/>
                    </a:lnTo>
                    <a:lnTo>
                      <a:pt x="7364" y="1210"/>
                    </a:lnTo>
                    <a:lnTo>
                      <a:pt x="7320" y="1240"/>
                    </a:lnTo>
                    <a:lnTo>
                      <a:pt x="7275" y="1270"/>
                    </a:lnTo>
                    <a:lnTo>
                      <a:pt x="7228" y="1299"/>
                    </a:lnTo>
                    <a:lnTo>
                      <a:pt x="7182" y="1329"/>
                    </a:lnTo>
                    <a:lnTo>
                      <a:pt x="7133" y="1358"/>
                    </a:lnTo>
                    <a:lnTo>
                      <a:pt x="7084" y="1387"/>
                    </a:lnTo>
                    <a:lnTo>
                      <a:pt x="7033" y="1416"/>
                    </a:lnTo>
                    <a:lnTo>
                      <a:pt x="6982" y="1444"/>
                    </a:lnTo>
                    <a:lnTo>
                      <a:pt x="6929" y="1473"/>
                    </a:lnTo>
                    <a:lnTo>
                      <a:pt x="6877" y="1501"/>
                    </a:lnTo>
                    <a:lnTo>
                      <a:pt x="6822" y="1529"/>
                    </a:lnTo>
                    <a:lnTo>
                      <a:pt x="6766" y="1557"/>
                    </a:lnTo>
                    <a:lnTo>
                      <a:pt x="6711" y="1584"/>
                    </a:lnTo>
                    <a:lnTo>
                      <a:pt x="6653" y="1612"/>
                    </a:lnTo>
                    <a:lnTo>
                      <a:pt x="6595" y="1638"/>
                    </a:lnTo>
                    <a:lnTo>
                      <a:pt x="6537" y="1665"/>
                    </a:lnTo>
                    <a:lnTo>
                      <a:pt x="6476" y="1691"/>
                    </a:lnTo>
                    <a:lnTo>
                      <a:pt x="6415" y="1718"/>
                    </a:lnTo>
                    <a:lnTo>
                      <a:pt x="6354" y="1744"/>
                    </a:lnTo>
                    <a:lnTo>
                      <a:pt x="6290" y="1770"/>
                    </a:lnTo>
                    <a:lnTo>
                      <a:pt x="6227" y="1795"/>
                    </a:lnTo>
                    <a:lnTo>
                      <a:pt x="6163" y="1821"/>
                    </a:lnTo>
                    <a:lnTo>
                      <a:pt x="6098" y="1845"/>
                    </a:lnTo>
                    <a:lnTo>
                      <a:pt x="6032" y="1870"/>
                    </a:lnTo>
                    <a:lnTo>
                      <a:pt x="5965" y="1895"/>
                    </a:lnTo>
                    <a:lnTo>
                      <a:pt x="5897" y="1919"/>
                    </a:lnTo>
                    <a:lnTo>
                      <a:pt x="5828" y="1943"/>
                    </a:lnTo>
                    <a:lnTo>
                      <a:pt x="5757" y="1967"/>
                    </a:lnTo>
                    <a:lnTo>
                      <a:pt x="5687" y="1989"/>
                    </a:lnTo>
                    <a:lnTo>
                      <a:pt x="5616" y="2013"/>
                    </a:lnTo>
                    <a:lnTo>
                      <a:pt x="5544" y="2036"/>
                    </a:lnTo>
                    <a:lnTo>
                      <a:pt x="5471" y="2058"/>
                    </a:lnTo>
                    <a:lnTo>
                      <a:pt x="5398" y="2080"/>
                    </a:lnTo>
                    <a:lnTo>
                      <a:pt x="5324" y="2102"/>
                    </a:lnTo>
                    <a:lnTo>
                      <a:pt x="5248" y="2124"/>
                    </a:lnTo>
                    <a:lnTo>
                      <a:pt x="5096" y="2165"/>
                    </a:lnTo>
                    <a:lnTo>
                      <a:pt x="4940" y="2207"/>
                    </a:lnTo>
                    <a:lnTo>
                      <a:pt x="4781" y="2247"/>
                    </a:lnTo>
                    <a:lnTo>
                      <a:pt x="4620" y="2285"/>
                    </a:lnTo>
                    <a:lnTo>
                      <a:pt x="4455" y="2323"/>
                    </a:lnTo>
                    <a:lnTo>
                      <a:pt x="4288" y="2358"/>
                    </a:lnTo>
                    <a:lnTo>
                      <a:pt x="4119" y="2392"/>
                    </a:lnTo>
                    <a:lnTo>
                      <a:pt x="3945" y="2426"/>
                    </a:lnTo>
                    <a:lnTo>
                      <a:pt x="3771" y="2457"/>
                    </a:lnTo>
                    <a:lnTo>
                      <a:pt x="3593" y="2487"/>
                    </a:lnTo>
                    <a:lnTo>
                      <a:pt x="3414" y="2516"/>
                    </a:lnTo>
                    <a:lnTo>
                      <a:pt x="3231" y="2544"/>
                    </a:lnTo>
                    <a:lnTo>
                      <a:pt x="3047" y="2570"/>
                    </a:lnTo>
                    <a:lnTo>
                      <a:pt x="2860" y="2594"/>
                    </a:lnTo>
                    <a:lnTo>
                      <a:pt x="2672" y="2617"/>
                    </a:lnTo>
                    <a:lnTo>
                      <a:pt x="2481" y="2638"/>
                    </a:lnTo>
                    <a:lnTo>
                      <a:pt x="2287" y="2658"/>
                    </a:lnTo>
                    <a:lnTo>
                      <a:pt x="2092" y="2676"/>
                    </a:lnTo>
                    <a:lnTo>
                      <a:pt x="1895" y="2692"/>
                    </a:lnTo>
                    <a:lnTo>
                      <a:pt x="1698" y="2708"/>
                    </a:lnTo>
                    <a:lnTo>
                      <a:pt x="1497" y="2721"/>
                    </a:lnTo>
                    <a:lnTo>
                      <a:pt x="1295" y="2733"/>
                    </a:lnTo>
                    <a:lnTo>
                      <a:pt x="1090" y="2742"/>
                    </a:lnTo>
                    <a:lnTo>
                      <a:pt x="885" y="2750"/>
                    </a:lnTo>
                    <a:lnTo>
                      <a:pt x="678" y="2756"/>
                    </a:lnTo>
                    <a:lnTo>
                      <a:pt x="470" y="2761"/>
                    </a:lnTo>
                    <a:lnTo>
                      <a:pt x="261" y="2764"/>
                    </a:lnTo>
                    <a:lnTo>
                      <a:pt x="50" y="2765"/>
                    </a:lnTo>
                    <a:lnTo>
                      <a:pt x="50" y="2765"/>
                    </a:lnTo>
                    <a:lnTo>
                      <a:pt x="50" y="2765"/>
                    </a:lnTo>
                    <a:lnTo>
                      <a:pt x="43" y="2765"/>
                    </a:lnTo>
                    <a:lnTo>
                      <a:pt x="38" y="2766"/>
                    </a:lnTo>
                    <a:lnTo>
                      <a:pt x="33" y="2767"/>
                    </a:lnTo>
                    <a:lnTo>
                      <a:pt x="28" y="2769"/>
                    </a:lnTo>
                    <a:lnTo>
                      <a:pt x="23" y="2771"/>
                    </a:lnTo>
                    <a:lnTo>
                      <a:pt x="19" y="2774"/>
                    </a:lnTo>
                    <a:lnTo>
                      <a:pt x="15" y="2777"/>
                    </a:lnTo>
                    <a:lnTo>
                      <a:pt x="12" y="2780"/>
                    </a:lnTo>
                    <a:lnTo>
                      <a:pt x="6" y="2787"/>
                    </a:lnTo>
                    <a:lnTo>
                      <a:pt x="3" y="2797"/>
                    </a:lnTo>
                    <a:lnTo>
                      <a:pt x="0" y="2805"/>
                    </a:lnTo>
                    <a:lnTo>
                      <a:pt x="0" y="2814"/>
                    </a:lnTo>
                    <a:lnTo>
                      <a:pt x="0" y="2825"/>
                    </a:lnTo>
                    <a:lnTo>
                      <a:pt x="3" y="2833"/>
                    </a:lnTo>
                    <a:lnTo>
                      <a:pt x="6" y="2842"/>
                    </a:lnTo>
                    <a:lnTo>
                      <a:pt x="12" y="2849"/>
                    </a:lnTo>
                    <a:lnTo>
                      <a:pt x="15" y="2853"/>
                    </a:lnTo>
                    <a:lnTo>
                      <a:pt x="19" y="2856"/>
                    </a:lnTo>
                    <a:lnTo>
                      <a:pt x="23" y="2859"/>
                    </a:lnTo>
                    <a:lnTo>
                      <a:pt x="28" y="2861"/>
                    </a:lnTo>
                    <a:lnTo>
                      <a:pt x="33" y="2863"/>
                    </a:lnTo>
                    <a:lnTo>
                      <a:pt x="38" y="2864"/>
                    </a:lnTo>
                    <a:lnTo>
                      <a:pt x="43" y="2865"/>
                    </a:lnTo>
                    <a:lnTo>
                      <a:pt x="50"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47" name="Freeform 88"/>
              <p:cNvSpPr>
                <a:spLocks/>
              </p:cNvSpPr>
              <p:nvPr>
                <p:custDataLst>
                  <p:tags r:id="rId190"/>
                </p:custDataLst>
              </p:nvPr>
            </p:nvSpPr>
            <p:spPr bwMode="auto">
              <a:xfrm>
                <a:off x="369" y="3627"/>
                <a:ext cx="359" cy="117"/>
              </a:xfrm>
              <a:custGeom>
                <a:avLst/>
                <a:gdLst>
                  <a:gd name="T0" fmla="*/ 3 w 8246"/>
                  <a:gd name="T1" fmla="*/ 127 h 2915"/>
                  <a:gd name="T2" fmla="*/ 25 w 8246"/>
                  <a:gd name="T3" fmla="*/ 278 h 2915"/>
                  <a:gd name="T4" fmla="*/ 69 w 8246"/>
                  <a:gd name="T5" fmla="*/ 426 h 2915"/>
                  <a:gd name="T6" fmla="*/ 134 w 8246"/>
                  <a:gd name="T7" fmla="*/ 572 h 2915"/>
                  <a:gd name="T8" fmla="*/ 219 w 8246"/>
                  <a:gd name="T9" fmla="*/ 713 h 2915"/>
                  <a:gd name="T10" fmla="*/ 323 w 8246"/>
                  <a:gd name="T11" fmla="*/ 852 h 2915"/>
                  <a:gd name="T12" fmla="*/ 445 w 8246"/>
                  <a:gd name="T13" fmla="*/ 988 h 2915"/>
                  <a:gd name="T14" fmla="*/ 586 w 8246"/>
                  <a:gd name="T15" fmla="*/ 1120 h 2915"/>
                  <a:gd name="T16" fmla="*/ 744 w 8246"/>
                  <a:gd name="T17" fmla="*/ 1249 h 2915"/>
                  <a:gd name="T18" fmla="*/ 919 w 8246"/>
                  <a:gd name="T19" fmla="*/ 1373 h 2915"/>
                  <a:gd name="T20" fmla="*/ 1111 w 8246"/>
                  <a:gd name="T21" fmla="*/ 1494 h 2915"/>
                  <a:gd name="T22" fmla="*/ 1318 w 8246"/>
                  <a:gd name="T23" fmla="*/ 1611 h 2915"/>
                  <a:gd name="T24" fmla="*/ 1541 w 8246"/>
                  <a:gd name="T25" fmla="*/ 1725 h 2915"/>
                  <a:gd name="T26" fmla="*/ 1779 w 8246"/>
                  <a:gd name="T27" fmla="*/ 1833 h 2915"/>
                  <a:gd name="T28" fmla="*/ 2030 w 8246"/>
                  <a:gd name="T29" fmla="*/ 1939 h 2915"/>
                  <a:gd name="T30" fmla="*/ 2297 w 8246"/>
                  <a:gd name="T31" fmla="*/ 2039 h 2915"/>
                  <a:gd name="T32" fmla="*/ 2577 w 8246"/>
                  <a:gd name="T33" fmla="*/ 2135 h 2915"/>
                  <a:gd name="T34" fmla="*/ 2869 w 8246"/>
                  <a:gd name="T35" fmla="*/ 2227 h 2915"/>
                  <a:gd name="T36" fmla="*/ 3331 w 8246"/>
                  <a:gd name="T37" fmla="*/ 2354 h 2915"/>
                  <a:gd name="T38" fmla="*/ 3987 w 8246"/>
                  <a:gd name="T39" fmla="*/ 2506 h 2915"/>
                  <a:gd name="T40" fmla="*/ 4686 w 8246"/>
                  <a:gd name="T41" fmla="*/ 2637 h 2915"/>
                  <a:gd name="T42" fmla="*/ 5422 w 8246"/>
                  <a:gd name="T43" fmla="*/ 2744 h 2915"/>
                  <a:gd name="T44" fmla="*/ 6193 w 8246"/>
                  <a:gd name="T45" fmla="*/ 2826 h 2915"/>
                  <a:gd name="T46" fmla="*/ 6995 w 8246"/>
                  <a:gd name="T47" fmla="*/ 2882 h 2915"/>
                  <a:gd name="T48" fmla="*/ 7823 w 8246"/>
                  <a:gd name="T49" fmla="*/ 2911 h 2915"/>
                  <a:gd name="T50" fmla="*/ 8034 w 8246"/>
                  <a:gd name="T51" fmla="*/ 2814 h 2915"/>
                  <a:gd name="T52" fmla="*/ 7205 w 8246"/>
                  <a:gd name="T53" fmla="*/ 2792 h 2915"/>
                  <a:gd name="T54" fmla="*/ 6400 w 8246"/>
                  <a:gd name="T55" fmla="*/ 2742 h 2915"/>
                  <a:gd name="T56" fmla="*/ 5623 w 8246"/>
                  <a:gd name="T57" fmla="*/ 2667 h 2915"/>
                  <a:gd name="T58" fmla="*/ 4881 w 8246"/>
                  <a:gd name="T59" fmla="*/ 2566 h 2915"/>
                  <a:gd name="T60" fmla="*/ 4176 w 8246"/>
                  <a:gd name="T61" fmla="*/ 2442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2 h 2915"/>
                  <a:gd name="T76" fmla="*/ 1418 w 8246"/>
                  <a:gd name="T77" fmla="*/ 1551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8 h 2915"/>
                  <a:gd name="T94" fmla="*/ 175 w 8246"/>
                  <a:gd name="T95" fmla="*/ 425 h 2915"/>
                  <a:gd name="T96" fmla="*/ 131 w 8246"/>
                  <a:gd name="T97" fmla="*/ 290 h 2915"/>
                  <a:gd name="T98" fmla="*/ 106 w 8246"/>
                  <a:gd name="T99" fmla="*/ 154 h 2915"/>
                  <a:gd name="T100" fmla="*/ 100 w 8246"/>
                  <a:gd name="T101" fmla="*/ 50 h 2915"/>
                  <a:gd name="T102" fmla="*/ 98 w 8246"/>
                  <a:gd name="T103" fmla="*/ 33 h 2915"/>
                  <a:gd name="T104" fmla="*/ 88 w 8246"/>
                  <a:gd name="T105" fmla="*/ 16 h 2915"/>
                  <a:gd name="T106" fmla="*/ 60 w 8246"/>
                  <a:gd name="T107" fmla="*/ 0 h 2915"/>
                  <a:gd name="T108" fmla="*/ 23 w 8246"/>
                  <a:gd name="T109" fmla="*/ 8 h 2915"/>
                  <a:gd name="T110" fmla="*/ 6 w 8246"/>
                  <a:gd name="T111" fmla="*/ 24 h 2915"/>
                  <a:gd name="T112" fmla="*/ 0 w 8246"/>
                  <a:gd name="T113" fmla="*/ 44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0"/>
                    </a:moveTo>
                    <a:lnTo>
                      <a:pt x="0" y="50"/>
                    </a:lnTo>
                    <a:lnTo>
                      <a:pt x="1" y="88"/>
                    </a:lnTo>
                    <a:lnTo>
                      <a:pt x="3" y="127"/>
                    </a:lnTo>
                    <a:lnTo>
                      <a:pt x="6" y="165"/>
                    </a:lnTo>
                    <a:lnTo>
                      <a:pt x="11" y="202"/>
                    </a:lnTo>
                    <a:lnTo>
                      <a:pt x="18" y="240"/>
                    </a:lnTo>
                    <a:lnTo>
                      <a:pt x="25" y="278"/>
                    </a:lnTo>
                    <a:lnTo>
                      <a:pt x="34" y="315"/>
                    </a:lnTo>
                    <a:lnTo>
                      <a:pt x="44" y="352"/>
                    </a:lnTo>
                    <a:lnTo>
                      <a:pt x="56" y="390"/>
                    </a:lnTo>
                    <a:lnTo>
                      <a:pt x="69" y="426"/>
                    </a:lnTo>
                    <a:lnTo>
                      <a:pt x="83" y="463"/>
                    </a:lnTo>
                    <a:lnTo>
                      <a:pt x="99" y="499"/>
                    </a:lnTo>
                    <a:lnTo>
                      <a:pt x="115" y="535"/>
                    </a:lnTo>
                    <a:lnTo>
                      <a:pt x="134" y="572"/>
                    </a:lnTo>
                    <a:lnTo>
                      <a:pt x="154" y="608"/>
                    </a:lnTo>
                    <a:lnTo>
                      <a:pt x="174" y="643"/>
                    </a:lnTo>
                    <a:lnTo>
                      <a:pt x="196" y="678"/>
                    </a:lnTo>
                    <a:lnTo>
                      <a:pt x="219" y="713"/>
                    </a:lnTo>
                    <a:lnTo>
                      <a:pt x="243" y="749"/>
                    </a:lnTo>
                    <a:lnTo>
                      <a:pt x="268" y="784"/>
                    </a:lnTo>
                    <a:lnTo>
                      <a:pt x="295" y="818"/>
                    </a:lnTo>
                    <a:lnTo>
                      <a:pt x="323" y="852"/>
                    </a:lnTo>
                    <a:lnTo>
                      <a:pt x="351" y="887"/>
                    </a:lnTo>
                    <a:lnTo>
                      <a:pt x="381" y="920"/>
                    </a:lnTo>
                    <a:lnTo>
                      <a:pt x="413" y="955"/>
                    </a:lnTo>
                    <a:lnTo>
                      <a:pt x="445" y="988"/>
                    </a:lnTo>
                    <a:lnTo>
                      <a:pt x="479" y="1021"/>
                    </a:lnTo>
                    <a:lnTo>
                      <a:pt x="513" y="1054"/>
                    </a:lnTo>
                    <a:lnTo>
                      <a:pt x="549" y="1087"/>
                    </a:lnTo>
                    <a:lnTo>
                      <a:pt x="586" y="1120"/>
                    </a:lnTo>
                    <a:lnTo>
                      <a:pt x="624" y="1152"/>
                    </a:lnTo>
                    <a:lnTo>
                      <a:pt x="663" y="1184"/>
                    </a:lnTo>
                    <a:lnTo>
                      <a:pt x="703" y="1217"/>
                    </a:lnTo>
                    <a:lnTo>
                      <a:pt x="744" y="1249"/>
                    </a:lnTo>
                    <a:lnTo>
                      <a:pt x="786" y="1280"/>
                    </a:lnTo>
                    <a:lnTo>
                      <a:pt x="830" y="1311"/>
                    </a:lnTo>
                    <a:lnTo>
                      <a:pt x="874" y="1342"/>
                    </a:lnTo>
                    <a:lnTo>
                      <a:pt x="919" y="1373"/>
                    </a:lnTo>
                    <a:lnTo>
                      <a:pt x="966" y="1404"/>
                    </a:lnTo>
                    <a:lnTo>
                      <a:pt x="1013" y="1434"/>
                    </a:lnTo>
                    <a:lnTo>
                      <a:pt x="1062" y="1464"/>
                    </a:lnTo>
                    <a:lnTo>
                      <a:pt x="1111" y="1494"/>
                    </a:lnTo>
                    <a:lnTo>
                      <a:pt x="1162" y="1524"/>
                    </a:lnTo>
                    <a:lnTo>
                      <a:pt x="1212" y="1553"/>
                    </a:lnTo>
                    <a:lnTo>
                      <a:pt x="1265" y="1582"/>
                    </a:lnTo>
                    <a:lnTo>
                      <a:pt x="1318" y="1611"/>
                    </a:lnTo>
                    <a:lnTo>
                      <a:pt x="1373" y="1640"/>
                    </a:lnTo>
                    <a:lnTo>
                      <a:pt x="1428" y="1669"/>
                    </a:lnTo>
                    <a:lnTo>
                      <a:pt x="1484" y="1697"/>
                    </a:lnTo>
                    <a:lnTo>
                      <a:pt x="1541" y="1725"/>
                    </a:lnTo>
                    <a:lnTo>
                      <a:pt x="1600" y="1752"/>
                    </a:lnTo>
                    <a:lnTo>
                      <a:pt x="1658" y="1780"/>
                    </a:lnTo>
                    <a:lnTo>
                      <a:pt x="1718" y="1806"/>
                    </a:lnTo>
                    <a:lnTo>
                      <a:pt x="1779" y="1833"/>
                    </a:lnTo>
                    <a:lnTo>
                      <a:pt x="1841" y="1860"/>
                    </a:lnTo>
                    <a:lnTo>
                      <a:pt x="1904" y="1886"/>
                    </a:lnTo>
                    <a:lnTo>
                      <a:pt x="1967" y="1913"/>
                    </a:lnTo>
                    <a:lnTo>
                      <a:pt x="2030" y="1939"/>
                    </a:lnTo>
                    <a:lnTo>
                      <a:pt x="2096" y="1964"/>
                    </a:lnTo>
                    <a:lnTo>
                      <a:pt x="2162" y="1990"/>
                    </a:lnTo>
                    <a:lnTo>
                      <a:pt x="2229" y="2015"/>
                    </a:lnTo>
                    <a:lnTo>
                      <a:pt x="2297" y="2039"/>
                    </a:lnTo>
                    <a:lnTo>
                      <a:pt x="2365" y="2063"/>
                    </a:lnTo>
                    <a:lnTo>
                      <a:pt x="2436" y="2088"/>
                    </a:lnTo>
                    <a:lnTo>
                      <a:pt x="2506" y="2112"/>
                    </a:lnTo>
                    <a:lnTo>
                      <a:pt x="2577" y="2135"/>
                    </a:lnTo>
                    <a:lnTo>
                      <a:pt x="2649" y="2158"/>
                    </a:lnTo>
                    <a:lnTo>
                      <a:pt x="2721" y="2181"/>
                    </a:lnTo>
                    <a:lnTo>
                      <a:pt x="2794" y="2204"/>
                    </a:lnTo>
                    <a:lnTo>
                      <a:pt x="2869" y="2227"/>
                    </a:lnTo>
                    <a:lnTo>
                      <a:pt x="2944" y="2248"/>
                    </a:lnTo>
                    <a:lnTo>
                      <a:pt x="3020" y="2270"/>
                    </a:lnTo>
                    <a:lnTo>
                      <a:pt x="3173" y="2313"/>
                    </a:lnTo>
                    <a:lnTo>
                      <a:pt x="3331" y="2354"/>
                    </a:lnTo>
                    <a:lnTo>
                      <a:pt x="3491" y="2394"/>
                    </a:lnTo>
                    <a:lnTo>
                      <a:pt x="3653" y="2433"/>
                    </a:lnTo>
                    <a:lnTo>
                      <a:pt x="3819" y="2470"/>
                    </a:lnTo>
                    <a:lnTo>
                      <a:pt x="3987" y="2506"/>
                    </a:lnTo>
                    <a:lnTo>
                      <a:pt x="4158" y="2541"/>
                    </a:lnTo>
                    <a:lnTo>
                      <a:pt x="4331" y="2574"/>
                    </a:lnTo>
                    <a:lnTo>
                      <a:pt x="4507" y="2607"/>
                    </a:lnTo>
                    <a:lnTo>
                      <a:pt x="4686" y="2637"/>
                    </a:lnTo>
                    <a:lnTo>
                      <a:pt x="4866" y="2666"/>
                    </a:lnTo>
                    <a:lnTo>
                      <a:pt x="5049" y="2694"/>
                    </a:lnTo>
                    <a:lnTo>
                      <a:pt x="5235" y="2719"/>
                    </a:lnTo>
                    <a:lnTo>
                      <a:pt x="5422" y="2744"/>
                    </a:lnTo>
                    <a:lnTo>
                      <a:pt x="5612" y="2767"/>
                    </a:lnTo>
                    <a:lnTo>
                      <a:pt x="5804" y="2788"/>
                    </a:lnTo>
                    <a:lnTo>
                      <a:pt x="5998" y="2807"/>
                    </a:lnTo>
                    <a:lnTo>
                      <a:pt x="6193" y="2826"/>
                    </a:lnTo>
                    <a:lnTo>
                      <a:pt x="6391" y="2843"/>
                    </a:lnTo>
                    <a:lnTo>
                      <a:pt x="6591" y="2858"/>
                    </a:lnTo>
                    <a:lnTo>
                      <a:pt x="6792" y="2870"/>
                    </a:lnTo>
                    <a:lnTo>
                      <a:pt x="6995" y="2882"/>
                    </a:lnTo>
                    <a:lnTo>
                      <a:pt x="7200" y="2892"/>
                    </a:lnTo>
                    <a:lnTo>
                      <a:pt x="7407" y="2901"/>
                    </a:lnTo>
                    <a:lnTo>
                      <a:pt x="7614" y="2907"/>
                    </a:lnTo>
                    <a:lnTo>
                      <a:pt x="7823" y="2911"/>
                    </a:lnTo>
                    <a:lnTo>
                      <a:pt x="8034" y="2914"/>
                    </a:lnTo>
                    <a:lnTo>
                      <a:pt x="8246" y="2915"/>
                    </a:lnTo>
                    <a:lnTo>
                      <a:pt x="8246" y="2815"/>
                    </a:lnTo>
                    <a:lnTo>
                      <a:pt x="8034" y="2814"/>
                    </a:lnTo>
                    <a:lnTo>
                      <a:pt x="7825" y="2811"/>
                    </a:lnTo>
                    <a:lnTo>
                      <a:pt x="7617" y="2806"/>
                    </a:lnTo>
                    <a:lnTo>
                      <a:pt x="7410" y="2800"/>
                    </a:lnTo>
                    <a:lnTo>
                      <a:pt x="7205" y="2792"/>
                    </a:lnTo>
                    <a:lnTo>
                      <a:pt x="7000" y="2783"/>
                    </a:lnTo>
                    <a:lnTo>
                      <a:pt x="6798" y="2771"/>
                    </a:lnTo>
                    <a:lnTo>
                      <a:pt x="6597" y="2758"/>
                    </a:lnTo>
                    <a:lnTo>
                      <a:pt x="6400" y="2742"/>
                    </a:lnTo>
                    <a:lnTo>
                      <a:pt x="6203" y="2726"/>
                    </a:lnTo>
                    <a:lnTo>
                      <a:pt x="6008" y="2708"/>
                    </a:lnTo>
                    <a:lnTo>
                      <a:pt x="5814" y="2688"/>
                    </a:lnTo>
                    <a:lnTo>
                      <a:pt x="5623" y="2667"/>
                    </a:lnTo>
                    <a:lnTo>
                      <a:pt x="5435" y="2644"/>
                    </a:lnTo>
                    <a:lnTo>
                      <a:pt x="5248" y="2620"/>
                    </a:lnTo>
                    <a:lnTo>
                      <a:pt x="5064" y="2594"/>
                    </a:lnTo>
                    <a:lnTo>
                      <a:pt x="4881" y="2566"/>
                    </a:lnTo>
                    <a:lnTo>
                      <a:pt x="4702" y="2537"/>
                    </a:lnTo>
                    <a:lnTo>
                      <a:pt x="4524" y="2507"/>
                    </a:lnTo>
                    <a:lnTo>
                      <a:pt x="4350" y="2476"/>
                    </a:lnTo>
                    <a:lnTo>
                      <a:pt x="4176" y="2442"/>
                    </a:lnTo>
                    <a:lnTo>
                      <a:pt x="4007" y="2408"/>
                    </a:lnTo>
                    <a:lnTo>
                      <a:pt x="3839" y="2373"/>
                    </a:lnTo>
                    <a:lnTo>
                      <a:pt x="3675" y="2335"/>
                    </a:lnTo>
                    <a:lnTo>
                      <a:pt x="3514" y="2297"/>
                    </a:lnTo>
                    <a:lnTo>
                      <a:pt x="3355" y="2257"/>
                    </a:lnTo>
                    <a:lnTo>
                      <a:pt x="3199" y="2215"/>
                    </a:lnTo>
                    <a:lnTo>
                      <a:pt x="3047" y="2174"/>
                    </a:lnTo>
                    <a:lnTo>
                      <a:pt x="2971" y="2152"/>
                    </a:lnTo>
                    <a:lnTo>
                      <a:pt x="2897" y="2130"/>
                    </a:lnTo>
                    <a:lnTo>
                      <a:pt x="2824" y="2108"/>
                    </a:lnTo>
                    <a:lnTo>
                      <a:pt x="2751" y="2086"/>
                    </a:lnTo>
                    <a:lnTo>
                      <a:pt x="2679" y="2063"/>
                    </a:lnTo>
                    <a:lnTo>
                      <a:pt x="2608" y="2039"/>
                    </a:lnTo>
                    <a:lnTo>
                      <a:pt x="2538" y="2017"/>
                    </a:lnTo>
                    <a:lnTo>
                      <a:pt x="2467" y="1993"/>
                    </a:lnTo>
                    <a:lnTo>
                      <a:pt x="2398" y="1969"/>
                    </a:lnTo>
                    <a:lnTo>
                      <a:pt x="2330" y="1945"/>
                    </a:lnTo>
                    <a:lnTo>
                      <a:pt x="2263" y="1920"/>
                    </a:lnTo>
                    <a:lnTo>
                      <a:pt x="2197" y="1895"/>
                    </a:lnTo>
                    <a:lnTo>
                      <a:pt x="2132" y="1871"/>
                    </a:lnTo>
                    <a:lnTo>
                      <a:pt x="2068" y="1845"/>
                    </a:lnTo>
                    <a:lnTo>
                      <a:pt x="2004" y="1820"/>
                    </a:lnTo>
                    <a:lnTo>
                      <a:pt x="1941" y="1794"/>
                    </a:lnTo>
                    <a:lnTo>
                      <a:pt x="1880" y="1768"/>
                    </a:lnTo>
                    <a:lnTo>
                      <a:pt x="1819" y="1741"/>
                    </a:lnTo>
                    <a:lnTo>
                      <a:pt x="1758" y="1715"/>
                    </a:lnTo>
                    <a:lnTo>
                      <a:pt x="1700" y="1688"/>
                    </a:lnTo>
                    <a:lnTo>
                      <a:pt x="1642" y="1662"/>
                    </a:lnTo>
                    <a:lnTo>
                      <a:pt x="1584" y="1634"/>
                    </a:lnTo>
                    <a:lnTo>
                      <a:pt x="1529" y="1607"/>
                    </a:lnTo>
                    <a:lnTo>
                      <a:pt x="1473" y="1579"/>
                    </a:lnTo>
                    <a:lnTo>
                      <a:pt x="1418" y="1551"/>
                    </a:lnTo>
                    <a:lnTo>
                      <a:pt x="1366" y="1523"/>
                    </a:lnTo>
                    <a:lnTo>
                      <a:pt x="1313" y="1494"/>
                    </a:lnTo>
                    <a:lnTo>
                      <a:pt x="1262" y="1466"/>
                    </a:lnTo>
                    <a:lnTo>
                      <a:pt x="1211" y="1437"/>
                    </a:lnTo>
                    <a:lnTo>
                      <a:pt x="1162" y="1408"/>
                    </a:lnTo>
                    <a:lnTo>
                      <a:pt x="1113" y="1379"/>
                    </a:lnTo>
                    <a:lnTo>
                      <a:pt x="1066" y="1349"/>
                    </a:lnTo>
                    <a:lnTo>
                      <a:pt x="1020" y="1320"/>
                    </a:lnTo>
                    <a:lnTo>
                      <a:pt x="975" y="1290"/>
                    </a:lnTo>
                    <a:lnTo>
                      <a:pt x="931" y="1260"/>
                    </a:lnTo>
                    <a:lnTo>
                      <a:pt x="887" y="1229"/>
                    </a:lnTo>
                    <a:lnTo>
                      <a:pt x="845" y="1199"/>
                    </a:lnTo>
                    <a:lnTo>
                      <a:pt x="804" y="1168"/>
                    </a:lnTo>
                    <a:lnTo>
                      <a:pt x="765" y="1138"/>
                    </a:lnTo>
                    <a:lnTo>
                      <a:pt x="726" y="1107"/>
                    </a:lnTo>
                    <a:lnTo>
                      <a:pt x="688" y="1076"/>
                    </a:lnTo>
                    <a:lnTo>
                      <a:pt x="651" y="1044"/>
                    </a:lnTo>
                    <a:lnTo>
                      <a:pt x="616" y="1013"/>
                    </a:lnTo>
                    <a:lnTo>
                      <a:pt x="581" y="981"/>
                    </a:lnTo>
                    <a:lnTo>
                      <a:pt x="548" y="949"/>
                    </a:lnTo>
                    <a:lnTo>
                      <a:pt x="516" y="917"/>
                    </a:lnTo>
                    <a:lnTo>
                      <a:pt x="485" y="885"/>
                    </a:lnTo>
                    <a:lnTo>
                      <a:pt x="456" y="853"/>
                    </a:lnTo>
                    <a:lnTo>
                      <a:pt x="427" y="821"/>
                    </a:lnTo>
                    <a:lnTo>
                      <a:pt x="400" y="789"/>
                    </a:lnTo>
                    <a:lnTo>
                      <a:pt x="373" y="756"/>
                    </a:lnTo>
                    <a:lnTo>
                      <a:pt x="348" y="724"/>
                    </a:lnTo>
                    <a:lnTo>
                      <a:pt x="324" y="691"/>
                    </a:lnTo>
                    <a:lnTo>
                      <a:pt x="301" y="658"/>
                    </a:lnTo>
                    <a:lnTo>
                      <a:pt x="280" y="624"/>
                    </a:lnTo>
                    <a:lnTo>
                      <a:pt x="260" y="591"/>
                    </a:lnTo>
                    <a:lnTo>
                      <a:pt x="240" y="558"/>
                    </a:lnTo>
                    <a:lnTo>
                      <a:pt x="223" y="525"/>
                    </a:lnTo>
                    <a:lnTo>
                      <a:pt x="205" y="492"/>
                    </a:lnTo>
                    <a:lnTo>
                      <a:pt x="190" y="459"/>
                    </a:lnTo>
                    <a:lnTo>
                      <a:pt x="175" y="425"/>
                    </a:lnTo>
                    <a:lnTo>
                      <a:pt x="163" y="392"/>
                    </a:lnTo>
                    <a:lnTo>
                      <a:pt x="150" y="357"/>
                    </a:lnTo>
                    <a:lnTo>
                      <a:pt x="140" y="324"/>
                    </a:lnTo>
                    <a:lnTo>
                      <a:pt x="131" y="290"/>
                    </a:lnTo>
                    <a:lnTo>
                      <a:pt x="123" y="256"/>
                    </a:lnTo>
                    <a:lnTo>
                      <a:pt x="115" y="222"/>
                    </a:lnTo>
                    <a:lnTo>
                      <a:pt x="110" y="188"/>
                    </a:lnTo>
                    <a:lnTo>
                      <a:pt x="106" y="154"/>
                    </a:lnTo>
                    <a:lnTo>
                      <a:pt x="102" y="119"/>
                    </a:lnTo>
                    <a:lnTo>
                      <a:pt x="101" y="85"/>
                    </a:lnTo>
                    <a:lnTo>
                      <a:pt x="100" y="50"/>
                    </a:lnTo>
                    <a:lnTo>
                      <a:pt x="100" y="50"/>
                    </a:lnTo>
                    <a:lnTo>
                      <a:pt x="100" y="50"/>
                    </a:lnTo>
                    <a:lnTo>
                      <a:pt x="100" y="44"/>
                    </a:lnTo>
                    <a:lnTo>
                      <a:pt x="99" y="39"/>
                    </a:lnTo>
                    <a:lnTo>
                      <a:pt x="98" y="33"/>
                    </a:lnTo>
                    <a:lnTo>
                      <a:pt x="96" y="28"/>
                    </a:lnTo>
                    <a:lnTo>
                      <a:pt x="94" y="24"/>
                    </a:lnTo>
                    <a:lnTo>
                      <a:pt x="91" y="20"/>
                    </a:lnTo>
                    <a:lnTo>
                      <a:pt x="88" y="16"/>
                    </a:lnTo>
                    <a:lnTo>
                      <a:pt x="85" y="13"/>
                    </a:lnTo>
                    <a:lnTo>
                      <a:pt x="77" y="8"/>
                    </a:lnTo>
                    <a:lnTo>
                      <a:pt x="68" y="3"/>
                    </a:lnTo>
                    <a:lnTo>
                      <a:pt x="60" y="0"/>
                    </a:lnTo>
                    <a:lnTo>
                      <a:pt x="51" y="0"/>
                    </a:lnTo>
                    <a:lnTo>
                      <a:pt x="40" y="0"/>
                    </a:lnTo>
                    <a:lnTo>
                      <a:pt x="32" y="3"/>
                    </a:lnTo>
                    <a:lnTo>
                      <a:pt x="23" y="8"/>
                    </a:lnTo>
                    <a:lnTo>
                      <a:pt x="15" y="13"/>
                    </a:lnTo>
                    <a:lnTo>
                      <a:pt x="12" y="16"/>
                    </a:lnTo>
                    <a:lnTo>
                      <a:pt x="9" y="20"/>
                    </a:lnTo>
                    <a:lnTo>
                      <a:pt x="6" y="24"/>
                    </a:lnTo>
                    <a:lnTo>
                      <a:pt x="4" y="28"/>
                    </a:lnTo>
                    <a:lnTo>
                      <a:pt x="2" y="33"/>
                    </a:lnTo>
                    <a:lnTo>
                      <a:pt x="1" y="39"/>
                    </a:lnTo>
                    <a:lnTo>
                      <a:pt x="0" y="44"/>
                    </a:lnTo>
                    <a:lnTo>
                      <a:pt x="0" y="5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48" name="Freeform 89"/>
              <p:cNvSpPr>
                <a:spLocks/>
              </p:cNvSpPr>
              <p:nvPr>
                <p:custDataLst>
                  <p:tags r:id="rId191"/>
                </p:custDataLst>
              </p:nvPr>
            </p:nvSpPr>
            <p:spPr bwMode="auto">
              <a:xfrm>
                <a:off x="369" y="3515"/>
                <a:ext cx="361" cy="114"/>
              </a:xfrm>
              <a:custGeom>
                <a:avLst/>
                <a:gdLst>
                  <a:gd name="T0" fmla="*/ 7823 w 8296"/>
                  <a:gd name="T1" fmla="*/ 3 h 2864"/>
                  <a:gd name="T2" fmla="*/ 6995 w 8296"/>
                  <a:gd name="T3" fmla="*/ 32 h 2864"/>
                  <a:gd name="T4" fmla="*/ 6193 w 8296"/>
                  <a:gd name="T5" fmla="*/ 88 h 2864"/>
                  <a:gd name="T6" fmla="*/ 5422 w 8296"/>
                  <a:gd name="T7" fmla="*/ 171 h 2864"/>
                  <a:gd name="T8" fmla="*/ 4686 w 8296"/>
                  <a:gd name="T9" fmla="*/ 279 h 2864"/>
                  <a:gd name="T10" fmla="*/ 3987 w 8296"/>
                  <a:gd name="T11" fmla="*/ 409 h 2864"/>
                  <a:gd name="T12" fmla="*/ 3331 w 8296"/>
                  <a:gd name="T13" fmla="*/ 561 h 2864"/>
                  <a:gd name="T14" fmla="*/ 2721 w 8296"/>
                  <a:gd name="T15" fmla="*/ 734 h 2864"/>
                  <a:gd name="T16" fmla="*/ 2436 w 8296"/>
                  <a:gd name="T17" fmla="*/ 827 h 2864"/>
                  <a:gd name="T18" fmla="*/ 2162 w 8296"/>
                  <a:gd name="T19" fmla="*/ 925 h 2864"/>
                  <a:gd name="T20" fmla="*/ 1904 w 8296"/>
                  <a:gd name="T21" fmla="*/ 1028 h 2864"/>
                  <a:gd name="T22" fmla="*/ 1658 w 8296"/>
                  <a:gd name="T23" fmla="*/ 1136 h 2864"/>
                  <a:gd name="T24" fmla="*/ 1428 w 8296"/>
                  <a:gd name="T25" fmla="*/ 1246 h 2864"/>
                  <a:gd name="T26" fmla="*/ 1212 w 8296"/>
                  <a:gd name="T27" fmla="*/ 1361 h 2864"/>
                  <a:gd name="T28" fmla="*/ 1013 w 8296"/>
                  <a:gd name="T29" fmla="*/ 1481 h 2864"/>
                  <a:gd name="T30" fmla="*/ 830 w 8296"/>
                  <a:gd name="T31" fmla="*/ 1603 h 2864"/>
                  <a:gd name="T32" fmla="*/ 663 w 8296"/>
                  <a:gd name="T33" fmla="*/ 1730 h 2864"/>
                  <a:gd name="T34" fmla="*/ 513 w 8296"/>
                  <a:gd name="T35" fmla="*/ 1860 h 2864"/>
                  <a:gd name="T36" fmla="*/ 381 w 8296"/>
                  <a:gd name="T37" fmla="*/ 1994 h 2864"/>
                  <a:gd name="T38" fmla="*/ 268 w 8296"/>
                  <a:gd name="T39" fmla="*/ 2131 h 2864"/>
                  <a:gd name="T40" fmla="*/ 174 w 8296"/>
                  <a:gd name="T41" fmla="*/ 2272 h 2864"/>
                  <a:gd name="T42" fmla="*/ 99 w 8296"/>
                  <a:gd name="T43" fmla="*/ 2416 h 2864"/>
                  <a:gd name="T44" fmla="*/ 44 w 8296"/>
                  <a:gd name="T45" fmla="*/ 2563 h 2864"/>
                  <a:gd name="T46" fmla="*/ 11 w 8296"/>
                  <a:gd name="T47" fmla="*/ 2712 h 2864"/>
                  <a:gd name="T48" fmla="*/ 0 w 8296"/>
                  <a:gd name="T49" fmla="*/ 2864 h 2864"/>
                  <a:gd name="T50" fmla="*/ 106 w 8296"/>
                  <a:gd name="T51" fmla="*/ 2762 h 2864"/>
                  <a:gd name="T52" fmla="*/ 131 w 8296"/>
                  <a:gd name="T53" fmla="*/ 2625 h 2864"/>
                  <a:gd name="T54" fmla="*/ 175 w 8296"/>
                  <a:gd name="T55" fmla="*/ 2490 h 2864"/>
                  <a:gd name="T56" fmla="*/ 240 w 8296"/>
                  <a:gd name="T57" fmla="*/ 2356 h 2864"/>
                  <a:gd name="T58" fmla="*/ 324 w 8296"/>
                  <a:gd name="T59" fmla="*/ 2224 h 2864"/>
                  <a:gd name="T60" fmla="*/ 427 w 8296"/>
                  <a:gd name="T61" fmla="*/ 2094 h 2864"/>
                  <a:gd name="T62" fmla="*/ 548 w 8296"/>
                  <a:gd name="T63" fmla="*/ 1966 h 2864"/>
                  <a:gd name="T64" fmla="*/ 688 w 8296"/>
                  <a:gd name="T65" fmla="*/ 1839 h 2864"/>
                  <a:gd name="T66" fmla="*/ 845 w 8296"/>
                  <a:gd name="T67" fmla="*/ 1716 h 2864"/>
                  <a:gd name="T68" fmla="*/ 1020 w 8296"/>
                  <a:gd name="T69" fmla="*/ 1595 h 2864"/>
                  <a:gd name="T70" fmla="*/ 1211 w 8296"/>
                  <a:gd name="T71" fmla="*/ 1478 h 2864"/>
                  <a:gd name="T72" fmla="*/ 1418 w 8296"/>
                  <a:gd name="T73" fmla="*/ 1364 h 2864"/>
                  <a:gd name="T74" fmla="*/ 1642 w 8296"/>
                  <a:gd name="T75" fmla="*/ 1254 h 2864"/>
                  <a:gd name="T76" fmla="*/ 1880 w 8296"/>
                  <a:gd name="T77" fmla="*/ 1147 h 2864"/>
                  <a:gd name="T78" fmla="*/ 2132 w 8296"/>
                  <a:gd name="T79" fmla="*/ 1044 h 2864"/>
                  <a:gd name="T80" fmla="*/ 2398 w 8296"/>
                  <a:gd name="T81" fmla="*/ 946 h 2864"/>
                  <a:gd name="T82" fmla="*/ 2679 w 8296"/>
                  <a:gd name="T83" fmla="*/ 852 h 2864"/>
                  <a:gd name="T84" fmla="*/ 3199 w 8296"/>
                  <a:gd name="T85" fmla="*/ 699 h 2864"/>
                  <a:gd name="T86" fmla="*/ 3839 w 8296"/>
                  <a:gd name="T87" fmla="*/ 542 h 2864"/>
                  <a:gd name="T88" fmla="*/ 4524 w 8296"/>
                  <a:gd name="T89" fmla="*/ 408 h 2864"/>
                  <a:gd name="T90" fmla="*/ 5248 w 8296"/>
                  <a:gd name="T91" fmla="*/ 295 h 2864"/>
                  <a:gd name="T92" fmla="*/ 6008 w 8296"/>
                  <a:gd name="T93" fmla="*/ 207 h 2864"/>
                  <a:gd name="T94" fmla="*/ 6798 w 8296"/>
                  <a:gd name="T95" fmla="*/ 144 h 2864"/>
                  <a:gd name="T96" fmla="*/ 7617 w 8296"/>
                  <a:gd name="T97" fmla="*/ 108 h 2864"/>
                  <a:gd name="T98" fmla="*/ 8246 w 8296"/>
                  <a:gd name="T99" fmla="*/ 100 h 2864"/>
                  <a:gd name="T100" fmla="*/ 8263 w 8296"/>
                  <a:gd name="T101" fmla="*/ 97 h 2864"/>
                  <a:gd name="T102" fmla="*/ 8280 w 8296"/>
                  <a:gd name="T103" fmla="*/ 88 h 2864"/>
                  <a:gd name="T104" fmla="*/ 8295 w 8296"/>
                  <a:gd name="T105" fmla="*/ 59 h 2864"/>
                  <a:gd name="T106" fmla="*/ 8289 w 8296"/>
                  <a:gd name="T107" fmla="*/ 23 h 2864"/>
                  <a:gd name="T108" fmla="*/ 8272 w 8296"/>
                  <a:gd name="T109" fmla="*/ 6 h 2864"/>
                  <a:gd name="T110" fmla="*/ 8252 w 8296"/>
                  <a:gd name="T111" fmla="*/ 0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4">
                    <a:moveTo>
                      <a:pt x="8246" y="0"/>
                    </a:moveTo>
                    <a:lnTo>
                      <a:pt x="8246" y="0"/>
                    </a:lnTo>
                    <a:lnTo>
                      <a:pt x="8034" y="0"/>
                    </a:lnTo>
                    <a:lnTo>
                      <a:pt x="7823" y="3"/>
                    </a:lnTo>
                    <a:lnTo>
                      <a:pt x="7614" y="8"/>
                    </a:lnTo>
                    <a:lnTo>
                      <a:pt x="7407" y="15"/>
                    </a:lnTo>
                    <a:lnTo>
                      <a:pt x="7200" y="23"/>
                    </a:lnTo>
                    <a:lnTo>
                      <a:pt x="6995" y="32"/>
                    </a:lnTo>
                    <a:lnTo>
                      <a:pt x="6792" y="44"/>
                    </a:lnTo>
                    <a:lnTo>
                      <a:pt x="6591" y="57"/>
                    </a:lnTo>
                    <a:lnTo>
                      <a:pt x="6391" y="72"/>
                    </a:lnTo>
                    <a:lnTo>
                      <a:pt x="6193" y="88"/>
                    </a:lnTo>
                    <a:lnTo>
                      <a:pt x="5998" y="107"/>
                    </a:lnTo>
                    <a:lnTo>
                      <a:pt x="5804" y="126"/>
                    </a:lnTo>
                    <a:lnTo>
                      <a:pt x="5612" y="148"/>
                    </a:lnTo>
                    <a:lnTo>
                      <a:pt x="5422" y="171"/>
                    </a:lnTo>
                    <a:lnTo>
                      <a:pt x="5235" y="196"/>
                    </a:lnTo>
                    <a:lnTo>
                      <a:pt x="5049" y="222"/>
                    </a:lnTo>
                    <a:lnTo>
                      <a:pt x="4866" y="250"/>
                    </a:lnTo>
                    <a:lnTo>
                      <a:pt x="4686" y="279"/>
                    </a:lnTo>
                    <a:lnTo>
                      <a:pt x="4507" y="309"/>
                    </a:lnTo>
                    <a:lnTo>
                      <a:pt x="4331" y="341"/>
                    </a:lnTo>
                    <a:lnTo>
                      <a:pt x="4158" y="374"/>
                    </a:lnTo>
                    <a:lnTo>
                      <a:pt x="3987" y="409"/>
                    </a:lnTo>
                    <a:lnTo>
                      <a:pt x="3819" y="444"/>
                    </a:lnTo>
                    <a:lnTo>
                      <a:pt x="3653" y="482"/>
                    </a:lnTo>
                    <a:lnTo>
                      <a:pt x="3491" y="521"/>
                    </a:lnTo>
                    <a:lnTo>
                      <a:pt x="3331" y="561"/>
                    </a:lnTo>
                    <a:lnTo>
                      <a:pt x="3173" y="602"/>
                    </a:lnTo>
                    <a:lnTo>
                      <a:pt x="3020" y="645"/>
                    </a:lnTo>
                    <a:lnTo>
                      <a:pt x="2869" y="688"/>
                    </a:lnTo>
                    <a:lnTo>
                      <a:pt x="2721" y="734"/>
                    </a:lnTo>
                    <a:lnTo>
                      <a:pt x="2649" y="757"/>
                    </a:lnTo>
                    <a:lnTo>
                      <a:pt x="2577" y="779"/>
                    </a:lnTo>
                    <a:lnTo>
                      <a:pt x="2506" y="803"/>
                    </a:lnTo>
                    <a:lnTo>
                      <a:pt x="2436" y="827"/>
                    </a:lnTo>
                    <a:lnTo>
                      <a:pt x="2365" y="851"/>
                    </a:lnTo>
                    <a:lnTo>
                      <a:pt x="2297" y="876"/>
                    </a:lnTo>
                    <a:lnTo>
                      <a:pt x="2229" y="901"/>
                    </a:lnTo>
                    <a:lnTo>
                      <a:pt x="2162" y="925"/>
                    </a:lnTo>
                    <a:lnTo>
                      <a:pt x="2096" y="950"/>
                    </a:lnTo>
                    <a:lnTo>
                      <a:pt x="2030" y="976"/>
                    </a:lnTo>
                    <a:lnTo>
                      <a:pt x="1967" y="1002"/>
                    </a:lnTo>
                    <a:lnTo>
                      <a:pt x="1904" y="1028"/>
                    </a:lnTo>
                    <a:lnTo>
                      <a:pt x="1841" y="1055"/>
                    </a:lnTo>
                    <a:lnTo>
                      <a:pt x="1779" y="1081"/>
                    </a:lnTo>
                    <a:lnTo>
                      <a:pt x="1718" y="1108"/>
                    </a:lnTo>
                    <a:lnTo>
                      <a:pt x="1658" y="1136"/>
                    </a:lnTo>
                    <a:lnTo>
                      <a:pt x="1600" y="1162"/>
                    </a:lnTo>
                    <a:lnTo>
                      <a:pt x="1541" y="1190"/>
                    </a:lnTo>
                    <a:lnTo>
                      <a:pt x="1484" y="1218"/>
                    </a:lnTo>
                    <a:lnTo>
                      <a:pt x="1428" y="1246"/>
                    </a:lnTo>
                    <a:lnTo>
                      <a:pt x="1373" y="1275"/>
                    </a:lnTo>
                    <a:lnTo>
                      <a:pt x="1318" y="1303"/>
                    </a:lnTo>
                    <a:lnTo>
                      <a:pt x="1265" y="1332"/>
                    </a:lnTo>
                    <a:lnTo>
                      <a:pt x="1212" y="1361"/>
                    </a:lnTo>
                    <a:lnTo>
                      <a:pt x="1162" y="1391"/>
                    </a:lnTo>
                    <a:lnTo>
                      <a:pt x="1111" y="1420"/>
                    </a:lnTo>
                    <a:lnTo>
                      <a:pt x="1062" y="1450"/>
                    </a:lnTo>
                    <a:lnTo>
                      <a:pt x="1013" y="1481"/>
                    </a:lnTo>
                    <a:lnTo>
                      <a:pt x="966" y="1511"/>
                    </a:lnTo>
                    <a:lnTo>
                      <a:pt x="919" y="1542"/>
                    </a:lnTo>
                    <a:lnTo>
                      <a:pt x="874" y="1572"/>
                    </a:lnTo>
                    <a:lnTo>
                      <a:pt x="830" y="1603"/>
                    </a:lnTo>
                    <a:lnTo>
                      <a:pt x="786" y="1635"/>
                    </a:lnTo>
                    <a:lnTo>
                      <a:pt x="744" y="1667"/>
                    </a:lnTo>
                    <a:lnTo>
                      <a:pt x="703" y="1699"/>
                    </a:lnTo>
                    <a:lnTo>
                      <a:pt x="663" y="1730"/>
                    </a:lnTo>
                    <a:lnTo>
                      <a:pt x="624" y="1763"/>
                    </a:lnTo>
                    <a:lnTo>
                      <a:pt x="586" y="1795"/>
                    </a:lnTo>
                    <a:lnTo>
                      <a:pt x="549" y="1828"/>
                    </a:lnTo>
                    <a:lnTo>
                      <a:pt x="513" y="1860"/>
                    </a:lnTo>
                    <a:lnTo>
                      <a:pt x="479" y="1893"/>
                    </a:lnTo>
                    <a:lnTo>
                      <a:pt x="445" y="1926"/>
                    </a:lnTo>
                    <a:lnTo>
                      <a:pt x="413" y="1960"/>
                    </a:lnTo>
                    <a:lnTo>
                      <a:pt x="381" y="1994"/>
                    </a:lnTo>
                    <a:lnTo>
                      <a:pt x="351" y="2028"/>
                    </a:lnTo>
                    <a:lnTo>
                      <a:pt x="323" y="2062"/>
                    </a:lnTo>
                    <a:lnTo>
                      <a:pt x="295" y="2097"/>
                    </a:lnTo>
                    <a:lnTo>
                      <a:pt x="268" y="2131"/>
                    </a:lnTo>
                    <a:lnTo>
                      <a:pt x="243" y="2166"/>
                    </a:lnTo>
                    <a:lnTo>
                      <a:pt x="219" y="2201"/>
                    </a:lnTo>
                    <a:lnTo>
                      <a:pt x="196" y="2236"/>
                    </a:lnTo>
                    <a:lnTo>
                      <a:pt x="174" y="2272"/>
                    </a:lnTo>
                    <a:lnTo>
                      <a:pt x="154" y="2307"/>
                    </a:lnTo>
                    <a:lnTo>
                      <a:pt x="134" y="2343"/>
                    </a:lnTo>
                    <a:lnTo>
                      <a:pt x="115" y="2380"/>
                    </a:lnTo>
                    <a:lnTo>
                      <a:pt x="99" y="2416"/>
                    </a:lnTo>
                    <a:lnTo>
                      <a:pt x="83" y="2452"/>
                    </a:lnTo>
                    <a:lnTo>
                      <a:pt x="69" y="2488"/>
                    </a:lnTo>
                    <a:lnTo>
                      <a:pt x="56" y="2526"/>
                    </a:lnTo>
                    <a:lnTo>
                      <a:pt x="44" y="2563"/>
                    </a:lnTo>
                    <a:lnTo>
                      <a:pt x="34" y="2600"/>
                    </a:lnTo>
                    <a:lnTo>
                      <a:pt x="25" y="2637"/>
                    </a:lnTo>
                    <a:lnTo>
                      <a:pt x="18" y="2675"/>
                    </a:lnTo>
                    <a:lnTo>
                      <a:pt x="11" y="2712"/>
                    </a:lnTo>
                    <a:lnTo>
                      <a:pt x="6" y="2750"/>
                    </a:lnTo>
                    <a:lnTo>
                      <a:pt x="3" y="2788"/>
                    </a:lnTo>
                    <a:lnTo>
                      <a:pt x="1" y="2826"/>
                    </a:lnTo>
                    <a:lnTo>
                      <a:pt x="0" y="2864"/>
                    </a:lnTo>
                    <a:lnTo>
                      <a:pt x="100" y="2864"/>
                    </a:lnTo>
                    <a:lnTo>
                      <a:pt x="101" y="2830"/>
                    </a:lnTo>
                    <a:lnTo>
                      <a:pt x="102" y="2796"/>
                    </a:lnTo>
                    <a:lnTo>
                      <a:pt x="106" y="2762"/>
                    </a:lnTo>
                    <a:lnTo>
                      <a:pt x="110" y="2726"/>
                    </a:lnTo>
                    <a:lnTo>
                      <a:pt x="115" y="2693"/>
                    </a:lnTo>
                    <a:lnTo>
                      <a:pt x="123" y="2659"/>
                    </a:lnTo>
                    <a:lnTo>
                      <a:pt x="131" y="2625"/>
                    </a:lnTo>
                    <a:lnTo>
                      <a:pt x="140" y="2591"/>
                    </a:lnTo>
                    <a:lnTo>
                      <a:pt x="150" y="2558"/>
                    </a:lnTo>
                    <a:lnTo>
                      <a:pt x="163" y="2524"/>
                    </a:lnTo>
                    <a:lnTo>
                      <a:pt x="175" y="2490"/>
                    </a:lnTo>
                    <a:lnTo>
                      <a:pt x="190" y="2456"/>
                    </a:lnTo>
                    <a:lnTo>
                      <a:pt x="205" y="2423"/>
                    </a:lnTo>
                    <a:lnTo>
                      <a:pt x="223" y="2390"/>
                    </a:lnTo>
                    <a:lnTo>
                      <a:pt x="240" y="2356"/>
                    </a:lnTo>
                    <a:lnTo>
                      <a:pt x="260" y="2323"/>
                    </a:lnTo>
                    <a:lnTo>
                      <a:pt x="279" y="2290"/>
                    </a:lnTo>
                    <a:lnTo>
                      <a:pt x="301" y="2258"/>
                    </a:lnTo>
                    <a:lnTo>
                      <a:pt x="324" y="2224"/>
                    </a:lnTo>
                    <a:lnTo>
                      <a:pt x="348" y="2191"/>
                    </a:lnTo>
                    <a:lnTo>
                      <a:pt x="373" y="2159"/>
                    </a:lnTo>
                    <a:lnTo>
                      <a:pt x="400" y="2126"/>
                    </a:lnTo>
                    <a:lnTo>
                      <a:pt x="427" y="2094"/>
                    </a:lnTo>
                    <a:lnTo>
                      <a:pt x="456" y="2062"/>
                    </a:lnTo>
                    <a:lnTo>
                      <a:pt x="485" y="2030"/>
                    </a:lnTo>
                    <a:lnTo>
                      <a:pt x="516" y="1998"/>
                    </a:lnTo>
                    <a:lnTo>
                      <a:pt x="548" y="1966"/>
                    </a:lnTo>
                    <a:lnTo>
                      <a:pt x="581" y="1934"/>
                    </a:lnTo>
                    <a:lnTo>
                      <a:pt x="616" y="1902"/>
                    </a:lnTo>
                    <a:lnTo>
                      <a:pt x="651" y="1870"/>
                    </a:lnTo>
                    <a:lnTo>
                      <a:pt x="688" y="1839"/>
                    </a:lnTo>
                    <a:lnTo>
                      <a:pt x="726" y="1808"/>
                    </a:lnTo>
                    <a:lnTo>
                      <a:pt x="765" y="1777"/>
                    </a:lnTo>
                    <a:lnTo>
                      <a:pt x="804" y="1746"/>
                    </a:lnTo>
                    <a:lnTo>
                      <a:pt x="845" y="1716"/>
                    </a:lnTo>
                    <a:lnTo>
                      <a:pt x="887" y="1685"/>
                    </a:lnTo>
                    <a:lnTo>
                      <a:pt x="931" y="1655"/>
                    </a:lnTo>
                    <a:lnTo>
                      <a:pt x="975" y="1625"/>
                    </a:lnTo>
                    <a:lnTo>
                      <a:pt x="1020" y="1595"/>
                    </a:lnTo>
                    <a:lnTo>
                      <a:pt x="1066" y="1565"/>
                    </a:lnTo>
                    <a:lnTo>
                      <a:pt x="1113" y="1536"/>
                    </a:lnTo>
                    <a:lnTo>
                      <a:pt x="1162" y="1507"/>
                    </a:lnTo>
                    <a:lnTo>
                      <a:pt x="1211" y="1478"/>
                    </a:lnTo>
                    <a:lnTo>
                      <a:pt x="1262" y="1449"/>
                    </a:lnTo>
                    <a:lnTo>
                      <a:pt x="1313" y="1420"/>
                    </a:lnTo>
                    <a:lnTo>
                      <a:pt x="1366" y="1392"/>
                    </a:lnTo>
                    <a:lnTo>
                      <a:pt x="1418" y="1364"/>
                    </a:lnTo>
                    <a:lnTo>
                      <a:pt x="1473" y="1336"/>
                    </a:lnTo>
                    <a:lnTo>
                      <a:pt x="1529" y="1308"/>
                    </a:lnTo>
                    <a:lnTo>
                      <a:pt x="1584" y="1280"/>
                    </a:lnTo>
                    <a:lnTo>
                      <a:pt x="1642" y="1254"/>
                    </a:lnTo>
                    <a:lnTo>
                      <a:pt x="1700" y="1227"/>
                    </a:lnTo>
                    <a:lnTo>
                      <a:pt x="1758" y="1200"/>
                    </a:lnTo>
                    <a:lnTo>
                      <a:pt x="1819" y="1173"/>
                    </a:lnTo>
                    <a:lnTo>
                      <a:pt x="1880" y="1147"/>
                    </a:lnTo>
                    <a:lnTo>
                      <a:pt x="1941" y="1121"/>
                    </a:lnTo>
                    <a:lnTo>
                      <a:pt x="2004" y="1095"/>
                    </a:lnTo>
                    <a:lnTo>
                      <a:pt x="2068" y="1069"/>
                    </a:lnTo>
                    <a:lnTo>
                      <a:pt x="2132" y="1044"/>
                    </a:lnTo>
                    <a:lnTo>
                      <a:pt x="2197" y="1020"/>
                    </a:lnTo>
                    <a:lnTo>
                      <a:pt x="2263" y="995"/>
                    </a:lnTo>
                    <a:lnTo>
                      <a:pt x="2330" y="970"/>
                    </a:lnTo>
                    <a:lnTo>
                      <a:pt x="2398" y="946"/>
                    </a:lnTo>
                    <a:lnTo>
                      <a:pt x="2467" y="922"/>
                    </a:lnTo>
                    <a:lnTo>
                      <a:pt x="2538" y="899"/>
                    </a:lnTo>
                    <a:lnTo>
                      <a:pt x="2608" y="875"/>
                    </a:lnTo>
                    <a:lnTo>
                      <a:pt x="2679" y="852"/>
                    </a:lnTo>
                    <a:lnTo>
                      <a:pt x="2751" y="829"/>
                    </a:lnTo>
                    <a:lnTo>
                      <a:pt x="2897" y="785"/>
                    </a:lnTo>
                    <a:lnTo>
                      <a:pt x="3047" y="741"/>
                    </a:lnTo>
                    <a:lnTo>
                      <a:pt x="3199" y="699"/>
                    </a:lnTo>
                    <a:lnTo>
                      <a:pt x="3355" y="658"/>
                    </a:lnTo>
                    <a:lnTo>
                      <a:pt x="3514" y="618"/>
                    </a:lnTo>
                    <a:lnTo>
                      <a:pt x="3675" y="580"/>
                    </a:lnTo>
                    <a:lnTo>
                      <a:pt x="3839" y="542"/>
                    </a:lnTo>
                    <a:lnTo>
                      <a:pt x="4007" y="506"/>
                    </a:lnTo>
                    <a:lnTo>
                      <a:pt x="4176" y="472"/>
                    </a:lnTo>
                    <a:lnTo>
                      <a:pt x="4350" y="439"/>
                    </a:lnTo>
                    <a:lnTo>
                      <a:pt x="4524" y="408"/>
                    </a:lnTo>
                    <a:lnTo>
                      <a:pt x="4702" y="377"/>
                    </a:lnTo>
                    <a:lnTo>
                      <a:pt x="4881" y="348"/>
                    </a:lnTo>
                    <a:lnTo>
                      <a:pt x="5064" y="321"/>
                    </a:lnTo>
                    <a:lnTo>
                      <a:pt x="5248" y="295"/>
                    </a:lnTo>
                    <a:lnTo>
                      <a:pt x="5435" y="270"/>
                    </a:lnTo>
                    <a:lnTo>
                      <a:pt x="5623" y="247"/>
                    </a:lnTo>
                    <a:lnTo>
                      <a:pt x="5814" y="227"/>
                    </a:lnTo>
                    <a:lnTo>
                      <a:pt x="6008" y="207"/>
                    </a:lnTo>
                    <a:lnTo>
                      <a:pt x="6203" y="188"/>
                    </a:lnTo>
                    <a:lnTo>
                      <a:pt x="6400" y="172"/>
                    </a:lnTo>
                    <a:lnTo>
                      <a:pt x="6597" y="157"/>
                    </a:lnTo>
                    <a:lnTo>
                      <a:pt x="6798" y="144"/>
                    </a:lnTo>
                    <a:lnTo>
                      <a:pt x="7000" y="133"/>
                    </a:lnTo>
                    <a:lnTo>
                      <a:pt x="7205" y="122"/>
                    </a:lnTo>
                    <a:lnTo>
                      <a:pt x="7410" y="115"/>
                    </a:lnTo>
                    <a:lnTo>
                      <a:pt x="7617" y="108"/>
                    </a:lnTo>
                    <a:lnTo>
                      <a:pt x="7825" y="104"/>
                    </a:lnTo>
                    <a:lnTo>
                      <a:pt x="8034" y="102"/>
                    </a:lnTo>
                    <a:lnTo>
                      <a:pt x="8246" y="100"/>
                    </a:lnTo>
                    <a:lnTo>
                      <a:pt x="8246" y="100"/>
                    </a:lnTo>
                    <a:lnTo>
                      <a:pt x="8246" y="100"/>
                    </a:lnTo>
                    <a:lnTo>
                      <a:pt x="8252" y="99"/>
                    </a:lnTo>
                    <a:lnTo>
                      <a:pt x="8257" y="99"/>
                    </a:lnTo>
                    <a:lnTo>
                      <a:pt x="8263" y="97"/>
                    </a:lnTo>
                    <a:lnTo>
                      <a:pt x="8267" y="96"/>
                    </a:lnTo>
                    <a:lnTo>
                      <a:pt x="8272" y="93"/>
                    </a:lnTo>
                    <a:lnTo>
                      <a:pt x="8276" y="91"/>
                    </a:lnTo>
                    <a:lnTo>
                      <a:pt x="8280" y="88"/>
                    </a:lnTo>
                    <a:lnTo>
                      <a:pt x="8284" y="84"/>
                    </a:lnTo>
                    <a:lnTo>
                      <a:pt x="8289" y="77"/>
                    </a:lnTo>
                    <a:lnTo>
                      <a:pt x="8293" y="68"/>
                    </a:lnTo>
                    <a:lnTo>
                      <a:pt x="8295" y="59"/>
                    </a:lnTo>
                    <a:lnTo>
                      <a:pt x="8296" y="50"/>
                    </a:lnTo>
                    <a:lnTo>
                      <a:pt x="8295" y="40"/>
                    </a:lnTo>
                    <a:lnTo>
                      <a:pt x="8293" y="31"/>
                    </a:lnTo>
                    <a:lnTo>
                      <a:pt x="8289" y="23"/>
                    </a:lnTo>
                    <a:lnTo>
                      <a:pt x="8284" y="16"/>
                    </a:lnTo>
                    <a:lnTo>
                      <a:pt x="8280" y="13"/>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49" name="Freeform 90"/>
              <p:cNvSpPr>
                <a:spLocks/>
              </p:cNvSpPr>
              <p:nvPr>
                <p:custDataLst>
                  <p:tags r:id="rId192"/>
                </p:custDataLst>
              </p:nvPr>
            </p:nvSpPr>
            <p:spPr bwMode="auto">
              <a:xfrm>
                <a:off x="728" y="3515"/>
                <a:ext cx="358" cy="114"/>
              </a:xfrm>
              <a:custGeom>
                <a:avLst/>
                <a:gdLst>
                  <a:gd name="T0" fmla="*/ 8239 w 8245"/>
                  <a:gd name="T1" fmla="*/ 2750 h 2864"/>
                  <a:gd name="T2" fmla="*/ 8211 w 8245"/>
                  <a:gd name="T3" fmla="*/ 2600 h 2864"/>
                  <a:gd name="T4" fmla="*/ 8162 w 8245"/>
                  <a:gd name="T5" fmla="*/ 2452 h 2864"/>
                  <a:gd name="T6" fmla="*/ 8091 w 8245"/>
                  <a:gd name="T7" fmla="*/ 2307 h 2864"/>
                  <a:gd name="T8" fmla="*/ 8002 w 8245"/>
                  <a:gd name="T9" fmla="*/ 2166 h 2864"/>
                  <a:gd name="T10" fmla="*/ 7894 w 8245"/>
                  <a:gd name="T11" fmla="*/ 2028 h 2864"/>
                  <a:gd name="T12" fmla="*/ 7766 w 8245"/>
                  <a:gd name="T13" fmla="*/ 1893 h 2864"/>
                  <a:gd name="T14" fmla="*/ 7620 w 8245"/>
                  <a:gd name="T15" fmla="*/ 1763 h 2864"/>
                  <a:gd name="T16" fmla="*/ 7459 w 8245"/>
                  <a:gd name="T17" fmla="*/ 1635 h 2864"/>
                  <a:gd name="T18" fmla="*/ 7279 w 8245"/>
                  <a:gd name="T19" fmla="*/ 1511 h 2864"/>
                  <a:gd name="T20" fmla="*/ 7083 w 8245"/>
                  <a:gd name="T21" fmla="*/ 1391 h 2864"/>
                  <a:gd name="T22" fmla="*/ 6872 w 8245"/>
                  <a:gd name="T23" fmla="*/ 1275 h 2864"/>
                  <a:gd name="T24" fmla="*/ 6645 w 8245"/>
                  <a:gd name="T25" fmla="*/ 1162 h 2864"/>
                  <a:gd name="T26" fmla="*/ 6404 w 8245"/>
                  <a:gd name="T27" fmla="*/ 1055 h 2864"/>
                  <a:gd name="T28" fmla="*/ 6149 w 8245"/>
                  <a:gd name="T29" fmla="*/ 950 h 2864"/>
                  <a:gd name="T30" fmla="*/ 5880 w 8245"/>
                  <a:gd name="T31" fmla="*/ 851 h 2864"/>
                  <a:gd name="T32" fmla="*/ 5596 w 8245"/>
                  <a:gd name="T33" fmla="*/ 757 h 2864"/>
                  <a:gd name="T34" fmla="*/ 5072 w 8245"/>
                  <a:gd name="T35" fmla="*/ 602 h 2864"/>
                  <a:gd name="T36" fmla="*/ 4426 w 8245"/>
                  <a:gd name="T37" fmla="*/ 444 h 2864"/>
                  <a:gd name="T38" fmla="*/ 3738 w 8245"/>
                  <a:gd name="T39" fmla="*/ 309 h 2864"/>
                  <a:gd name="T40" fmla="*/ 3010 w 8245"/>
                  <a:gd name="T41" fmla="*/ 196 h 2864"/>
                  <a:gd name="T42" fmla="*/ 2246 w 8245"/>
                  <a:gd name="T43" fmla="*/ 107 h 2864"/>
                  <a:gd name="T44" fmla="*/ 1453 w 8245"/>
                  <a:gd name="T45" fmla="*/ 44 h 2864"/>
                  <a:gd name="T46" fmla="*/ 631 w 8245"/>
                  <a:gd name="T47" fmla="*/ 8 h 2864"/>
                  <a:gd name="T48" fmla="*/ 0 w 8245"/>
                  <a:gd name="T49" fmla="*/ 100 h 2864"/>
                  <a:gd name="T50" fmla="*/ 835 w 8245"/>
                  <a:gd name="T51" fmla="*/ 115 h 2864"/>
                  <a:gd name="T52" fmla="*/ 1648 w 8245"/>
                  <a:gd name="T53" fmla="*/ 157 h 2864"/>
                  <a:gd name="T54" fmla="*/ 2431 w 8245"/>
                  <a:gd name="T55" fmla="*/ 227 h 2864"/>
                  <a:gd name="T56" fmla="*/ 3181 w 8245"/>
                  <a:gd name="T57" fmla="*/ 321 h 2864"/>
                  <a:gd name="T58" fmla="*/ 3895 w 8245"/>
                  <a:gd name="T59" fmla="*/ 439 h 2864"/>
                  <a:gd name="T60" fmla="*/ 4570 w 8245"/>
                  <a:gd name="T61" fmla="*/ 580 h 2864"/>
                  <a:gd name="T62" fmla="*/ 5198 w 8245"/>
                  <a:gd name="T63" fmla="*/ 741 h 2864"/>
                  <a:gd name="T64" fmla="*/ 5637 w 8245"/>
                  <a:gd name="T65" fmla="*/ 875 h 2864"/>
                  <a:gd name="T66" fmla="*/ 5915 w 8245"/>
                  <a:gd name="T67" fmla="*/ 970 h 2864"/>
                  <a:gd name="T68" fmla="*/ 6177 w 8245"/>
                  <a:gd name="T69" fmla="*/ 1069 h 2864"/>
                  <a:gd name="T70" fmla="*/ 6426 w 8245"/>
                  <a:gd name="T71" fmla="*/ 1173 h 2864"/>
                  <a:gd name="T72" fmla="*/ 6661 w 8245"/>
                  <a:gd name="T73" fmla="*/ 1280 h 2864"/>
                  <a:gd name="T74" fmla="*/ 6879 w 8245"/>
                  <a:gd name="T75" fmla="*/ 1392 h 2864"/>
                  <a:gd name="T76" fmla="*/ 7083 w 8245"/>
                  <a:gd name="T77" fmla="*/ 1507 h 2864"/>
                  <a:gd name="T78" fmla="*/ 7270 w 8245"/>
                  <a:gd name="T79" fmla="*/ 1625 h 2864"/>
                  <a:gd name="T80" fmla="*/ 7440 w 8245"/>
                  <a:gd name="T81" fmla="*/ 1746 h 2864"/>
                  <a:gd name="T82" fmla="*/ 7594 w 8245"/>
                  <a:gd name="T83" fmla="*/ 1870 h 2864"/>
                  <a:gd name="T84" fmla="*/ 7729 w 8245"/>
                  <a:gd name="T85" fmla="*/ 1998 h 2864"/>
                  <a:gd name="T86" fmla="*/ 7845 w 8245"/>
                  <a:gd name="T87" fmla="*/ 2126 h 2864"/>
                  <a:gd name="T88" fmla="*/ 7943 w 8245"/>
                  <a:gd name="T89" fmla="*/ 2258 h 2864"/>
                  <a:gd name="T90" fmla="*/ 8022 w 8245"/>
                  <a:gd name="T91" fmla="*/ 2390 h 2864"/>
                  <a:gd name="T92" fmla="*/ 8082 w 8245"/>
                  <a:gd name="T93" fmla="*/ 2524 h 2864"/>
                  <a:gd name="T94" fmla="*/ 8122 w 8245"/>
                  <a:gd name="T95" fmla="*/ 2659 h 2864"/>
                  <a:gd name="T96" fmla="*/ 8142 w 8245"/>
                  <a:gd name="T97" fmla="*/ 2796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4">
                    <a:moveTo>
                      <a:pt x="8245" y="2864"/>
                    </a:moveTo>
                    <a:lnTo>
                      <a:pt x="8244" y="2826"/>
                    </a:lnTo>
                    <a:lnTo>
                      <a:pt x="8242" y="2788"/>
                    </a:lnTo>
                    <a:lnTo>
                      <a:pt x="8239" y="2750"/>
                    </a:lnTo>
                    <a:lnTo>
                      <a:pt x="8234" y="2712"/>
                    </a:lnTo>
                    <a:lnTo>
                      <a:pt x="8227" y="2675"/>
                    </a:lnTo>
                    <a:lnTo>
                      <a:pt x="8219" y="2637"/>
                    </a:lnTo>
                    <a:lnTo>
                      <a:pt x="8211" y="2600"/>
                    </a:lnTo>
                    <a:lnTo>
                      <a:pt x="8201" y="2563"/>
                    </a:lnTo>
                    <a:lnTo>
                      <a:pt x="8188" y="2526"/>
                    </a:lnTo>
                    <a:lnTo>
                      <a:pt x="8176" y="2488"/>
                    </a:lnTo>
                    <a:lnTo>
                      <a:pt x="8162" y="2452"/>
                    </a:lnTo>
                    <a:lnTo>
                      <a:pt x="8146" y="2416"/>
                    </a:lnTo>
                    <a:lnTo>
                      <a:pt x="8130" y="2380"/>
                    </a:lnTo>
                    <a:lnTo>
                      <a:pt x="8111" y="2343"/>
                    </a:lnTo>
                    <a:lnTo>
                      <a:pt x="8091" y="2307"/>
                    </a:lnTo>
                    <a:lnTo>
                      <a:pt x="8071" y="2272"/>
                    </a:lnTo>
                    <a:lnTo>
                      <a:pt x="8049" y="2236"/>
                    </a:lnTo>
                    <a:lnTo>
                      <a:pt x="8026" y="2201"/>
                    </a:lnTo>
                    <a:lnTo>
                      <a:pt x="8002" y="2166"/>
                    </a:lnTo>
                    <a:lnTo>
                      <a:pt x="7977" y="2131"/>
                    </a:lnTo>
                    <a:lnTo>
                      <a:pt x="7950" y="2096"/>
                    </a:lnTo>
                    <a:lnTo>
                      <a:pt x="7922" y="2062"/>
                    </a:lnTo>
                    <a:lnTo>
                      <a:pt x="7894" y="2028"/>
                    </a:lnTo>
                    <a:lnTo>
                      <a:pt x="7864" y="1994"/>
                    </a:lnTo>
                    <a:lnTo>
                      <a:pt x="7832" y="1960"/>
                    </a:lnTo>
                    <a:lnTo>
                      <a:pt x="7800" y="1926"/>
                    </a:lnTo>
                    <a:lnTo>
                      <a:pt x="7766" y="1893"/>
                    </a:lnTo>
                    <a:lnTo>
                      <a:pt x="7732" y="1860"/>
                    </a:lnTo>
                    <a:lnTo>
                      <a:pt x="7696" y="1828"/>
                    </a:lnTo>
                    <a:lnTo>
                      <a:pt x="7659" y="1795"/>
                    </a:lnTo>
                    <a:lnTo>
                      <a:pt x="7620" y="1763"/>
                    </a:lnTo>
                    <a:lnTo>
                      <a:pt x="7582" y="1730"/>
                    </a:lnTo>
                    <a:lnTo>
                      <a:pt x="7542" y="1699"/>
                    </a:lnTo>
                    <a:lnTo>
                      <a:pt x="7501" y="1667"/>
                    </a:lnTo>
                    <a:lnTo>
                      <a:pt x="7459" y="1635"/>
                    </a:lnTo>
                    <a:lnTo>
                      <a:pt x="7415" y="1603"/>
                    </a:lnTo>
                    <a:lnTo>
                      <a:pt x="7371" y="1572"/>
                    </a:lnTo>
                    <a:lnTo>
                      <a:pt x="7326" y="1542"/>
                    </a:lnTo>
                    <a:lnTo>
                      <a:pt x="7279" y="1511"/>
                    </a:lnTo>
                    <a:lnTo>
                      <a:pt x="7232" y="1481"/>
                    </a:lnTo>
                    <a:lnTo>
                      <a:pt x="7183" y="1450"/>
                    </a:lnTo>
                    <a:lnTo>
                      <a:pt x="7134" y="1420"/>
                    </a:lnTo>
                    <a:lnTo>
                      <a:pt x="7083" y="1391"/>
                    </a:lnTo>
                    <a:lnTo>
                      <a:pt x="7032" y="1361"/>
                    </a:lnTo>
                    <a:lnTo>
                      <a:pt x="6980" y="1332"/>
                    </a:lnTo>
                    <a:lnTo>
                      <a:pt x="6927" y="1303"/>
                    </a:lnTo>
                    <a:lnTo>
                      <a:pt x="6872" y="1275"/>
                    </a:lnTo>
                    <a:lnTo>
                      <a:pt x="6817" y="1246"/>
                    </a:lnTo>
                    <a:lnTo>
                      <a:pt x="6761" y="1218"/>
                    </a:lnTo>
                    <a:lnTo>
                      <a:pt x="6704" y="1190"/>
                    </a:lnTo>
                    <a:lnTo>
                      <a:pt x="6645" y="1162"/>
                    </a:lnTo>
                    <a:lnTo>
                      <a:pt x="6587" y="1136"/>
                    </a:lnTo>
                    <a:lnTo>
                      <a:pt x="6527" y="1108"/>
                    </a:lnTo>
                    <a:lnTo>
                      <a:pt x="6466" y="1081"/>
                    </a:lnTo>
                    <a:lnTo>
                      <a:pt x="6404" y="1055"/>
                    </a:lnTo>
                    <a:lnTo>
                      <a:pt x="6341" y="1028"/>
                    </a:lnTo>
                    <a:lnTo>
                      <a:pt x="6278" y="1002"/>
                    </a:lnTo>
                    <a:lnTo>
                      <a:pt x="6214" y="976"/>
                    </a:lnTo>
                    <a:lnTo>
                      <a:pt x="6149" y="950"/>
                    </a:lnTo>
                    <a:lnTo>
                      <a:pt x="6083" y="925"/>
                    </a:lnTo>
                    <a:lnTo>
                      <a:pt x="6016" y="901"/>
                    </a:lnTo>
                    <a:lnTo>
                      <a:pt x="5948" y="876"/>
                    </a:lnTo>
                    <a:lnTo>
                      <a:pt x="5880" y="851"/>
                    </a:lnTo>
                    <a:lnTo>
                      <a:pt x="5809" y="827"/>
                    </a:lnTo>
                    <a:lnTo>
                      <a:pt x="5739" y="803"/>
                    </a:lnTo>
                    <a:lnTo>
                      <a:pt x="5668" y="779"/>
                    </a:lnTo>
                    <a:lnTo>
                      <a:pt x="5596" y="757"/>
                    </a:lnTo>
                    <a:lnTo>
                      <a:pt x="5524" y="734"/>
                    </a:lnTo>
                    <a:lnTo>
                      <a:pt x="5376" y="688"/>
                    </a:lnTo>
                    <a:lnTo>
                      <a:pt x="5225" y="645"/>
                    </a:lnTo>
                    <a:lnTo>
                      <a:pt x="5072" y="602"/>
                    </a:lnTo>
                    <a:lnTo>
                      <a:pt x="4914" y="561"/>
                    </a:lnTo>
                    <a:lnTo>
                      <a:pt x="4754" y="521"/>
                    </a:lnTo>
                    <a:lnTo>
                      <a:pt x="4592" y="482"/>
                    </a:lnTo>
                    <a:lnTo>
                      <a:pt x="4426" y="444"/>
                    </a:lnTo>
                    <a:lnTo>
                      <a:pt x="4258" y="409"/>
                    </a:lnTo>
                    <a:lnTo>
                      <a:pt x="4087" y="374"/>
                    </a:lnTo>
                    <a:lnTo>
                      <a:pt x="3914" y="341"/>
                    </a:lnTo>
                    <a:lnTo>
                      <a:pt x="3738" y="309"/>
                    </a:lnTo>
                    <a:lnTo>
                      <a:pt x="3559" y="279"/>
                    </a:lnTo>
                    <a:lnTo>
                      <a:pt x="3379" y="250"/>
                    </a:lnTo>
                    <a:lnTo>
                      <a:pt x="3196" y="222"/>
                    </a:lnTo>
                    <a:lnTo>
                      <a:pt x="3010" y="196"/>
                    </a:lnTo>
                    <a:lnTo>
                      <a:pt x="2823" y="171"/>
                    </a:lnTo>
                    <a:lnTo>
                      <a:pt x="2633" y="148"/>
                    </a:lnTo>
                    <a:lnTo>
                      <a:pt x="2441" y="126"/>
                    </a:lnTo>
                    <a:lnTo>
                      <a:pt x="2246" y="107"/>
                    </a:lnTo>
                    <a:lnTo>
                      <a:pt x="2052" y="88"/>
                    </a:lnTo>
                    <a:lnTo>
                      <a:pt x="1854" y="72"/>
                    </a:lnTo>
                    <a:lnTo>
                      <a:pt x="1654" y="57"/>
                    </a:lnTo>
                    <a:lnTo>
                      <a:pt x="1453" y="44"/>
                    </a:lnTo>
                    <a:lnTo>
                      <a:pt x="1250" y="32"/>
                    </a:lnTo>
                    <a:lnTo>
                      <a:pt x="1045" y="23"/>
                    </a:lnTo>
                    <a:lnTo>
                      <a:pt x="838" y="15"/>
                    </a:lnTo>
                    <a:lnTo>
                      <a:pt x="631" y="8"/>
                    </a:lnTo>
                    <a:lnTo>
                      <a:pt x="422" y="3"/>
                    </a:lnTo>
                    <a:lnTo>
                      <a:pt x="212" y="0"/>
                    </a:lnTo>
                    <a:lnTo>
                      <a:pt x="0" y="0"/>
                    </a:lnTo>
                    <a:lnTo>
                      <a:pt x="0" y="100"/>
                    </a:lnTo>
                    <a:lnTo>
                      <a:pt x="211" y="102"/>
                    </a:lnTo>
                    <a:lnTo>
                      <a:pt x="420" y="104"/>
                    </a:lnTo>
                    <a:lnTo>
                      <a:pt x="628" y="108"/>
                    </a:lnTo>
                    <a:lnTo>
                      <a:pt x="835" y="115"/>
                    </a:lnTo>
                    <a:lnTo>
                      <a:pt x="1040" y="122"/>
                    </a:lnTo>
                    <a:lnTo>
                      <a:pt x="1245" y="133"/>
                    </a:lnTo>
                    <a:lnTo>
                      <a:pt x="1447" y="144"/>
                    </a:lnTo>
                    <a:lnTo>
                      <a:pt x="1648" y="157"/>
                    </a:lnTo>
                    <a:lnTo>
                      <a:pt x="1845" y="172"/>
                    </a:lnTo>
                    <a:lnTo>
                      <a:pt x="2042" y="188"/>
                    </a:lnTo>
                    <a:lnTo>
                      <a:pt x="2237" y="207"/>
                    </a:lnTo>
                    <a:lnTo>
                      <a:pt x="2431" y="227"/>
                    </a:lnTo>
                    <a:lnTo>
                      <a:pt x="2622" y="247"/>
                    </a:lnTo>
                    <a:lnTo>
                      <a:pt x="2810" y="270"/>
                    </a:lnTo>
                    <a:lnTo>
                      <a:pt x="2997" y="295"/>
                    </a:lnTo>
                    <a:lnTo>
                      <a:pt x="3181" y="321"/>
                    </a:lnTo>
                    <a:lnTo>
                      <a:pt x="3364" y="348"/>
                    </a:lnTo>
                    <a:lnTo>
                      <a:pt x="3543" y="377"/>
                    </a:lnTo>
                    <a:lnTo>
                      <a:pt x="3721" y="408"/>
                    </a:lnTo>
                    <a:lnTo>
                      <a:pt x="3895" y="439"/>
                    </a:lnTo>
                    <a:lnTo>
                      <a:pt x="4069" y="472"/>
                    </a:lnTo>
                    <a:lnTo>
                      <a:pt x="4238" y="506"/>
                    </a:lnTo>
                    <a:lnTo>
                      <a:pt x="4405" y="542"/>
                    </a:lnTo>
                    <a:lnTo>
                      <a:pt x="4570" y="580"/>
                    </a:lnTo>
                    <a:lnTo>
                      <a:pt x="4731" y="618"/>
                    </a:lnTo>
                    <a:lnTo>
                      <a:pt x="4890" y="658"/>
                    </a:lnTo>
                    <a:lnTo>
                      <a:pt x="5046" y="699"/>
                    </a:lnTo>
                    <a:lnTo>
                      <a:pt x="5198" y="741"/>
                    </a:lnTo>
                    <a:lnTo>
                      <a:pt x="5348" y="785"/>
                    </a:lnTo>
                    <a:lnTo>
                      <a:pt x="5494" y="829"/>
                    </a:lnTo>
                    <a:lnTo>
                      <a:pt x="5566" y="852"/>
                    </a:lnTo>
                    <a:lnTo>
                      <a:pt x="5637" y="875"/>
                    </a:lnTo>
                    <a:lnTo>
                      <a:pt x="5707" y="899"/>
                    </a:lnTo>
                    <a:lnTo>
                      <a:pt x="5778" y="922"/>
                    </a:lnTo>
                    <a:lnTo>
                      <a:pt x="5847" y="946"/>
                    </a:lnTo>
                    <a:lnTo>
                      <a:pt x="5915" y="970"/>
                    </a:lnTo>
                    <a:lnTo>
                      <a:pt x="5982" y="995"/>
                    </a:lnTo>
                    <a:lnTo>
                      <a:pt x="6048" y="1020"/>
                    </a:lnTo>
                    <a:lnTo>
                      <a:pt x="6113" y="1044"/>
                    </a:lnTo>
                    <a:lnTo>
                      <a:pt x="6177" y="1069"/>
                    </a:lnTo>
                    <a:lnTo>
                      <a:pt x="6241" y="1095"/>
                    </a:lnTo>
                    <a:lnTo>
                      <a:pt x="6304" y="1121"/>
                    </a:lnTo>
                    <a:lnTo>
                      <a:pt x="6365" y="1147"/>
                    </a:lnTo>
                    <a:lnTo>
                      <a:pt x="6426" y="1173"/>
                    </a:lnTo>
                    <a:lnTo>
                      <a:pt x="6487" y="1200"/>
                    </a:lnTo>
                    <a:lnTo>
                      <a:pt x="6545" y="1227"/>
                    </a:lnTo>
                    <a:lnTo>
                      <a:pt x="6603" y="1254"/>
                    </a:lnTo>
                    <a:lnTo>
                      <a:pt x="6661" y="1280"/>
                    </a:lnTo>
                    <a:lnTo>
                      <a:pt x="6716" y="1308"/>
                    </a:lnTo>
                    <a:lnTo>
                      <a:pt x="6772" y="1336"/>
                    </a:lnTo>
                    <a:lnTo>
                      <a:pt x="6827" y="1364"/>
                    </a:lnTo>
                    <a:lnTo>
                      <a:pt x="6879" y="1392"/>
                    </a:lnTo>
                    <a:lnTo>
                      <a:pt x="6932" y="1420"/>
                    </a:lnTo>
                    <a:lnTo>
                      <a:pt x="6983" y="1449"/>
                    </a:lnTo>
                    <a:lnTo>
                      <a:pt x="7034" y="1478"/>
                    </a:lnTo>
                    <a:lnTo>
                      <a:pt x="7083" y="1507"/>
                    </a:lnTo>
                    <a:lnTo>
                      <a:pt x="7132" y="1536"/>
                    </a:lnTo>
                    <a:lnTo>
                      <a:pt x="7178" y="1565"/>
                    </a:lnTo>
                    <a:lnTo>
                      <a:pt x="7225" y="1595"/>
                    </a:lnTo>
                    <a:lnTo>
                      <a:pt x="7270" y="1625"/>
                    </a:lnTo>
                    <a:lnTo>
                      <a:pt x="7314" y="1655"/>
                    </a:lnTo>
                    <a:lnTo>
                      <a:pt x="7358" y="1685"/>
                    </a:lnTo>
                    <a:lnTo>
                      <a:pt x="7400" y="1716"/>
                    </a:lnTo>
                    <a:lnTo>
                      <a:pt x="7440" y="1746"/>
                    </a:lnTo>
                    <a:lnTo>
                      <a:pt x="7480" y="1777"/>
                    </a:lnTo>
                    <a:lnTo>
                      <a:pt x="7519" y="1808"/>
                    </a:lnTo>
                    <a:lnTo>
                      <a:pt x="7557" y="1839"/>
                    </a:lnTo>
                    <a:lnTo>
                      <a:pt x="7594" y="1870"/>
                    </a:lnTo>
                    <a:lnTo>
                      <a:pt x="7629" y="1902"/>
                    </a:lnTo>
                    <a:lnTo>
                      <a:pt x="7664" y="1934"/>
                    </a:lnTo>
                    <a:lnTo>
                      <a:pt x="7697" y="1966"/>
                    </a:lnTo>
                    <a:lnTo>
                      <a:pt x="7729" y="1998"/>
                    </a:lnTo>
                    <a:lnTo>
                      <a:pt x="7760" y="2030"/>
                    </a:lnTo>
                    <a:lnTo>
                      <a:pt x="7789" y="2062"/>
                    </a:lnTo>
                    <a:lnTo>
                      <a:pt x="7818" y="2094"/>
                    </a:lnTo>
                    <a:lnTo>
                      <a:pt x="7845" y="2126"/>
                    </a:lnTo>
                    <a:lnTo>
                      <a:pt x="7872" y="2159"/>
                    </a:lnTo>
                    <a:lnTo>
                      <a:pt x="7897" y="2191"/>
                    </a:lnTo>
                    <a:lnTo>
                      <a:pt x="7920" y="2224"/>
                    </a:lnTo>
                    <a:lnTo>
                      <a:pt x="7943" y="2258"/>
                    </a:lnTo>
                    <a:lnTo>
                      <a:pt x="7966" y="2290"/>
                    </a:lnTo>
                    <a:lnTo>
                      <a:pt x="7985" y="2323"/>
                    </a:lnTo>
                    <a:lnTo>
                      <a:pt x="8005" y="2356"/>
                    </a:lnTo>
                    <a:lnTo>
                      <a:pt x="8022" y="2390"/>
                    </a:lnTo>
                    <a:lnTo>
                      <a:pt x="8039" y="2423"/>
                    </a:lnTo>
                    <a:lnTo>
                      <a:pt x="8055" y="2456"/>
                    </a:lnTo>
                    <a:lnTo>
                      <a:pt x="8069" y="2489"/>
                    </a:lnTo>
                    <a:lnTo>
                      <a:pt x="8082" y="2524"/>
                    </a:lnTo>
                    <a:lnTo>
                      <a:pt x="8095" y="2558"/>
                    </a:lnTo>
                    <a:lnTo>
                      <a:pt x="8105" y="2591"/>
                    </a:lnTo>
                    <a:lnTo>
                      <a:pt x="8114" y="2625"/>
                    </a:lnTo>
                    <a:lnTo>
                      <a:pt x="8122" y="2659"/>
                    </a:lnTo>
                    <a:lnTo>
                      <a:pt x="8130" y="2693"/>
                    </a:lnTo>
                    <a:lnTo>
                      <a:pt x="8135" y="2726"/>
                    </a:lnTo>
                    <a:lnTo>
                      <a:pt x="8139" y="2762"/>
                    </a:lnTo>
                    <a:lnTo>
                      <a:pt x="8142" y="2796"/>
                    </a:lnTo>
                    <a:lnTo>
                      <a:pt x="8144" y="2830"/>
                    </a:lnTo>
                    <a:lnTo>
                      <a:pt x="8145" y="2864"/>
                    </a:lnTo>
                    <a:lnTo>
                      <a:pt x="8245"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50" name="Freeform 91"/>
              <p:cNvSpPr>
                <a:spLocks/>
              </p:cNvSpPr>
              <p:nvPr>
                <p:custDataLst>
                  <p:tags r:id="rId193"/>
                </p:custDataLst>
              </p:nvPr>
            </p:nvSpPr>
            <p:spPr bwMode="auto">
              <a:xfrm>
                <a:off x="370" y="3472"/>
                <a:ext cx="714" cy="160"/>
              </a:xfrm>
              <a:custGeom>
                <a:avLst/>
                <a:gdLst>
                  <a:gd name="T0" fmla="*/ 0 w 16419"/>
                  <a:gd name="T1" fmla="*/ 0 h 4020"/>
                  <a:gd name="T2" fmla="*/ 0 w 16419"/>
                  <a:gd name="T3" fmla="*/ 4020 h 4020"/>
                  <a:gd name="T4" fmla="*/ 16415 w 16419"/>
                  <a:gd name="T5" fmla="*/ 4020 h 4020"/>
                  <a:gd name="T6" fmla="*/ 16419 w 16419"/>
                  <a:gd name="T7" fmla="*/ 2 h 4020"/>
                  <a:gd name="T8" fmla="*/ 0 w 16419"/>
                  <a:gd name="T9" fmla="*/ 0 h 4020"/>
                </a:gdLst>
                <a:ahLst/>
                <a:cxnLst>
                  <a:cxn ang="0">
                    <a:pos x="T0" y="T1"/>
                  </a:cxn>
                  <a:cxn ang="0">
                    <a:pos x="T2" y="T3"/>
                  </a:cxn>
                  <a:cxn ang="0">
                    <a:pos x="T4" y="T5"/>
                  </a:cxn>
                  <a:cxn ang="0">
                    <a:pos x="T6" y="T7"/>
                  </a:cxn>
                  <a:cxn ang="0">
                    <a:pos x="T8" y="T9"/>
                  </a:cxn>
                </a:cxnLst>
                <a:rect l="0" t="0" r="r" b="b"/>
                <a:pathLst>
                  <a:path w="16419" h="4020">
                    <a:moveTo>
                      <a:pt x="0" y="0"/>
                    </a:moveTo>
                    <a:lnTo>
                      <a:pt x="0" y="4020"/>
                    </a:lnTo>
                    <a:lnTo>
                      <a:pt x="16415" y="4020"/>
                    </a:lnTo>
                    <a:lnTo>
                      <a:pt x="16419" y="2"/>
                    </a:lnTo>
                    <a:lnTo>
                      <a:pt x="0" y="0"/>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51" name="Freeform 92"/>
              <p:cNvSpPr>
                <a:spLocks/>
              </p:cNvSpPr>
              <p:nvPr>
                <p:custDataLst>
                  <p:tags r:id="rId194"/>
                </p:custDataLst>
              </p:nvPr>
            </p:nvSpPr>
            <p:spPr bwMode="auto">
              <a:xfrm>
                <a:off x="371" y="3356"/>
                <a:ext cx="713" cy="225"/>
              </a:xfrm>
              <a:custGeom>
                <a:avLst/>
                <a:gdLst>
                  <a:gd name="T0" fmla="*/ 16347 w 16389"/>
                  <a:gd name="T1" fmla="*/ 3102 h 5628"/>
                  <a:gd name="T2" fmla="*/ 16132 w 16389"/>
                  <a:gd name="T3" fmla="*/ 3517 h 5628"/>
                  <a:gd name="T4" fmla="*/ 15745 w 16389"/>
                  <a:gd name="T5" fmla="*/ 3909 h 5628"/>
                  <a:gd name="T6" fmla="*/ 15203 w 16389"/>
                  <a:gd name="T7" fmla="*/ 4272 h 5628"/>
                  <a:gd name="T8" fmla="*/ 14518 w 16389"/>
                  <a:gd name="T9" fmla="*/ 4604 h 5628"/>
                  <a:gd name="T10" fmla="*/ 13704 w 16389"/>
                  <a:gd name="T11" fmla="*/ 4896 h 5628"/>
                  <a:gd name="T12" fmla="*/ 12776 w 16389"/>
                  <a:gd name="T13" fmla="*/ 5147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7 h 5628"/>
                  <a:gd name="T30" fmla="*/ 2685 w 16389"/>
                  <a:gd name="T31" fmla="*/ 4896 h 5628"/>
                  <a:gd name="T32" fmla="*/ 1871 w 16389"/>
                  <a:gd name="T33" fmla="*/ 4604 h 5628"/>
                  <a:gd name="T34" fmla="*/ 1186 w 16389"/>
                  <a:gd name="T35" fmla="*/ 4272 h 5628"/>
                  <a:gd name="T36" fmla="*/ 644 w 16389"/>
                  <a:gd name="T37" fmla="*/ 3909 h 5628"/>
                  <a:gd name="T38" fmla="*/ 257 w 16389"/>
                  <a:gd name="T39" fmla="*/ 3517 h 5628"/>
                  <a:gd name="T40" fmla="*/ 42 w 16389"/>
                  <a:gd name="T41" fmla="*/ 3102 h 5628"/>
                  <a:gd name="T42" fmla="*/ 10 w 16389"/>
                  <a:gd name="T43" fmla="*/ 2669 h 5628"/>
                  <a:gd name="T44" fmla="*/ 165 w 16389"/>
                  <a:gd name="T45" fmla="*/ 2247 h 5628"/>
                  <a:gd name="T46" fmla="*/ 496 w 16389"/>
                  <a:gd name="T47" fmla="*/ 1846 h 5628"/>
                  <a:gd name="T48" fmla="*/ 989 w 16389"/>
                  <a:gd name="T49" fmla="*/ 1473 h 5628"/>
                  <a:gd name="T50" fmla="*/ 1628 w 16389"/>
                  <a:gd name="T51" fmla="*/ 1130 h 5628"/>
                  <a:gd name="T52" fmla="*/ 2400 w 16389"/>
                  <a:gd name="T53" fmla="*/ 824 h 5628"/>
                  <a:gd name="T54" fmla="*/ 3292 w 16389"/>
                  <a:gd name="T55" fmla="*/ 559 h 5628"/>
                  <a:gd name="T56" fmla="*/ 4289 w 16389"/>
                  <a:gd name="T57" fmla="*/ 339 h 5628"/>
                  <a:gd name="T58" fmla="*/ 5378 w 16389"/>
                  <a:gd name="T59" fmla="*/ 170 h 5628"/>
                  <a:gd name="T60" fmla="*/ 6543 w 16389"/>
                  <a:gd name="T61" fmla="*/ 57 h 5628"/>
                  <a:gd name="T62" fmla="*/ 7773 w 16389"/>
                  <a:gd name="T63" fmla="*/ 3 h 5628"/>
                  <a:gd name="T64" fmla="*/ 9032 w 16389"/>
                  <a:gd name="T65" fmla="*/ 14 h 5628"/>
                  <a:gd name="T66" fmla="*/ 10241 w 16389"/>
                  <a:gd name="T67" fmla="*/ 88 h 5628"/>
                  <a:gd name="T68" fmla="*/ 11383 w 16389"/>
                  <a:gd name="T69" fmla="*/ 220 h 5628"/>
                  <a:gd name="T70" fmla="*/ 12443 w 16389"/>
                  <a:gd name="T71" fmla="*/ 406 h 5628"/>
                  <a:gd name="T72" fmla="*/ 13407 w 16389"/>
                  <a:gd name="T73" fmla="*/ 642 h 5628"/>
                  <a:gd name="T74" fmla="*/ 14260 w 16389"/>
                  <a:gd name="T75" fmla="*/ 922 h 5628"/>
                  <a:gd name="T76" fmla="*/ 14990 w 16389"/>
                  <a:gd name="T77" fmla="*/ 1241 h 5628"/>
                  <a:gd name="T78" fmla="*/ 15581 w 16389"/>
                  <a:gd name="T79" fmla="*/ 1594 h 5628"/>
                  <a:gd name="T80" fmla="*/ 16022 w 16389"/>
                  <a:gd name="T81" fmla="*/ 1977 h 5628"/>
                  <a:gd name="T82" fmla="*/ 16296 w 16389"/>
                  <a:gd name="T83" fmla="*/ 2385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2"/>
                    </a:lnTo>
                    <a:lnTo>
                      <a:pt x="16224" y="3381"/>
                    </a:lnTo>
                    <a:lnTo>
                      <a:pt x="16132" y="3517"/>
                    </a:lnTo>
                    <a:lnTo>
                      <a:pt x="16022" y="3650"/>
                    </a:lnTo>
                    <a:lnTo>
                      <a:pt x="15893" y="3781"/>
                    </a:lnTo>
                    <a:lnTo>
                      <a:pt x="15745" y="3909"/>
                    </a:lnTo>
                    <a:lnTo>
                      <a:pt x="15581" y="4033"/>
                    </a:lnTo>
                    <a:lnTo>
                      <a:pt x="15400" y="4155"/>
                    </a:lnTo>
                    <a:lnTo>
                      <a:pt x="15203" y="4272"/>
                    </a:lnTo>
                    <a:lnTo>
                      <a:pt x="14990" y="4387"/>
                    </a:lnTo>
                    <a:lnTo>
                      <a:pt x="14761" y="4497"/>
                    </a:lnTo>
                    <a:lnTo>
                      <a:pt x="14518" y="4604"/>
                    </a:lnTo>
                    <a:lnTo>
                      <a:pt x="14260" y="4706"/>
                    </a:lnTo>
                    <a:lnTo>
                      <a:pt x="13989" y="4803"/>
                    </a:lnTo>
                    <a:lnTo>
                      <a:pt x="13704" y="4896"/>
                    </a:lnTo>
                    <a:lnTo>
                      <a:pt x="13407" y="4985"/>
                    </a:lnTo>
                    <a:lnTo>
                      <a:pt x="13096" y="5069"/>
                    </a:lnTo>
                    <a:lnTo>
                      <a:pt x="12776" y="5147"/>
                    </a:lnTo>
                    <a:lnTo>
                      <a:pt x="12443" y="5220"/>
                    </a:lnTo>
                    <a:lnTo>
                      <a:pt x="12100" y="5289"/>
                    </a:lnTo>
                    <a:lnTo>
                      <a:pt x="11746" y="5351"/>
                    </a:lnTo>
                    <a:lnTo>
                      <a:pt x="11383" y="5407"/>
                    </a:lnTo>
                    <a:lnTo>
                      <a:pt x="11011" y="5457"/>
                    </a:lnTo>
                    <a:lnTo>
                      <a:pt x="10631" y="5502"/>
                    </a:lnTo>
                    <a:lnTo>
                      <a:pt x="10241" y="5539"/>
                    </a:lnTo>
                    <a:lnTo>
                      <a:pt x="9846" y="5571"/>
                    </a:lnTo>
                    <a:lnTo>
                      <a:pt x="9442" y="5596"/>
                    </a:lnTo>
                    <a:lnTo>
                      <a:pt x="9032" y="5614"/>
                    </a:lnTo>
                    <a:lnTo>
                      <a:pt x="8616" y="5624"/>
                    </a:lnTo>
                    <a:lnTo>
                      <a:pt x="8195" y="5628"/>
                    </a:lnTo>
                    <a:lnTo>
                      <a:pt x="7773" y="5624"/>
                    </a:lnTo>
                    <a:lnTo>
                      <a:pt x="7357" y="5614"/>
                    </a:lnTo>
                    <a:lnTo>
                      <a:pt x="6947" y="5596"/>
                    </a:lnTo>
                    <a:lnTo>
                      <a:pt x="6543" y="5571"/>
                    </a:lnTo>
                    <a:lnTo>
                      <a:pt x="6148" y="5539"/>
                    </a:lnTo>
                    <a:lnTo>
                      <a:pt x="5758" y="5502"/>
                    </a:lnTo>
                    <a:lnTo>
                      <a:pt x="5378" y="5457"/>
                    </a:lnTo>
                    <a:lnTo>
                      <a:pt x="5006" y="5407"/>
                    </a:lnTo>
                    <a:lnTo>
                      <a:pt x="4643" y="5351"/>
                    </a:lnTo>
                    <a:lnTo>
                      <a:pt x="4289" y="5289"/>
                    </a:lnTo>
                    <a:lnTo>
                      <a:pt x="3946" y="5220"/>
                    </a:lnTo>
                    <a:lnTo>
                      <a:pt x="3613" y="5147"/>
                    </a:lnTo>
                    <a:lnTo>
                      <a:pt x="3292" y="5069"/>
                    </a:lnTo>
                    <a:lnTo>
                      <a:pt x="2982" y="4985"/>
                    </a:lnTo>
                    <a:lnTo>
                      <a:pt x="2685" y="4896"/>
                    </a:lnTo>
                    <a:lnTo>
                      <a:pt x="2400" y="4803"/>
                    </a:lnTo>
                    <a:lnTo>
                      <a:pt x="2129" y="4706"/>
                    </a:lnTo>
                    <a:lnTo>
                      <a:pt x="1871" y="4604"/>
                    </a:lnTo>
                    <a:lnTo>
                      <a:pt x="1628" y="4497"/>
                    </a:lnTo>
                    <a:lnTo>
                      <a:pt x="1399" y="4387"/>
                    </a:lnTo>
                    <a:lnTo>
                      <a:pt x="1186" y="4272"/>
                    </a:lnTo>
                    <a:lnTo>
                      <a:pt x="989" y="4155"/>
                    </a:lnTo>
                    <a:lnTo>
                      <a:pt x="808" y="4033"/>
                    </a:lnTo>
                    <a:lnTo>
                      <a:pt x="644" y="3909"/>
                    </a:lnTo>
                    <a:lnTo>
                      <a:pt x="496" y="3781"/>
                    </a:lnTo>
                    <a:lnTo>
                      <a:pt x="367" y="3650"/>
                    </a:lnTo>
                    <a:lnTo>
                      <a:pt x="257" y="3517"/>
                    </a:lnTo>
                    <a:lnTo>
                      <a:pt x="165" y="3381"/>
                    </a:lnTo>
                    <a:lnTo>
                      <a:pt x="93" y="3242"/>
                    </a:lnTo>
                    <a:lnTo>
                      <a:pt x="42" y="3102"/>
                    </a:lnTo>
                    <a:lnTo>
                      <a:pt x="10" y="2959"/>
                    </a:lnTo>
                    <a:lnTo>
                      <a:pt x="0" y="2814"/>
                    </a:lnTo>
                    <a:lnTo>
                      <a:pt x="10" y="2669"/>
                    </a:lnTo>
                    <a:lnTo>
                      <a:pt x="42" y="2526"/>
                    </a:lnTo>
                    <a:lnTo>
                      <a:pt x="93" y="2385"/>
                    </a:lnTo>
                    <a:lnTo>
                      <a:pt x="165" y="2247"/>
                    </a:lnTo>
                    <a:lnTo>
                      <a:pt x="257" y="2111"/>
                    </a:lnTo>
                    <a:lnTo>
                      <a:pt x="367" y="1977"/>
                    </a:lnTo>
                    <a:lnTo>
                      <a:pt x="496" y="1846"/>
                    </a:lnTo>
                    <a:lnTo>
                      <a:pt x="644" y="1719"/>
                    </a:lnTo>
                    <a:lnTo>
                      <a:pt x="808" y="1594"/>
                    </a:lnTo>
                    <a:lnTo>
                      <a:pt x="989" y="1473"/>
                    </a:lnTo>
                    <a:lnTo>
                      <a:pt x="1186" y="1355"/>
                    </a:lnTo>
                    <a:lnTo>
                      <a:pt x="1399" y="1241"/>
                    </a:lnTo>
                    <a:lnTo>
                      <a:pt x="1628" y="1130"/>
                    </a:lnTo>
                    <a:lnTo>
                      <a:pt x="1871" y="1023"/>
                    </a:lnTo>
                    <a:lnTo>
                      <a:pt x="2129" y="922"/>
                    </a:lnTo>
                    <a:lnTo>
                      <a:pt x="2400" y="824"/>
                    </a:lnTo>
                    <a:lnTo>
                      <a:pt x="2685" y="730"/>
                    </a:lnTo>
                    <a:lnTo>
                      <a:pt x="2982" y="642"/>
                    </a:lnTo>
                    <a:lnTo>
                      <a:pt x="3292" y="559"/>
                    </a:lnTo>
                    <a:lnTo>
                      <a:pt x="3613" y="480"/>
                    </a:lnTo>
                    <a:lnTo>
                      <a:pt x="3946" y="406"/>
                    </a:lnTo>
                    <a:lnTo>
                      <a:pt x="4289" y="339"/>
                    </a:lnTo>
                    <a:lnTo>
                      <a:pt x="4643" y="277"/>
                    </a:lnTo>
                    <a:lnTo>
                      <a:pt x="5006" y="220"/>
                    </a:lnTo>
                    <a:lnTo>
                      <a:pt x="5378" y="170"/>
                    </a:lnTo>
                    <a:lnTo>
                      <a:pt x="5758" y="126"/>
                    </a:lnTo>
                    <a:lnTo>
                      <a:pt x="6148" y="88"/>
                    </a:lnTo>
                    <a:lnTo>
                      <a:pt x="6543" y="57"/>
                    </a:lnTo>
                    <a:lnTo>
                      <a:pt x="6947" y="32"/>
                    </a:lnTo>
                    <a:lnTo>
                      <a:pt x="7357" y="14"/>
                    </a:lnTo>
                    <a:lnTo>
                      <a:pt x="7773" y="3"/>
                    </a:lnTo>
                    <a:lnTo>
                      <a:pt x="8195" y="0"/>
                    </a:lnTo>
                    <a:lnTo>
                      <a:pt x="8616" y="3"/>
                    </a:lnTo>
                    <a:lnTo>
                      <a:pt x="9032" y="14"/>
                    </a:lnTo>
                    <a:lnTo>
                      <a:pt x="9442" y="32"/>
                    </a:lnTo>
                    <a:lnTo>
                      <a:pt x="9846" y="57"/>
                    </a:lnTo>
                    <a:lnTo>
                      <a:pt x="10241" y="88"/>
                    </a:lnTo>
                    <a:lnTo>
                      <a:pt x="10631" y="126"/>
                    </a:lnTo>
                    <a:lnTo>
                      <a:pt x="11011" y="170"/>
                    </a:lnTo>
                    <a:lnTo>
                      <a:pt x="11383" y="220"/>
                    </a:lnTo>
                    <a:lnTo>
                      <a:pt x="11746" y="277"/>
                    </a:lnTo>
                    <a:lnTo>
                      <a:pt x="12100" y="339"/>
                    </a:lnTo>
                    <a:lnTo>
                      <a:pt x="12443" y="406"/>
                    </a:lnTo>
                    <a:lnTo>
                      <a:pt x="12776" y="480"/>
                    </a:lnTo>
                    <a:lnTo>
                      <a:pt x="13096" y="559"/>
                    </a:lnTo>
                    <a:lnTo>
                      <a:pt x="13407" y="642"/>
                    </a:lnTo>
                    <a:lnTo>
                      <a:pt x="13704" y="730"/>
                    </a:lnTo>
                    <a:lnTo>
                      <a:pt x="13989" y="824"/>
                    </a:lnTo>
                    <a:lnTo>
                      <a:pt x="14260" y="922"/>
                    </a:lnTo>
                    <a:lnTo>
                      <a:pt x="14518" y="1023"/>
                    </a:lnTo>
                    <a:lnTo>
                      <a:pt x="14761" y="1130"/>
                    </a:lnTo>
                    <a:lnTo>
                      <a:pt x="14990" y="1241"/>
                    </a:lnTo>
                    <a:lnTo>
                      <a:pt x="15203" y="1355"/>
                    </a:lnTo>
                    <a:lnTo>
                      <a:pt x="15400" y="1473"/>
                    </a:lnTo>
                    <a:lnTo>
                      <a:pt x="15581" y="1594"/>
                    </a:lnTo>
                    <a:lnTo>
                      <a:pt x="15745" y="1719"/>
                    </a:lnTo>
                    <a:lnTo>
                      <a:pt x="15893" y="1846"/>
                    </a:lnTo>
                    <a:lnTo>
                      <a:pt x="16022" y="1977"/>
                    </a:lnTo>
                    <a:lnTo>
                      <a:pt x="16132" y="2111"/>
                    </a:lnTo>
                    <a:lnTo>
                      <a:pt x="16224" y="2247"/>
                    </a:lnTo>
                    <a:lnTo>
                      <a:pt x="16296" y="2385"/>
                    </a:lnTo>
                    <a:lnTo>
                      <a:pt x="16347" y="2526"/>
                    </a:lnTo>
                    <a:lnTo>
                      <a:pt x="16379" y="2669"/>
                    </a:lnTo>
                    <a:lnTo>
                      <a:pt x="16389" y="2814"/>
                    </a:lnTo>
                    <a:close/>
                  </a:path>
                </a:pathLst>
              </a:custGeom>
              <a:solidFill>
                <a:srgbClr val="B8CAD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52" name="Freeform 93"/>
              <p:cNvSpPr>
                <a:spLocks/>
              </p:cNvSpPr>
              <p:nvPr>
                <p:custDataLst>
                  <p:tags r:id="rId195"/>
                </p:custDataLst>
              </p:nvPr>
            </p:nvSpPr>
            <p:spPr bwMode="auto">
              <a:xfrm>
                <a:off x="725" y="3469"/>
                <a:ext cx="361" cy="114"/>
              </a:xfrm>
              <a:custGeom>
                <a:avLst/>
                <a:gdLst>
                  <a:gd name="T0" fmla="*/ 472 w 8295"/>
                  <a:gd name="T1" fmla="*/ 2861 h 2864"/>
                  <a:gd name="T2" fmla="*/ 1300 w 8295"/>
                  <a:gd name="T3" fmla="*/ 2832 h 2864"/>
                  <a:gd name="T4" fmla="*/ 2102 w 8295"/>
                  <a:gd name="T5" fmla="*/ 2776 h 2864"/>
                  <a:gd name="T6" fmla="*/ 2873 w 8295"/>
                  <a:gd name="T7" fmla="*/ 2693 h 2864"/>
                  <a:gd name="T8" fmla="*/ 3609 w 8295"/>
                  <a:gd name="T9" fmla="*/ 2587 h 2864"/>
                  <a:gd name="T10" fmla="*/ 4308 w 8295"/>
                  <a:gd name="T11" fmla="*/ 2456 h 2864"/>
                  <a:gd name="T12" fmla="*/ 4964 w 8295"/>
                  <a:gd name="T13" fmla="*/ 2304 h 2864"/>
                  <a:gd name="T14" fmla="*/ 5426 w 8295"/>
                  <a:gd name="T15" fmla="*/ 2176 h 2864"/>
                  <a:gd name="T16" fmla="*/ 5718 w 8295"/>
                  <a:gd name="T17" fmla="*/ 2085 h 2864"/>
                  <a:gd name="T18" fmla="*/ 5998 w 8295"/>
                  <a:gd name="T19" fmla="*/ 1988 h 2864"/>
                  <a:gd name="T20" fmla="*/ 6264 w 8295"/>
                  <a:gd name="T21" fmla="*/ 1888 h 2864"/>
                  <a:gd name="T22" fmla="*/ 6516 w 8295"/>
                  <a:gd name="T23" fmla="*/ 1783 h 2864"/>
                  <a:gd name="T24" fmla="*/ 6754 w 8295"/>
                  <a:gd name="T25" fmla="*/ 1674 h 2864"/>
                  <a:gd name="T26" fmla="*/ 6977 w 8295"/>
                  <a:gd name="T27" fmla="*/ 1561 h 2864"/>
                  <a:gd name="T28" fmla="*/ 7184 w 8295"/>
                  <a:gd name="T29" fmla="*/ 1444 h 2864"/>
                  <a:gd name="T30" fmla="*/ 7376 w 8295"/>
                  <a:gd name="T31" fmla="*/ 1323 h 2864"/>
                  <a:gd name="T32" fmla="*/ 7551 w 8295"/>
                  <a:gd name="T33" fmla="*/ 1198 h 2864"/>
                  <a:gd name="T34" fmla="*/ 7709 w 8295"/>
                  <a:gd name="T35" fmla="*/ 1069 h 2864"/>
                  <a:gd name="T36" fmla="*/ 7850 w 8295"/>
                  <a:gd name="T37" fmla="*/ 938 h 2864"/>
                  <a:gd name="T38" fmla="*/ 7972 w 8295"/>
                  <a:gd name="T39" fmla="*/ 802 h 2864"/>
                  <a:gd name="T40" fmla="*/ 8076 w 8295"/>
                  <a:gd name="T41" fmla="*/ 663 h 2864"/>
                  <a:gd name="T42" fmla="*/ 8161 w 8295"/>
                  <a:gd name="T43" fmla="*/ 521 h 2864"/>
                  <a:gd name="T44" fmla="*/ 8226 w 8295"/>
                  <a:gd name="T45" fmla="*/ 376 h 2864"/>
                  <a:gd name="T46" fmla="*/ 8269 w 8295"/>
                  <a:gd name="T47" fmla="*/ 227 h 2864"/>
                  <a:gd name="T48" fmla="*/ 8292 w 8295"/>
                  <a:gd name="T49" fmla="*/ 76 h 2864"/>
                  <a:gd name="T50" fmla="*/ 8194 w 8295"/>
                  <a:gd name="T51" fmla="*/ 34 h 2864"/>
                  <a:gd name="T52" fmla="*/ 8180 w 8295"/>
                  <a:gd name="T53" fmla="*/ 172 h 2864"/>
                  <a:gd name="T54" fmla="*/ 8145 w 8295"/>
                  <a:gd name="T55" fmla="*/ 307 h 2864"/>
                  <a:gd name="T56" fmla="*/ 8089 w 8295"/>
                  <a:gd name="T57" fmla="*/ 441 h 2864"/>
                  <a:gd name="T58" fmla="*/ 8016 w 8295"/>
                  <a:gd name="T59" fmla="*/ 574 h 2864"/>
                  <a:gd name="T60" fmla="*/ 7922 w 8295"/>
                  <a:gd name="T61" fmla="*/ 706 h 2864"/>
                  <a:gd name="T62" fmla="*/ 7810 w 8295"/>
                  <a:gd name="T63" fmla="*/ 835 h 2864"/>
                  <a:gd name="T64" fmla="*/ 7679 w 8295"/>
                  <a:gd name="T65" fmla="*/ 963 h 2864"/>
                  <a:gd name="T66" fmla="*/ 7530 w 8295"/>
                  <a:gd name="T67" fmla="*/ 1087 h 2864"/>
                  <a:gd name="T68" fmla="*/ 7364 w 8295"/>
                  <a:gd name="T69" fmla="*/ 1209 h 2864"/>
                  <a:gd name="T70" fmla="*/ 7182 w 8295"/>
                  <a:gd name="T71" fmla="*/ 1328 h 2864"/>
                  <a:gd name="T72" fmla="*/ 6982 w 8295"/>
                  <a:gd name="T73" fmla="*/ 1444 h 2864"/>
                  <a:gd name="T74" fmla="*/ 6766 w 8295"/>
                  <a:gd name="T75" fmla="*/ 1556 h 2864"/>
                  <a:gd name="T76" fmla="*/ 6537 w 8295"/>
                  <a:gd name="T77" fmla="*/ 1664 h 2864"/>
                  <a:gd name="T78" fmla="*/ 6290 w 8295"/>
                  <a:gd name="T79" fmla="*/ 1769 h 2864"/>
                  <a:gd name="T80" fmla="*/ 6032 w 8295"/>
                  <a:gd name="T81" fmla="*/ 1869 h 2864"/>
                  <a:gd name="T82" fmla="*/ 5757 w 8295"/>
                  <a:gd name="T83" fmla="*/ 1965 h 2864"/>
                  <a:gd name="T84" fmla="*/ 5471 w 8295"/>
                  <a:gd name="T85" fmla="*/ 2058 h 2864"/>
                  <a:gd name="T86" fmla="*/ 5096 w 8295"/>
                  <a:gd name="T87" fmla="*/ 2165 h 2864"/>
                  <a:gd name="T88" fmla="*/ 4455 w 8295"/>
                  <a:gd name="T89" fmla="*/ 2322 h 2864"/>
                  <a:gd name="T90" fmla="*/ 3771 w 8295"/>
                  <a:gd name="T91" fmla="*/ 2457 h 2864"/>
                  <a:gd name="T92" fmla="*/ 3047 w 8295"/>
                  <a:gd name="T93" fmla="*/ 2569 h 2864"/>
                  <a:gd name="T94" fmla="*/ 2287 w 8295"/>
                  <a:gd name="T95" fmla="*/ 2658 h 2864"/>
                  <a:gd name="T96" fmla="*/ 1497 w 8295"/>
                  <a:gd name="T97" fmla="*/ 2720 h 2864"/>
                  <a:gd name="T98" fmla="*/ 678 w 8295"/>
                  <a:gd name="T99" fmla="*/ 2756 h 2864"/>
                  <a:gd name="T100" fmla="*/ 50 w 8295"/>
                  <a:gd name="T101" fmla="*/ 2764 h 2864"/>
                  <a:gd name="T102" fmla="*/ 33 w 8295"/>
                  <a:gd name="T103" fmla="*/ 2767 h 2864"/>
                  <a:gd name="T104" fmla="*/ 15 w 8295"/>
                  <a:gd name="T105" fmla="*/ 2776 h 2864"/>
                  <a:gd name="T106" fmla="*/ 0 w 8295"/>
                  <a:gd name="T107" fmla="*/ 2805 h 2864"/>
                  <a:gd name="T108" fmla="*/ 6 w 8295"/>
                  <a:gd name="T109" fmla="*/ 2841 h 2864"/>
                  <a:gd name="T110" fmla="*/ 23 w 8295"/>
                  <a:gd name="T111" fmla="*/ 2858 h 2864"/>
                  <a:gd name="T112" fmla="*/ 43 w 8295"/>
                  <a:gd name="T113" fmla="*/ 2864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4">
                    <a:moveTo>
                      <a:pt x="50" y="2864"/>
                    </a:moveTo>
                    <a:lnTo>
                      <a:pt x="50" y="2864"/>
                    </a:lnTo>
                    <a:lnTo>
                      <a:pt x="262" y="2864"/>
                    </a:lnTo>
                    <a:lnTo>
                      <a:pt x="472" y="2861"/>
                    </a:lnTo>
                    <a:lnTo>
                      <a:pt x="681" y="2856"/>
                    </a:lnTo>
                    <a:lnTo>
                      <a:pt x="888" y="2849"/>
                    </a:lnTo>
                    <a:lnTo>
                      <a:pt x="1095" y="2841"/>
                    </a:lnTo>
                    <a:lnTo>
                      <a:pt x="1300" y="2832"/>
                    </a:lnTo>
                    <a:lnTo>
                      <a:pt x="1503" y="2820"/>
                    </a:lnTo>
                    <a:lnTo>
                      <a:pt x="1704" y="2807"/>
                    </a:lnTo>
                    <a:lnTo>
                      <a:pt x="1904" y="2792"/>
                    </a:lnTo>
                    <a:lnTo>
                      <a:pt x="2102" y="2776"/>
                    </a:lnTo>
                    <a:lnTo>
                      <a:pt x="2296" y="2757"/>
                    </a:lnTo>
                    <a:lnTo>
                      <a:pt x="2491" y="2738"/>
                    </a:lnTo>
                    <a:lnTo>
                      <a:pt x="2683" y="2716"/>
                    </a:lnTo>
                    <a:lnTo>
                      <a:pt x="2873" y="2693"/>
                    </a:lnTo>
                    <a:lnTo>
                      <a:pt x="3060" y="2668"/>
                    </a:lnTo>
                    <a:lnTo>
                      <a:pt x="3246" y="2642"/>
                    </a:lnTo>
                    <a:lnTo>
                      <a:pt x="3429" y="2615"/>
                    </a:lnTo>
                    <a:lnTo>
                      <a:pt x="3609" y="2587"/>
                    </a:lnTo>
                    <a:lnTo>
                      <a:pt x="3788" y="2555"/>
                    </a:lnTo>
                    <a:lnTo>
                      <a:pt x="3964" y="2523"/>
                    </a:lnTo>
                    <a:lnTo>
                      <a:pt x="4137" y="2490"/>
                    </a:lnTo>
                    <a:lnTo>
                      <a:pt x="4308" y="2456"/>
                    </a:lnTo>
                    <a:lnTo>
                      <a:pt x="4476" y="2420"/>
                    </a:lnTo>
                    <a:lnTo>
                      <a:pt x="4642" y="2383"/>
                    </a:lnTo>
                    <a:lnTo>
                      <a:pt x="4804" y="2343"/>
                    </a:lnTo>
                    <a:lnTo>
                      <a:pt x="4964" y="2304"/>
                    </a:lnTo>
                    <a:lnTo>
                      <a:pt x="5122" y="2263"/>
                    </a:lnTo>
                    <a:lnTo>
                      <a:pt x="5275" y="2219"/>
                    </a:lnTo>
                    <a:lnTo>
                      <a:pt x="5351" y="2197"/>
                    </a:lnTo>
                    <a:lnTo>
                      <a:pt x="5426" y="2176"/>
                    </a:lnTo>
                    <a:lnTo>
                      <a:pt x="5500" y="2153"/>
                    </a:lnTo>
                    <a:lnTo>
                      <a:pt x="5574" y="2131"/>
                    </a:lnTo>
                    <a:lnTo>
                      <a:pt x="5646" y="2107"/>
                    </a:lnTo>
                    <a:lnTo>
                      <a:pt x="5718" y="2085"/>
                    </a:lnTo>
                    <a:lnTo>
                      <a:pt x="5789" y="2061"/>
                    </a:lnTo>
                    <a:lnTo>
                      <a:pt x="5859" y="2037"/>
                    </a:lnTo>
                    <a:lnTo>
                      <a:pt x="5930" y="2013"/>
                    </a:lnTo>
                    <a:lnTo>
                      <a:pt x="5998" y="1988"/>
                    </a:lnTo>
                    <a:lnTo>
                      <a:pt x="6066" y="1963"/>
                    </a:lnTo>
                    <a:lnTo>
                      <a:pt x="6133" y="1939"/>
                    </a:lnTo>
                    <a:lnTo>
                      <a:pt x="6199" y="1914"/>
                    </a:lnTo>
                    <a:lnTo>
                      <a:pt x="6264" y="1888"/>
                    </a:lnTo>
                    <a:lnTo>
                      <a:pt x="6328" y="1862"/>
                    </a:lnTo>
                    <a:lnTo>
                      <a:pt x="6391" y="1836"/>
                    </a:lnTo>
                    <a:lnTo>
                      <a:pt x="6454" y="1809"/>
                    </a:lnTo>
                    <a:lnTo>
                      <a:pt x="6516" y="1783"/>
                    </a:lnTo>
                    <a:lnTo>
                      <a:pt x="6577" y="1756"/>
                    </a:lnTo>
                    <a:lnTo>
                      <a:pt x="6637" y="1728"/>
                    </a:lnTo>
                    <a:lnTo>
                      <a:pt x="6695" y="1702"/>
                    </a:lnTo>
                    <a:lnTo>
                      <a:pt x="6754" y="1674"/>
                    </a:lnTo>
                    <a:lnTo>
                      <a:pt x="6811" y="1646"/>
                    </a:lnTo>
                    <a:lnTo>
                      <a:pt x="6867" y="1618"/>
                    </a:lnTo>
                    <a:lnTo>
                      <a:pt x="6922" y="1590"/>
                    </a:lnTo>
                    <a:lnTo>
                      <a:pt x="6977" y="1561"/>
                    </a:lnTo>
                    <a:lnTo>
                      <a:pt x="7030" y="1532"/>
                    </a:lnTo>
                    <a:lnTo>
                      <a:pt x="7082" y="1503"/>
                    </a:lnTo>
                    <a:lnTo>
                      <a:pt x="7133" y="1473"/>
                    </a:lnTo>
                    <a:lnTo>
                      <a:pt x="7184" y="1444"/>
                    </a:lnTo>
                    <a:lnTo>
                      <a:pt x="7233" y="1414"/>
                    </a:lnTo>
                    <a:lnTo>
                      <a:pt x="7282" y="1384"/>
                    </a:lnTo>
                    <a:lnTo>
                      <a:pt x="7329" y="1353"/>
                    </a:lnTo>
                    <a:lnTo>
                      <a:pt x="7376" y="1323"/>
                    </a:lnTo>
                    <a:lnTo>
                      <a:pt x="7421" y="1292"/>
                    </a:lnTo>
                    <a:lnTo>
                      <a:pt x="7465" y="1261"/>
                    </a:lnTo>
                    <a:lnTo>
                      <a:pt x="7509" y="1230"/>
                    </a:lnTo>
                    <a:lnTo>
                      <a:pt x="7551" y="1198"/>
                    </a:lnTo>
                    <a:lnTo>
                      <a:pt x="7592" y="1165"/>
                    </a:lnTo>
                    <a:lnTo>
                      <a:pt x="7632" y="1134"/>
                    </a:lnTo>
                    <a:lnTo>
                      <a:pt x="7670" y="1102"/>
                    </a:lnTo>
                    <a:lnTo>
                      <a:pt x="7709" y="1069"/>
                    </a:lnTo>
                    <a:lnTo>
                      <a:pt x="7746" y="1037"/>
                    </a:lnTo>
                    <a:lnTo>
                      <a:pt x="7782" y="1004"/>
                    </a:lnTo>
                    <a:lnTo>
                      <a:pt x="7816" y="971"/>
                    </a:lnTo>
                    <a:lnTo>
                      <a:pt x="7850" y="938"/>
                    </a:lnTo>
                    <a:lnTo>
                      <a:pt x="7882" y="904"/>
                    </a:lnTo>
                    <a:lnTo>
                      <a:pt x="7914" y="870"/>
                    </a:lnTo>
                    <a:lnTo>
                      <a:pt x="7944" y="836"/>
                    </a:lnTo>
                    <a:lnTo>
                      <a:pt x="7972" y="802"/>
                    </a:lnTo>
                    <a:lnTo>
                      <a:pt x="8000" y="768"/>
                    </a:lnTo>
                    <a:lnTo>
                      <a:pt x="8027" y="733"/>
                    </a:lnTo>
                    <a:lnTo>
                      <a:pt x="8052" y="699"/>
                    </a:lnTo>
                    <a:lnTo>
                      <a:pt x="8076" y="663"/>
                    </a:lnTo>
                    <a:lnTo>
                      <a:pt x="8099" y="628"/>
                    </a:lnTo>
                    <a:lnTo>
                      <a:pt x="8121" y="592"/>
                    </a:lnTo>
                    <a:lnTo>
                      <a:pt x="8141" y="557"/>
                    </a:lnTo>
                    <a:lnTo>
                      <a:pt x="8161" y="521"/>
                    </a:lnTo>
                    <a:lnTo>
                      <a:pt x="8180" y="484"/>
                    </a:lnTo>
                    <a:lnTo>
                      <a:pt x="8196" y="448"/>
                    </a:lnTo>
                    <a:lnTo>
                      <a:pt x="8212" y="412"/>
                    </a:lnTo>
                    <a:lnTo>
                      <a:pt x="8226" y="376"/>
                    </a:lnTo>
                    <a:lnTo>
                      <a:pt x="8238" y="338"/>
                    </a:lnTo>
                    <a:lnTo>
                      <a:pt x="8251" y="301"/>
                    </a:lnTo>
                    <a:lnTo>
                      <a:pt x="8261" y="265"/>
                    </a:lnTo>
                    <a:lnTo>
                      <a:pt x="8269" y="227"/>
                    </a:lnTo>
                    <a:lnTo>
                      <a:pt x="8277" y="189"/>
                    </a:lnTo>
                    <a:lnTo>
                      <a:pt x="8284" y="152"/>
                    </a:lnTo>
                    <a:lnTo>
                      <a:pt x="8289" y="114"/>
                    </a:lnTo>
                    <a:lnTo>
                      <a:pt x="8292" y="76"/>
                    </a:lnTo>
                    <a:lnTo>
                      <a:pt x="8294" y="38"/>
                    </a:lnTo>
                    <a:lnTo>
                      <a:pt x="8295" y="0"/>
                    </a:lnTo>
                    <a:lnTo>
                      <a:pt x="8195" y="0"/>
                    </a:lnTo>
                    <a:lnTo>
                      <a:pt x="8194" y="34"/>
                    </a:lnTo>
                    <a:lnTo>
                      <a:pt x="8192" y="69"/>
                    </a:lnTo>
                    <a:lnTo>
                      <a:pt x="8189" y="103"/>
                    </a:lnTo>
                    <a:lnTo>
                      <a:pt x="8185" y="138"/>
                    </a:lnTo>
                    <a:lnTo>
                      <a:pt x="8180" y="172"/>
                    </a:lnTo>
                    <a:lnTo>
                      <a:pt x="8172" y="205"/>
                    </a:lnTo>
                    <a:lnTo>
                      <a:pt x="8164" y="239"/>
                    </a:lnTo>
                    <a:lnTo>
                      <a:pt x="8155" y="273"/>
                    </a:lnTo>
                    <a:lnTo>
                      <a:pt x="8145" y="307"/>
                    </a:lnTo>
                    <a:lnTo>
                      <a:pt x="8132" y="340"/>
                    </a:lnTo>
                    <a:lnTo>
                      <a:pt x="8119" y="375"/>
                    </a:lnTo>
                    <a:lnTo>
                      <a:pt x="8105" y="408"/>
                    </a:lnTo>
                    <a:lnTo>
                      <a:pt x="8089" y="441"/>
                    </a:lnTo>
                    <a:lnTo>
                      <a:pt x="8072" y="475"/>
                    </a:lnTo>
                    <a:lnTo>
                      <a:pt x="8055" y="508"/>
                    </a:lnTo>
                    <a:lnTo>
                      <a:pt x="8035" y="541"/>
                    </a:lnTo>
                    <a:lnTo>
                      <a:pt x="8016" y="574"/>
                    </a:lnTo>
                    <a:lnTo>
                      <a:pt x="7993" y="608"/>
                    </a:lnTo>
                    <a:lnTo>
                      <a:pt x="7970" y="640"/>
                    </a:lnTo>
                    <a:lnTo>
                      <a:pt x="7947" y="673"/>
                    </a:lnTo>
                    <a:lnTo>
                      <a:pt x="7922" y="706"/>
                    </a:lnTo>
                    <a:lnTo>
                      <a:pt x="7895" y="738"/>
                    </a:lnTo>
                    <a:lnTo>
                      <a:pt x="7868" y="770"/>
                    </a:lnTo>
                    <a:lnTo>
                      <a:pt x="7839" y="803"/>
                    </a:lnTo>
                    <a:lnTo>
                      <a:pt x="7810" y="835"/>
                    </a:lnTo>
                    <a:lnTo>
                      <a:pt x="7779" y="867"/>
                    </a:lnTo>
                    <a:lnTo>
                      <a:pt x="7747" y="898"/>
                    </a:lnTo>
                    <a:lnTo>
                      <a:pt x="7714" y="930"/>
                    </a:lnTo>
                    <a:lnTo>
                      <a:pt x="7679" y="963"/>
                    </a:lnTo>
                    <a:lnTo>
                      <a:pt x="7644" y="994"/>
                    </a:lnTo>
                    <a:lnTo>
                      <a:pt x="7607" y="1025"/>
                    </a:lnTo>
                    <a:lnTo>
                      <a:pt x="7569" y="1056"/>
                    </a:lnTo>
                    <a:lnTo>
                      <a:pt x="7530" y="1087"/>
                    </a:lnTo>
                    <a:lnTo>
                      <a:pt x="7490" y="1118"/>
                    </a:lnTo>
                    <a:lnTo>
                      <a:pt x="7450" y="1148"/>
                    </a:lnTo>
                    <a:lnTo>
                      <a:pt x="7408" y="1179"/>
                    </a:lnTo>
                    <a:lnTo>
                      <a:pt x="7364" y="1209"/>
                    </a:lnTo>
                    <a:lnTo>
                      <a:pt x="7320" y="1239"/>
                    </a:lnTo>
                    <a:lnTo>
                      <a:pt x="7275" y="1269"/>
                    </a:lnTo>
                    <a:lnTo>
                      <a:pt x="7228" y="1299"/>
                    </a:lnTo>
                    <a:lnTo>
                      <a:pt x="7182" y="1328"/>
                    </a:lnTo>
                    <a:lnTo>
                      <a:pt x="7133" y="1357"/>
                    </a:lnTo>
                    <a:lnTo>
                      <a:pt x="7084" y="1386"/>
                    </a:lnTo>
                    <a:lnTo>
                      <a:pt x="7033" y="1415"/>
                    </a:lnTo>
                    <a:lnTo>
                      <a:pt x="6982" y="1444"/>
                    </a:lnTo>
                    <a:lnTo>
                      <a:pt x="6929" y="1472"/>
                    </a:lnTo>
                    <a:lnTo>
                      <a:pt x="6877" y="1501"/>
                    </a:lnTo>
                    <a:lnTo>
                      <a:pt x="6822" y="1529"/>
                    </a:lnTo>
                    <a:lnTo>
                      <a:pt x="6766" y="1556"/>
                    </a:lnTo>
                    <a:lnTo>
                      <a:pt x="6711" y="1584"/>
                    </a:lnTo>
                    <a:lnTo>
                      <a:pt x="6653" y="1610"/>
                    </a:lnTo>
                    <a:lnTo>
                      <a:pt x="6595" y="1637"/>
                    </a:lnTo>
                    <a:lnTo>
                      <a:pt x="6537" y="1664"/>
                    </a:lnTo>
                    <a:lnTo>
                      <a:pt x="6476" y="1691"/>
                    </a:lnTo>
                    <a:lnTo>
                      <a:pt x="6415" y="1717"/>
                    </a:lnTo>
                    <a:lnTo>
                      <a:pt x="6354" y="1743"/>
                    </a:lnTo>
                    <a:lnTo>
                      <a:pt x="6290" y="1769"/>
                    </a:lnTo>
                    <a:lnTo>
                      <a:pt x="6227" y="1795"/>
                    </a:lnTo>
                    <a:lnTo>
                      <a:pt x="6163" y="1820"/>
                    </a:lnTo>
                    <a:lnTo>
                      <a:pt x="6098" y="1845"/>
                    </a:lnTo>
                    <a:lnTo>
                      <a:pt x="6032" y="1869"/>
                    </a:lnTo>
                    <a:lnTo>
                      <a:pt x="5965" y="1894"/>
                    </a:lnTo>
                    <a:lnTo>
                      <a:pt x="5897" y="1918"/>
                    </a:lnTo>
                    <a:lnTo>
                      <a:pt x="5828" y="1942"/>
                    </a:lnTo>
                    <a:lnTo>
                      <a:pt x="5757" y="1965"/>
                    </a:lnTo>
                    <a:lnTo>
                      <a:pt x="5687" y="1989"/>
                    </a:lnTo>
                    <a:lnTo>
                      <a:pt x="5616" y="2012"/>
                    </a:lnTo>
                    <a:lnTo>
                      <a:pt x="5544" y="2035"/>
                    </a:lnTo>
                    <a:lnTo>
                      <a:pt x="5471" y="2058"/>
                    </a:lnTo>
                    <a:lnTo>
                      <a:pt x="5398" y="2079"/>
                    </a:lnTo>
                    <a:lnTo>
                      <a:pt x="5324" y="2101"/>
                    </a:lnTo>
                    <a:lnTo>
                      <a:pt x="5248" y="2123"/>
                    </a:lnTo>
                    <a:lnTo>
                      <a:pt x="5096" y="2165"/>
                    </a:lnTo>
                    <a:lnTo>
                      <a:pt x="4940" y="2207"/>
                    </a:lnTo>
                    <a:lnTo>
                      <a:pt x="4781" y="2246"/>
                    </a:lnTo>
                    <a:lnTo>
                      <a:pt x="4620" y="2284"/>
                    </a:lnTo>
                    <a:lnTo>
                      <a:pt x="4455" y="2322"/>
                    </a:lnTo>
                    <a:lnTo>
                      <a:pt x="4288" y="2358"/>
                    </a:lnTo>
                    <a:lnTo>
                      <a:pt x="4119" y="2392"/>
                    </a:lnTo>
                    <a:lnTo>
                      <a:pt x="3945" y="2425"/>
                    </a:lnTo>
                    <a:lnTo>
                      <a:pt x="3771" y="2457"/>
                    </a:lnTo>
                    <a:lnTo>
                      <a:pt x="3593" y="2487"/>
                    </a:lnTo>
                    <a:lnTo>
                      <a:pt x="3414" y="2516"/>
                    </a:lnTo>
                    <a:lnTo>
                      <a:pt x="3231" y="2543"/>
                    </a:lnTo>
                    <a:lnTo>
                      <a:pt x="3047" y="2569"/>
                    </a:lnTo>
                    <a:lnTo>
                      <a:pt x="2860" y="2594"/>
                    </a:lnTo>
                    <a:lnTo>
                      <a:pt x="2672" y="2617"/>
                    </a:lnTo>
                    <a:lnTo>
                      <a:pt x="2481" y="2637"/>
                    </a:lnTo>
                    <a:lnTo>
                      <a:pt x="2287" y="2658"/>
                    </a:lnTo>
                    <a:lnTo>
                      <a:pt x="2092" y="2676"/>
                    </a:lnTo>
                    <a:lnTo>
                      <a:pt x="1895" y="2692"/>
                    </a:lnTo>
                    <a:lnTo>
                      <a:pt x="1698" y="2707"/>
                    </a:lnTo>
                    <a:lnTo>
                      <a:pt x="1497" y="2720"/>
                    </a:lnTo>
                    <a:lnTo>
                      <a:pt x="1295" y="2731"/>
                    </a:lnTo>
                    <a:lnTo>
                      <a:pt x="1090" y="2742"/>
                    </a:lnTo>
                    <a:lnTo>
                      <a:pt x="885" y="2750"/>
                    </a:lnTo>
                    <a:lnTo>
                      <a:pt x="678" y="2756"/>
                    </a:lnTo>
                    <a:lnTo>
                      <a:pt x="470" y="2760"/>
                    </a:lnTo>
                    <a:lnTo>
                      <a:pt x="261" y="2762"/>
                    </a:lnTo>
                    <a:lnTo>
                      <a:pt x="50" y="2764"/>
                    </a:lnTo>
                    <a:lnTo>
                      <a:pt x="50" y="2764"/>
                    </a:lnTo>
                    <a:lnTo>
                      <a:pt x="50" y="2764"/>
                    </a:lnTo>
                    <a:lnTo>
                      <a:pt x="43" y="2765"/>
                    </a:lnTo>
                    <a:lnTo>
                      <a:pt x="38" y="2765"/>
                    </a:lnTo>
                    <a:lnTo>
                      <a:pt x="33" y="2767"/>
                    </a:lnTo>
                    <a:lnTo>
                      <a:pt x="28" y="2769"/>
                    </a:lnTo>
                    <a:lnTo>
                      <a:pt x="23" y="2771"/>
                    </a:lnTo>
                    <a:lnTo>
                      <a:pt x="19" y="2773"/>
                    </a:lnTo>
                    <a:lnTo>
                      <a:pt x="15" y="2776"/>
                    </a:lnTo>
                    <a:lnTo>
                      <a:pt x="12" y="2780"/>
                    </a:lnTo>
                    <a:lnTo>
                      <a:pt x="6" y="2787"/>
                    </a:lnTo>
                    <a:lnTo>
                      <a:pt x="3" y="2796"/>
                    </a:lnTo>
                    <a:lnTo>
                      <a:pt x="0" y="2805"/>
                    </a:lnTo>
                    <a:lnTo>
                      <a:pt x="0" y="2814"/>
                    </a:lnTo>
                    <a:lnTo>
                      <a:pt x="0" y="2824"/>
                    </a:lnTo>
                    <a:lnTo>
                      <a:pt x="3" y="2833"/>
                    </a:lnTo>
                    <a:lnTo>
                      <a:pt x="6" y="2841"/>
                    </a:lnTo>
                    <a:lnTo>
                      <a:pt x="12" y="2848"/>
                    </a:lnTo>
                    <a:lnTo>
                      <a:pt x="15" y="2853"/>
                    </a:lnTo>
                    <a:lnTo>
                      <a:pt x="19" y="2856"/>
                    </a:lnTo>
                    <a:lnTo>
                      <a:pt x="23" y="2858"/>
                    </a:lnTo>
                    <a:lnTo>
                      <a:pt x="28" y="2860"/>
                    </a:lnTo>
                    <a:lnTo>
                      <a:pt x="33" y="2862"/>
                    </a:lnTo>
                    <a:lnTo>
                      <a:pt x="38" y="2863"/>
                    </a:lnTo>
                    <a:lnTo>
                      <a:pt x="43" y="2864"/>
                    </a:lnTo>
                    <a:lnTo>
                      <a:pt x="50"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53" name="Freeform 94"/>
              <p:cNvSpPr>
                <a:spLocks/>
              </p:cNvSpPr>
              <p:nvPr>
                <p:custDataLst>
                  <p:tags r:id="rId196"/>
                </p:custDataLst>
              </p:nvPr>
            </p:nvSpPr>
            <p:spPr bwMode="auto">
              <a:xfrm>
                <a:off x="369" y="3467"/>
                <a:ext cx="359" cy="116"/>
              </a:xfrm>
              <a:custGeom>
                <a:avLst/>
                <a:gdLst>
                  <a:gd name="T0" fmla="*/ 3 w 8246"/>
                  <a:gd name="T1" fmla="*/ 127 h 2915"/>
                  <a:gd name="T2" fmla="*/ 25 w 8246"/>
                  <a:gd name="T3" fmla="*/ 278 h 2915"/>
                  <a:gd name="T4" fmla="*/ 69 w 8246"/>
                  <a:gd name="T5" fmla="*/ 427 h 2915"/>
                  <a:gd name="T6" fmla="*/ 134 w 8246"/>
                  <a:gd name="T7" fmla="*/ 572 h 2915"/>
                  <a:gd name="T8" fmla="*/ 219 w 8246"/>
                  <a:gd name="T9" fmla="*/ 714 h 2915"/>
                  <a:gd name="T10" fmla="*/ 323 w 8246"/>
                  <a:gd name="T11" fmla="*/ 853 h 2915"/>
                  <a:gd name="T12" fmla="*/ 445 w 8246"/>
                  <a:gd name="T13" fmla="*/ 989 h 2915"/>
                  <a:gd name="T14" fmla="*/ 586 w 8246"/>
                  <a:gd name="T15" fmla="*/ 1120 h 2915"/>
                  <a:gd name="T16" fmla="*/ 744 w 8246"/>
                  <a:gd name="T17" fmla="*/ 1249 h 2915"/>
                  <a:gd name="T18" fmla="*/ 919 w 8246"/>
                  <a:gd name="T19" fmla="*/ 1374 h 2915"/>
                  <a:gd name="T20" fmla="*/ 1111 w 8246"/>
                  <a:gd name="T21" fmla="*/ 1495 h 2915"/>
                  <a:gd name="T22" fmla="*/ 1318 w 8246"/>
                  <a:gd name="T23" fmla="*/ 1612 h 2915"/>
                  <a:gd name="T24" fmla="*/ 1541 w 8246"/>
                  <a:gd name="T25" fmla="*/ 1725 h 2915"/>
                  <a:gd name="T26" fmla="*/ 1779 w 8246"/>
                  <a:gd name="T27" fmla="*/ 1834 h 2915"/>
                  <a:gd name="T28" fmla="*/ 2030 w 8246"/>
                  <a:gd name="T29" fmla="*/ 1939 h 2915"/>
                  <a:gd name="T30" fmla="*/ 2297 w 8246"/>
                  <a:gd name="T31" fmla="*/ 2039 h 2915"/>
                  <a:gd name="T32" fmla="*/ 2577 w 8246"/>
                  <a:gd name="T33" fmla="*/ 2136 h 2915"/>
                  <a:gd name="T34" fmla="*/ 2869 w 8246"/>
                  <a:gd name="T35" fmla="*/ 2227 h 2915"/>
                  <a:gd name="T36" fmla="*/ 3331 w 8246"/>
                  <a:gd name="T37" fmla="*/ 2355 h 2915"/>
                  <a:gd name="T38" fmla="*/ 3987 w 8246"/>
                  <a:gd name="T39" fmla="*/ 2507 h 2915"/>
                  <a:gd name="T40" fmla="*/ 4686 w 8246"/>
                  <a:gd name="T41" fmla="*/ 2638 h 2915"/>
                  <a:gd name="T42" fmla="*/ 5422 w 8246"/>
                  <a:gd name="T43" fmla="*/ 2744 h 2915"/>
                  <a:gd name="T44" fmla="*/ 6193 w 8246"/>
                  <a:gd name="T45" fmla="*/ 2827 h 2915"/>
                  <a:gd name="T46" fmla="*/ 6995 w 8246"/>
                  <a:gd name="T47" fmla="*/ 2883 h 2915"/>
                  <a:gd name="T48" fmla="*/ 7823 w 8246"/>
                  <a:gd name="T49" fmla="*/ 2912 h 2915"/>
                  <a:gd name="T50" fmla="*/ 8034 w 8246"/>
                  <a:gd name="T51" fmla="*/ 2813 h 2915"/>
                  <a:gd name="T52" fmla="*/ 7205 w 8246"/>
                  <a:gd name="T53" fmla="*/ 2793 h 2915"/>
                  <a:gd name="T54" fmla="*/ 6400 w 8246"/>
                  <a:gd name="T55" fmla="*/ 2743 h 2915"/>
                  <a:gd name="T56" fmla="*/ 5623 w 8246"/>
                  <a:gd name="T57" fmla="*/ 2668 h 2915"/>
                  <a:gd name="T58" fmla="*/ 4881 w 8246"/>
                  <a:gd name="T59" fmla="*/ 2567 h 2915"/>
                  <a:gd name="T60" fmla="*/ 4176 w 8246"/>
                  <a:gd name="T61" fmla="*/ 2443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1 h 2915"/>
                  <a:gd name="T76" fmla="*/ 1418 w 8246"/>
                  <a:gd name="T77" fmla="*/ 1552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9 h 2915"/>
                  <a:gd name="T94" fmla="*/ 175 w 8246"/>
                  <a:gd name="T95" fmla="*/ 426 h 2915"/>
                  <a:gd name="T96" fmla="*/ 131 w 8246"/>
                  <a:gd name="T97" fmla="*/ 290 h 2915"/>
                  <a:gd name="T98" fmla="*/ 106 w 8246"/>
                  <a:gd name="T99" fmla="*/ 154 h 2915"/>
                  <a:gd name="T100" fmla="*/ 100 w 8246"/>
                  <a:gd name="T101" fmla="*/ 51 h 2915"/>
                  <a:gd name="T102" fmla="*/ 98 w 8246"/>
                  <a:gd name="T103" fmla="*/ 33 h 2915"/>
                  <a:gd name="T104" fmla="*/ 88 w 8246"/>
                  <a:gd name="T105" fmla="*/ 17 h 2915"/>
                  <a:gd name="T106" fmla="*/ 60 w 8246"/>
                  <a:gd name="T107" fmla="*/ 1 h 2915"/>
                  <a:gd name="T108" fmla="*/ 23 w 8246"/>
                  <a:gd name="T109" fmla="*/ 7 h 2915"/>
                  <a:gd name="T110" fmla="*/ 6 w 8246"/>
                  <a:gd name="T111" fmla="*/ 24 h 2915"/>
                  <a:gd name="T112" fmla="*/ 0 w 8246"/>
                  <a:gd name="T113" fmla="*/ 45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1"/>
                    </a:moveTo>
                    <a:lnTo>
                      <a:pt x="0" y="51"/>
                    </a:lnTo>
                    <a:lnTo>
                      <a:pt x="1" y="89"/>
                    </a:lnTo>
                    <a:lnTo>
                      <a:pt x="3" y="127"/>
                    </a:lnTo>
                    <a:lnTo>
                      <a:pt x="6" y="165"/>
                    </a:lnTo>
                    <a:lnTo>
                      <a:pt x="11" y="203"/>
                    </a:lnTo>
                    <a:lnTo>
                      <a:pt x="18" y="240"/>
                    </a:lnTo>
                    <a:lnTo>
                      <a:pt x="25" y="278"/>
                    </a:lnTo>
                    <a:lnTo>
                      <a:pt x="34" y="316"/>
                    </a:lnTo>
                    <a:lnTo>
                      <a:pt x="44" y="352"/>
                    </a:lnTo>
                    <a:lnTo>
                      <a:pt x="56" y="389"/>
                    </a:lnTo>
                    <a:lnTo>
                      <a:pt x="69" y="427"/>
                    </a:lnTo>
                    <a:lnTo>
                      <a:pt x="83" y="463"/>
                    </a:lnTo>
                    <a:lnTo>
                      <a:pt x="99" y="499"/>
                    </a:lnTo>
                    <a:lnTo>
                      <a:pt x="115" y="535"/>
                    </a:lnTo>
                    <a:lnTo>
                      <a:pt x="134" y="572"/>
                    </a:lnTo>
                    <a:lnTo>
                      <a:pt x="154" y="608"/>
                    </a:lnTo>
                    <a:lnTo>
                      <a:pt x="174" y="643"/>
                    </a:lnTo>
                    <a:lnTo>
                      <a:pt x="196" y="679"/>
                    </a:lnTo>
                    <a:lnTo>
                      <a:pt x="219" y="714"/>
                    </a:lnTo>
                    <a:lnTo>
                      <a:pt x="243" y="750"/>
                    </a:lnTo>
                    <a:lnTo>
                      <a:pt x="268" y="784"/>
                    </a:lnTo>
                    <a:lnTo>
                      <a:pt x="295" y="819"/>
                    </a:lnTo>
                    <a:lnTo>
                      <a:pt x="323" y="853"/>
                    </a:lnTo>
                    <a:lnTo>
                      <a:pt x="351" y="887"/>
                    </a:lnTo>
                    <a:lnTo>
                      <a:pt x="381" y="921"/>
                    </a:lnTo>
                    <a:lnTo>
                      <a:pt x="413" y="955"/>
                    </a:lnTo>
                    <a:lnTo>
                      <a:pt x="445" y="989"/>
                    </a:lnTo>
                    <a:lnTo>
                      <a:pt x="479" y="1022"/>
                    </a:lnTo>
                    <a:lnTo>
                      <a:pt x="513" y="1055"/>
                    </a:lnTo>
                    <a:lnTo>
                      <a:pt x="549" y="1088"/>
                    </a:lnTo>
                    <a:lnTo>
                      <a:pt x="586" y="1120"/>
                    </a:lnTo>
                    <a:lnTo>
                      <a:pt x="624" y="1153"/>
                    </a:lnTo>
                    <a:lnTo>
                      <a:pt x="663" y="1185"/>
                    </a:lnTo>
                    <a:lnTo>
                      <a:pt x="703" y="1216"/>
                    </a:lnTo>
                    <a:lnTo>
                      <a:pt x="744" y="1249"/>
                    </a:lnTo>
                    <a:lnTo>
                      <a:pt x="786" y="1281"/>
                    </a:lnTo>
                    <a:lnTo>
                      <a:pt x="830" y="1312"/>
                    </a:lnTo>
                    <a:lnTo>
                      <a:pt x="874" y="1343"/>
                    </a:lnTo>
                    <a:lnTo>
                      <a:pt x="919" y="1374"/>
                    </a:lnTo>
                    <a:lnTo>
                      <a:pt x="966" y="1404"/>
                    </a:lnTo>
                    <a:lnTo>
                      <a:pt x="1013" y="1435"/>
                    </a:lnTo>
                    <a:lnTo>
                      <a:pt x="1062" y="1465"/>
                    </a:lnTo>
                    <a:lnTo>
                      <a:pt x="1111" y="1495"/>
                    </a:lnTo>
                    <a:lnTo>
                      <a:pt x="1162" y="1524"/>
                    </a:lnTo>
                    <a:lnTo>
                      <a:pt x="1212" y="1554"/>
                    </a:lnTo>
                    <a:lnTo>
                      <a:pt x="1265" y="1583"/>
                    </a:lnTo>
                    <a:lnTo>
                      <a:pt x="1318" y="1612"/>
                    </a:lnTo>
                    <a:lnTo>
                      <a:pt x="1373" y="1641"/>
                    </a:lnTo>
                    <a:lnTo>
                      <a:pt x="1428" y="1669"/>
                    </a:lnTo>
                    <a:lnTo>
                      <a:pt x="1484" y="1697"/>
                    </a:lnTo>
                    <a:lnTo>
                      <a:pt x="1541" y="1725"/>
                    </a:lnTo>
                    <a:lnTo>
                      <a:pt x="1600" y="1753"/>
                    </a:lnTo>
                    <a:lnTo>
                      <a:pt x="1658" y="1779"/>
                    </a:lnTo>
                    <a:lnTo>
                      <a:pt x="1718" y="1807"/>
                    </a:lnTo>
                    <a:lnTo>
                      <a:pt x="1779" y="1834"/>
                    </a:lnTo>
                    <a:lnTo>
                      <a:pt x="1841" y="1860"/>
                    </a:lnTo>
                    <a:lnTo>
                      <a:pt x="1904" y="1887"/>
                    </a:lnTo>
                    <a:lnTo>
                      <a:pt x="1967" y="1913"/>
                    </a:lnTo>
                    <a:lnTo>
                      <a:pt x="2030" y="1939"/>
                    </a:lnTo>
                    <a:lnTo>
                      <a:pt x="2096" y="1965"/>
                    </a:lnTo>
                    <a:lnTo>
                      <a:pt x="2162" y="1990"/>
                    </a:lnTo>
                    <a:lnTo>
                      <a:pt x="2229" y="2014"/>
                    </a:lnTo>
                    <a:lnTo>
                      <a:pt x="2297" y="2039"/>
                    </a:lnTo>
                    <a:lnTo>
                      <a:pt x="2365" y="2064"/>
                    </a:lnTo>
                    <a:lnTo>
                      <a:pt x="2436" y="2088"/>
                    </a:lnTo>
                    <a:lnTo>
                      <a:pt x="2506" y="2112"/>
                    </a:lnTo>
                    <a:lnTo>
                      <a:pt x="2577" y="2136"/>
                    </a:lnTo>
                    <a:lnTo>
                      <a:pt x="2649" y="2158"/>
                    </a:lnTo>
                    <a:lnTo>
                      <a:pt x="2721" y="2182"/>
                    </a:lnTo>
                    <a:lnTo>
                      <a:pt x="2794" y="2204"/>
                    </a:lnTo>
                    <a:lnTo>
                      <a:pt x="2869" y="2227"/>
                    </a:lnTo>
                    <a:lnTo>
                      <a:pt x="2944" y="2248"/>
                    </a:lnTo>
                    <a:lnTo>
                      <a:pt x="3020" y="2270"/>
                    </a:lnTo>
                    <a:lnTo>
                      <a:pt x="3173" y="2314"/>
                    </a:lnTo>
                    <a:lnTo>
                      <a:pt x="3331" y="2355"/>
                    </a:lnTo>
                    <a:lnTo>
                      <a:pt x="3491" y="2394"/>
                    </a:lnTo>
                    <a:lnTo>
                      <a:pt x="3653" y="2434"/>
                    </a:lnTo>
                    <a:lnTo>
                      <a:pt x="3819" y="2471"/>
                    </a:lnTo>
                    <a:lnTo>
                      <a:pt x="3987" y="2507"/>
                    </a:lnTo>
                    <a:lnTo>
                      <a:pt x="4158" y="2541"/>
                    </a:lnTo>
                    <a:lnTo>
                      <a:pt x="4331" y="2574"/>
                    </a:lnTo>
                    <a:lnTo>
                      <a:pt x="4507" y="2606"/>
                    </a:lnTo>
                    <a:lnTo>
                      <a:pt x="4686" y="2638"/>
                    </a:lnTo>
                    <a:lnTo>
                      <a:pt x="4866" y="2666"/>
                    </a:lnTo>
                    <a:lnTo>
                      <a:pt x="5049" y="2693"/>
                    </a:lnTo>
                    <a:lnTo>
                      <a:pt x="5235" y="2719"/>
                    </a:lnTo>
                    <a:lnTo>
                      <a:pt x="5422" y="2744"/>
                    </a:lnTo>
                    <a:lnTo>
                      <a:pt x="5612" y="2767"/>
                    </a:lnTo>
                    <a:lnTo>
                      <a:pt x="5804" y="2789"/>
                    </a:lnTo>
                    <a:lnTo>
                      <a:pt x="5998" y="2808"/>
                    </a:lnTo>
                    <a:lnTo>
                      <a:pt x="6193" y="2827"/>
                    </a:lnTo>
                    <a:lnTo>
                      <a:pt x="6391" y="2843"/>
                    </a:lnTo>
                    <a:lnTo>
                      <a:pt x="6591" y="2858"/>
                    </a:lnTo>
                    <a:lnTo>
                      <a:pt x="6792" y="2871"/>
                    </a:lnTo>
                    <a:lnTo>
                      <a:pt x="6995" y="2883"/>
                    </a:lnTo>
                    <a:lnTo>
                      <a:pt x="7200" y="2892"/>
                    </a:lnTo>
                    <a:lnTo>
                      <a:pt x="7407" y="2900"/>
                    </a:lnTo>
                    <a:lnTo>
                      <a:pt x="7614" y="2907"/>
                    </a:lnTo>
                    <a:lnTo>
                      <a:pt x="7823" y="2912"/>
                    </a:lnTo>
                    <a:lnTo>
                      <a:pt x="8034" y="2915"/>
                    </a:lnTo>
                    <a:lnTo>
                      <a:pt x="8246" y="2915"/>
                    </a:lnTo>
                    <a:lnTo>
                      <a:pt x="8246" y="2815"/>
                    </a:lnTo>
                    <a:lnTo>
                      <a:pt x="8034" y="2813"/>
                    </a:lnTo>
                    <a:lnTo>
                      <a:pt x="7825" y="2811"/>
                    </a:lnTo>
                    <a:lnTo>
                      <a:pt x="7617" y="2807"/>
                    </a:lnTo>
                    <a:lnTo>
                      <a:pt x="7410" y="2801"/>
                    </a:lnTo>
                    <a:lnTo>
                      <a:pt x="7205" y="2793"/>
                    </a:lnTo>
                    <a:lnTo>
                      <a:pt x="7000" y="2782"/>
                    </a:lnTo>
                    <a:lnTo>
                      <a:pt x="6798" y="2771"/>
                    </a:lnTo>
                    <a:lnTo>
                      <a:pt x="6597" y="2758"/>
                    </a:lnTo>
                    <a:lnTo>
                      <a:pt x="6400" y="2743"/>
                    </a:lnTo>
                    <a:lnTo>
                      <a:pt x="6203" y="2727"/>
                    </a:lnTo>
                    <a:lnTo>
                      <a:pt x="6008" y="2709"/>
                    </a:lnTo>
                    <a:lnTo>
                      <a:pt x="5814" y="2688"/>
                    </a:lnTo>
                    <a:lnTo>
                      <a:pt x="5623" y="2668"/>
                    </a:lnTo>
                    <a:lnTo>
                      <a:pt x="5435" y="2645"/>
                    </a:lnTo>
                    <a:lnTo>
                      <a:pt x="5248" y="2620"/>
                    </a:lnTo>
                    <a:lnTo>
                      <a:pt x="5064" y="2594"/>
                    </a:lnTo>
                    <a:lnTo>
                      <a:pt x="4881" y="2567"/>
                    </a:lnTo>
                    <a:lnTo>
                      <a:pt x="4702" y="2538"/>
                    </a:lnTo>
                    <a:lnTo>
                      <a:pt x="4524" y="2508"/>
                    </a:lnTo>
                    <a:lnTo>
                      <a:pt x="4350" y="2476"/>
                    </a:lnTo>
                    <a:lnTo>
                      <a:pt x="4176" y="2443"/>
                    </a:lnTo>
                    <a:lnTo>
                      <a:pt x="4007" y="2409"/>
                    </a:lnTo>
                    <a:lnTo>
                      <a:pt x="3839" y="2373"/>
                    </a:lnTo>
                    <a:lnTo>
                      <a:pt x="3675" y="2335"/>
                    </a:lnTo>
                    <a:lnTo>
                      <a:pt x="3514" y="2297"/>
                    </a:lnTo>
                    <a:lnTo>
                      <a:pt x="3355" y="2258"/>
                    </a:lnTo>
                    <a:lnTo>
                      <a:pt x="3199" y="2216"/>
                    </a:lnTo>
                    <a:lnTo>
                      <a:pt x="3047" y="2174"/>
                    </a:lnTo>
                    <a:lnTo>
                      <a:pt x="2971" y="2152"/>
                    </a:lnTo>
                    <a:lnTo>
                      <a:pt x="2897" y="2130"/>
                    </a:lnTo>
                    <a:lnTo>
                      <a:pt x="2824" y="2109"/>
                    </a:lnTo>
                    <a:lnTo>
                      <a:pt x="2751" y="2086"/>
                    </a:lnTo>
                    <a:lnTo>
                      <a:pt x="2679" y="2063"/>
                    </a:lnTo>
                    <a:lnTo>
                      <a:pt x="2608" y="2040"/>
                    </a:lnTo>
                    <a:lnTo>
                      <a:pt x="2538" y="2016"/>
                    </a:lnTo>
                    <a:lnTo>
                      <a:pt x="2467" y="1993"/>
                    </a:lnTo>
                    <a:lnTo>
                      <a:pt x="2398" y="1969"/>
                    </a:lnTo>
                    <a:lnTo>
                      <a:pt x="2330" y="1945"/>
                    </a:lnTo>
                    <a:lnTo>
                      <a:pt x="2263" y="1920"/>
                    </a:lnTo>
                    <a:lnTo>
                      <a:pt x="2197" y="1896"/>
                    </a:lnTo>
                    <a:lnTo>
                      <a:pt x="2132" y="1871"/>
                    </a:lnTo>
                    <a:lnTo>
                      <a:pt x="2068" y="1846"/>
                    </a:lnTo>
                    <a:lnTo>
                      <a:pt x="2004" y="1820"/>
                    </a:lnTo>
                    <a:lnTo>
                      <a:pt x="1941" y="1794"/>
                    </a:lnTo>
                    <a:lnTo>
                      <a:pt x="1880" y="1768"/>
                    </a:lnTo>
                    <a:lnTo>
                      <a:pt x="1819" y="1742"/>
                    </a:lnTo>
                    <a:lnTo>
                      <a:pt x="1758" y="1715"/>
                    </a:lnTo>
                    <a:lnTo>
                      <a:pt x="1700" y="1688"/>
                    </a:lnTo>
                    <a:lnTo>
                      <a:pt x="1642" y="1661"/>
                    </a:lnTo>
                    <a:lnTo>
                      <a:pt x="1584" y="1635"/>
                    </a:lnTo>
                    <a:lnTo>
                      <a:pt x="1529" y="1607"/>
                    </a:lnTo>
                    <a:lnTo>
                      <a:pt x="1473" y="1580"/>
                    </a:lnTo>
                    <a:lnTo>
                      <a:pt x="1418" y="1552"/>
                    </a:lnTo>
                    <a:lnTo>
                      <a:pt x="1366" y="1523"/>
                    </a:lnTo>
                    <a:lnTo>
                      <a:pt x="1313" y="1495"/>
                    </a:lnTo>
                    <a:lnTo>
                      <a:pt x="1262" y="1466"/>
                    </a:lnTo>
                    <a:lnTo>
                      <a:pt x="1211" y="1437"/>
                    </a:lnTo>
                    <a:lnTo>
                      <a:pt x="1162" y="1408"/>
                    </a:lnTo>
                    <a:lnTo>
                      <a:pt x="1113" y="1379"/>
                    </a:lnTo>
                    <a:lnTo>
                      <a:pt x="1066" y="1350"/>
                    </a:lnTo>
                    <a:lnTo>
                      <a:pt x="1020" y="1320"/>
                    </a:lnTo>
                    <a:lnTo>
                      <a:pt x="975" y="1290"/>
                    </a:lnTo>
                    <a:lnTo>
                      <a:pt x="931" y="1260"/>
                    </a:lnTo>
                    <a:lnTo>
                      <a:pt x="887" y="1230"/>
                    </a:lnTo>
                    <a:lnTo>
                      <a:pt x="845" y="1199"/>
                    </a:lnTo>
                    <a:lnTo>
                      <a:pt x="804" y="1169"/>
                    </a:lnTo>
                    <a:lnTo>
                      <a:pt x="765" y="1138"/>
                    </a:lnTo>
                    <a:lnTo>
                      <a:pt x="726" y="1107"/>
                    </a:lnTo>
                    <a:lnTo>
                      <a:pt x="688" y="1076"/>
                    </a:lnTo>
                    <a:lnTo>
                      <a:pt x="651" y="1045"/>
                    </a:lnTo>
                    <a:lnTo>
                      <a:pt x="616" y="1014"/>
                    </a:lnTo>
                    <a:lnTo>
                      <a:pt x="581" y="981"/>
                    </a:lnTo>
                    <a:lnTo>
                      <a:pt x="548" y="949"/>
                    </a:lnTo>
                    <a:lnTo>
                      <a:pt x="516" y="918"/>
                    </a:lnTo>
                    <a:lnTo>
                      <a:pt x="485" y="886"/>
                    </a:lnTo>
                    <a:lnTo>
                      <a:pt x="456" y="854"/>
                    </a:lnTo>
                    <a:lnTo>
                      <a:pt x="427" y="821"/>
                    </a:lnTo>
                    <a:lnTo>
                      <a:pt x="400" y="789"/>
                    </a:lnTo>
                    <a:lnTo>
                      <a:pt x="373" y="757"/>
                    </a:lnTo>
                    <a:lnTo>
                      <a:pt x="348" y="724"/>
                    </a:lnTo>
                    <a:lnTo>
                      <a:pt x="324" y="691"/>
                    </a:lnTo>
                    <a:lnTo>
                      <a:pt x="301" y="659"/>
                    </a:lnTo>
                    <a:lnTo>
                      <a:pt x="280" y="625"/>
                    </a:lnTo>
                    <a:lnTo>
                      <a:pt x="260" y="592"/>
                    </a:lnTo>
                    <a:lnTo>
                      <a:pt x="240" y="559"/>
                    </a:lnTo>
                    <a:lnTo>
                      <a:pt x="223" y="526"/>
                    </a:lnTo>
                    <a:lnTo>
                      <a:pt x="205" y="492"/>
                    </a:lnTo>
                    <a:lnTo>
                      <a:pt x="190" y="459"/>
                    </a:lnTo>
                    <a:lnTo>
                      <a:pt x="175" y="426"/>
                    </a:lnTo>
                    <a:lnTo>
                      <a:pt x="163" y="391"/>
                    </a:lnTo>
                    <a:lnTo>
                      <a:pt x="150" y="358"/>
                    </a:lnTo>
                    <a:lnTo>
                      <a:pt x="140" y="324"/>
                    </a:lnTo>
                    <a:lnTo>
                      <a:pt x="131" y="290"/>
                    </a:lnTo>
                    <a:lnTo>
                      <a:pt x="123" y="256"/>
                    </a:lnTo>
                    <a:lnTo>
                      <a:pt x="115" y="223"/>
                    </a:lnTo>
                    <a:lnTo>
                      <a:pt x="110" y="189"/>
                    </a:lnTo>
                    <a:lnTo>
                      <a:pt x="106" y="154"/>
                    </a:lnTo>
                    <a:lnTo>
                      <a:pt x="102" y="120"/>
                    </a:lnTo>
                    <a:lnTo>
                      <a:pt x="101" y="85"/>
                    </a:lnTo>
                    <a:lnTo>
                      <a:pt x="100" y="51"/>
                    </a:lnTo>
                    <a:lnTo>
                      <a:pt x="100" y="51"/>
                    </a:lnTo>
                    <a:lnTo>
                      <a:pt x="100" y="51"/>
                    </a:lnTo>
                    <a:lnTo>
                      <a:pt x="100" y="45"/>
                    </a:lnTo>
                    <a:lnTo>
                      <a:pt x="99" y="39"/>
                    </a:lnTo>
                    <a:lnTo>
                      <a:pt x="98" y="33"/>
                    </a:lnTo>
                    <a:lnTo>
                      <a:pt x="96" y="29"/>
                    </a:lnTo>
                    <a:lnTo>
                      <a:pt x="94" y="24"/>
                    </a:lnTo>
                    <a:lnTo>
                      <a:pt x="91" y="20"/>
                    </a:lnTo>
                    <a:lnTo>
                      <a:pt x="88" y="17"/>
                    </a:lnTo>
                    <a:lnTo>
                      <a:pt x="85" y="13"/>
                    </a:lnTo>
                    <a:lnTo>
                      <a:pt x="77" y="7"/>
                    </a:lnTo>
                    <a:lnTo>
                      <a:pt x="68" y="3"/>
                    </a:lnTo>
                    <a:lnTo>
                      <a:pt x="60" y="1"/>
                    </a:lnTo>
                    <a:lnTo>
                      <a:pt x="51" y="0"/>
                    </a:lnTo>
                    <a:lnTo>
                      <a:pt x="40" y="1"/>
                    </a:lnTo>
                    <a:lnTo>
                      <a:pt x="32" y="3"/>
                    </a:lnTo>
                    <a:lnTo>
                      <a:pt x="23" y="7"/>
                    </a:lnTo>
                    <a:lnTo>
                      <a:pt x="15" y="13"/>
                    </a:lnTo>
                    <a:lnTo>
                      <a:pt x="12" y="17"/>
                    </a:lnTo>
                    <a:lnTo>
                      <a:pt x="9" y="20"/>
                    </a:lnTo>
                    <a:lnTo>
                      <a:pt x="6" y="24"/>
                    </a:lnTo>
                    <a:lnTo>
                      <a:pt x="4" y="29"/>
                    </a:lnTo>
                    <a:lnTo>
                      <a:pt x="2" y="33"/>
                    </a:lnTo>
                    <a:lnTo>
                      <a:pt x="1" y="39"/>
                    </a:lnTo>
                    <a:lnTo>
                      <a:pt x="0" y="45"/>
                    </a:lnTo>
                    <a:lnTo>
                      <a:pt x="0" y="51"/>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54" name="Freeform 95"/>
              <p:cNvSpPr>
                <a:spLocks/>
              </p:cNvSpPr>
              <p:nvPr>
                <p:custDataLst>
                  <p:tags r:id="rId197"/>
                </p:custDataLst>
              </p:nvPr>
            </p:nvSpPr>
            <p:spPr bwMode="auto">
              <a:xfrm>
                <a:off x="369" y="3354"/>
                <a:ext cx="361" cy="115"/>
              </a:xfrm>
              <a:custGeom>
                <a:avLst/>
                <a:gdLst>
                  <a:gd name="T0" fmla="*/ 7823 w 8296"/>
                  <a:gd name="T1" fmla="*/ 4 h 2865"/>
                  <a:gd name="T2" fmla="*/ 6995 w 8296"/>
                  <a:gd name="T3" fmla="*/ 33 h 2865"/>
                  <a:gd name="T4" fmla="*/ 6193 w 8296"/>
                  <a:gd name="T5" fmla="*/ 89 h 2865"/>
                  <a:gd name="T6" fmla="*/ 5422 w 8296"/>
                  <a:gd name="T7" fmla="*/ 171 h 2865"/>
                  <a:gd name="T8" fmla="*/ 4686 w 8296"/>
                  <a:gd name="T9" fmla="*/ 278 h 2865"/>
                  <a:gd name="T10" fmla="*/ 3987 w 8296"/>
                  <a:gd name="T11" fmla="*/ 409 h 2865"/>
                  <a:gd name="T12" fmla="*/ 3331 w 8296"/>
                  <a:gd name="T13" fmla="*/ 561 h 2865"/>
                  <a:gd name="T14" fmla="*/ 2721 w 8296"/>
                  <a:gd name="T15" fmla="*/ 734 h 2865"/>
                  <a:gd name="T16" fmla="*/ 2436 w 8296"/>
                  <a:gd name="T17" fmla="*/ 827 h 2865"/>
                  <a:gd name="T18" fmla="*/ 2162 w 8296"/>
                  <a:gd name="T19" fmla="*/ 925 h 2865"/>
                  <a:gd name="T20" fmla="*/ 1904 w 8296"/>
                  <a:gd name="T21" fmla="*/ 1029 h 2865"/>
                  <a:gd name="T22" fmla="*/ 1658 w 8296"/>
                  <a:gd name="T23" fmla="*/ 1135 h 2865"/>
                  <a:gd name="T24" fmla="*/ 1428 w 8296"/>
                  <a:gd name="T25" fmla="*/ 1247 h 2865"/>
                  <a:gd name="T26" fmla="*/ 1212 w 8296"/>
                  <a:gd name="T27" fmla="*/ 1362 h 2865"/>
                  <a:gd name="T28" fmla="*/ 1013 w 8296"/>
                  <a:gd name="T29" fmla="*/ 1481 h 2865"/>
                  <a:gd name="T30" fmla="*/ 830 w 8296"/>
                  <a:gd name="T31" fmla="*/ 1604 h 2865"/>
                  <a:gd name="T32" fmla="*/ 663 w 8296"/>
                  <a:gd name="T33" fmla="*/ 1731 h 2865"/>
                  <a:gd name="T34" fmla="*/ 513 w 8296"/>
                  <a:gd name="T35" fmla="*/ 1861 h 2865"/>
                  <a:gd name="T36" fmla="*/ 381 w 8296"/>
                  <a:gd name="T37" fmla="*/ 1995 h 2865"/>
                  <a:gd name="T38" fmla="*/ 268 w 8296"/>
                  <a:gd name="T39" fmla="*/ 2131 h 2865"/>
                  <a:gd name="T40" fmla="*/ 174 w 8296"/>
                  <a:gd name="T41" fmla="*/ 2272 h 2865"/>
                  <a:gd name="T42" fmla="*/ 99 w 8296"/>
                  <a:gd name="T43" fmla="*/ 2416 h 2865"/>
                  <a:gd name="T44" fmla="*/ 44 w 8296"/>
                  <a:gd name="T45" fmla="*/ 2563 h 2865"/>
                  <a:gd name="T46" fmla="*/ 11 w 8296"/>
                  <a:gd name="T47" fmla="*/ 2713 h 2865"/>
                  <a:gd name="T48" fmla="*/ 0 w 8296"/>
                  <a:gd name="T49" fmla="*/ 2865 h 2865"/>
                  <a:gd name="T50" fmla="*/ 106 w 8296"/>
                  <a:gd name="T51" fmla="*/ 2761 h 2865"/>
                  <a:gd name="T52" fmla="*/ 131 w 8296"/>
                  <a:gd name="T53" fmla="*/ 2625 h 2865"/>
                  <a:gd name="T54" fmla="*/ 175 w 8296"/>
                  <a:gd name="T55" fmla="*/ 2490 h 2865"/>
                  <a:gd name="T56" fmla="*/ 240 w 8296"/>
                  <a:gd name="T57" fmla="*/ 2357 h 2865"/>
                  <a:gd name="T58" fmla="*/ 324 w 8296"/>
                  <a:gd name="T59" fmla="*/ 2224 h 2865"/>
                  <a:gd name="T60" fmla="*/ 427 w 8296"/>
                  <a:gd name="T61" fmla="*/ 2094 h 2865"/>
                  <a:gd name="T62" fmla="*/ 548 w 8296"/>
                  <a:gd name="T63" fmla="*/ 1966 h 2865"/>
                  <a:gd name="T64" fmla="*/ 688 w 8296"/>
                  <a:gd name="T65" fmla="*/ 1839 h 2865"/>
                  <a:gd name="T66" fmla="*/ 845 w 8296"/>
                  <a:gd name="T67" fmla="*/ 1716 h 2865"/>
                  <a:gd name="T68" fmla="*/ 1020 w 8296"/>
                  <a:gd name="T69" fmla="*/ 1596 h 2865"/>
                  <a:gd name="T70" fmla="*/ 1211 w 8296"/>
                  <a:gd name="T71" fmla="*/ 1478 h 2865"/>
                  <a:gd name="T72" fmla="*/ 1418 w 8296"/>
                  <a:gd name="T73" fmla="*/ 1364 h 2865"/>
                  <a:gd name="T74" fmla="*/ 1642 w 8296"/>
                  <a:gd name="T75" fmla="*/ 1253 h 2865"/>
                  <a:gd name="T76" fmla="*/ 1880 w 8296"/>
                  <a:gd name="T77" fmla="*/ 1147 h 2865"/>
                  <a:gd name="T78" fmla="*/ 2132 w 8296"/>
                  <a:gd name="T79" fmla="*/ 1044 h 2865"/>
                  <a:gd name="T80" fmla="*/ 2398 w 8296"/>
                  <a:gd name="T81" fmla="*/ 946 h 2865"/>
                  <a:gd name="T82" fmla="*/ 2679 w 8296"/>
                  <a:gd name="T83" fmla="*/ 852 h 2865"/>
                  <a:gd name="T84" fmla="*/ 3199 w 8296"/>
                  <a:gd name="T85" fmla="*/ 700 h 2865"/>
                  <a:gd name="T86" fmla="*/ 3839 w 8296"/>
                  <a:gd name="T87" fmla="*/ 543 h 2865"/>
                  <a:gd name="T88" fmla="*/ 4524 w 8296"/>
                  <a:gd name="T89" fmla="*/ 408 h 2865"/>
                  <a:gd name="T90" fmla="*/ 5248 w 8296"/>
                  <a:gd name="T91" fmla="*/ 295 h 2865"/>
                  <a:gd name="T92" fmla="*/ 6008 w 8296"/>
                  <a:gd name="T93" fmla="*/ 207 h 2865"/>
                  <a:gd name="T94" fmla="*/ 6798 w 8296"/>
                  <a:gd name="T95" fmla="*/ 144 h 2865"/>
                  <a:gd name="T96" fmla="*/ 7617 w 8296"/>
                  <a:gd name="T97" fmla="*/ 109 h 2865"/>
                  <a:gd name="T98" fmla="*/ 8246 w 8296"/>
                  <a:gd name="T99" fmla="*/ 100 h 2865"/>
                  <a:gd name="T100" fmla="*/ 8263 w 8296"/>
                  <a:gd name="T101" fmla="*/ 98 h 2865"/>
                  <a:gd name="T102" fmla="*/ 8280 w 8296"/>
                  <a:gd name="T103" fmla="*/ 88 h 2865"/>
                  <a:gd name="T104" fmla="*/ 8295 w 8296"/>
                  <a:gd name="T105" fmla="*/ 60 h 2865"/>
                  <a:gd name="T106" fmla="*/ 8289 w 8296"/>
                  <a:gd name="T107" fmla="*/ 24 h 2865"/>
                  <a:gd name="T108" fmla="*/ 8272 w 8296"/>
                  <a:gd name="T109" fmla="*/ 6 h 2865"/>
                  <a:gd name="T110" fmla="*/ 8252 w 8296"/>
                  <a:gd name="T111" fmla="*/ 0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5">
                    <a:moveTo>
                      <a:pt x="8246" y="0"/>
                    </a:moveTo>
                    <a:lnTo>
                      <a:pt x="8246" y="0"/>
                    </a:lnTo>
                    <a:lnTo>
                      <a:pt x="8034" y="1"/>
                    </a:lnTo>
                    <a:lnTo>
                      <a:pt x="7823" y="4"/>
                    </a:lnTo>
                    <a:lnTo>
                      <a:pt x="7614" y="8"/>
                    </a:lnTo>
                    <a:lnTo>
                      <a:pt x="7407" y="14"/>
                    </a:lnTo>
                    <a:lnTo>
                      <a:pt x="7200" y="23"/>
                    </a:lnTo>
                    <a:lnTo>
                      <a:pt x="6995" y="33"/>
                    </a:lnTo>
                    <a:lnTo>
                      <a:pt x="6792" y="45"/>
                    </a:lnTo>
                    <a:lnTo>
                      <a:pt x="6591" y="57"/>
                    </a:lnTo>
                    <a:lnTo>
                      <a:pt x="6391" y="72"/>
                    </a:lnTo>
                    <a:lnTo>
                      <a:pt x="6193" y="89"/>
                    </a:lnTo>
                    <a:lnTo>
                      <a:pt x="5998" y="108"/>
                    </a:lnTo>
                    <a:lnTo>
                      <a:pt x="5804" y="127"/>
                    </a:lnTo>
                    <a:lnTo>
                      <a:pt x="5612" y="148"/>
                    </a:lnTo>
                    <a:lnTo>
                      <a:pt x="5422" y="171"/>
                    </a:lnTo>
                    <a:lnTo>
                      <a:pt x="5235" y="196"/>
                    </a:lnTo>
                    <a:lnTo>
                      <a:pt x="5049" y="221"/>
                    </a:lnTo>
                    <a:lnTo>
                      <a:pt x="4866" y="249"/>
                    </a:lnTo>
                    <a:lnTo>
                      <a:pt x="4686" y="278"/>
                    </a:lnTo>
                    <a:lnTo>
                      <a:pt x="4507" y="308"/>
                    </a:lnTo>
                    <a:lnTo>
                      <a:pt x="4331" y="341"/>
                    </a:lnTo>
                    <a:lnTo>
                      <a:pt x="4158" y="374"/>
                    </a:lnTo>
                    <a:lnTo>
                      <a:pt x="3987" y="409"/>
                    </a:lnTo>
                    <a:lnTo>
                      <a:pt x="3819" y="445"/>
                    </a:lnTo>
                    <a:lnTo>
                      <a:pt x="3653" y="482"/>
                    </a:lnTo>
                    <a:lnTo>
                      <a:pt x="3491" y="521"/>
                    </a:lnTo>
                    <a:lnTo>
                      <a:pt x="3331" y="561"/>
                    </a:lnTo>
                    <a:lnTo>
                      <a:pt x="3173" y="602"/>
                    </a:lnTo>
                    <a:lnTo>
                      <a:pt x="3020" y="645"/>
                    </a:lnTo>
                    <a:lnTo>
                      <a:pt x="2869" y="689"/>
                    </a:lnTo>
                    <a:lnTo>
                      <a:pt x="2721" y="734"/>
                    </a:lnTo>
                    <a:lnTo>
                      <a:pt x="2649" y="757"/>
                    </a:lnTo>
                    <a:lnTo>
                      <a:pt x="2577" y="780"/>
                    </a:lnTo>
                    <a:lnTo>
                      <a:pt x="2506" y="803"/>
                    </a:lnTo>
                    <a:lnTo>
                      <a:pt x="2436" y="827"/>
                    </a:lnTo>
                    <a:lnTo>
                      <a:pt x="2365" y="852"/>
                    </a:lnTo>
                    <a:lnTo>
                      <a:pt x="2297" y="876"/>
                    </a:lnTo>
                    <a:lnTo>
                      <a:pt x="2229" y="900"/>
                    </a:lnTo>
                    <a:lnTo>
                      <a:pt x="2162" y="925"/>
                    </a:lnTo>
                    <a:lnTo>
                      <a:pt x="2096" y="951"/>
                    </a:lnTo>
                    <a:lnTo>
                      <a:pt x="2030" y="976"/>
                    </a:lnTo>
                    <a:lnTo>
                      <a:pt x="1967" y="1002"/>
                    </a:lnTo>
                    <a:lnTo>
                      <a:pt x="1904" y="1029"/>
                    </a:lnTo>
                    <a:lnTo>
                      <a:pt x="1841" y="1055"/>
                    </a:lnTo>
                    <a:lnTo>
                      <a:pt x="1779" y="1082"/>
                    </a:lnTo>
                    <a:lnTo>
                      <a:pt x="1718" y="1109"/>
                    </a:lnTo>
                    <a:lnTo>
                      <a:pt x="1658" y="1135"/>
                    </a:lnTo>
                    <a:lnTo>
                      <a:pt x="1600" y="1163"/>
                    </a:lnTo>
                    <a:lnTo>
                      <a:pt x="1541" y="1190"/>
                    </a:lnTo>
                    <a:lnTo>
                      <a:pt x="1484" y="1218"/>
                    </a:lnTo>
                    <a:lnTo>
                      <a:pt x="1428" y="1247"/>
                    </a:lnTo>
                    <a:lnTo>
                      <a:pt x="1373" y="1275"/>
                    </a:lnTo>
                    <a:lnTo>
                      <a:pt x="1318" y="1304"/>
                    </a:lnTo>
                    <a:lnTo>
                      <a:pt x="1265" y="1333"/>
                    </a:lnTo>
                    <a:lnTo>
                      <a:pt x="1212" y="1362"/>
                    </a:lnTo>
                    <a:lnTo>
                      <a:pt x="1162" y="1391"/>
                    </a:lnTo>
                    <a:lnTo>
                      <a:pt x="1111" y="1421"/>
                    </a:lnTo>
                    <a:lnTo>
                      <a:pt x="1062" y="1451"/>
                    </a:lnTo>
                    <a:lnTo>
                      <a:pt x="1013" y="1481"/>
                    </a:lnTo>
                    <a:lnTo>
                      <a:pt x="966" y="1511"/>
                    </a:lnTo>
                    <a:lnTo>
                      <a:pt x="919" y="1542"/>
                    </a:lnTo>
                    <a:lnTo>
                      <a:pt x="874" y="1573"/>
                    </a:lnTo>
                    <a:lnTo>
                      <a:pt x="830" y="1604"/>
                    </a:lnTo>
                    <a:lnTo>
                      <a:pt x="786" y="1635"/>
                    </a:lnTo>
                    <a:lnTo>
                      <a:pt x="744" y="1666"/>
                    </a:lnTo>
                    <a:lnTo>
                      <a:pt x="703" y="1698"/>
                    </a:lnTo>
                    <a:lnTo>
                      <a:pt x="663" y="1731"/>
                    </a:lnTo>
                    <a:lnTo>
                      <a:pt x="624" y="1763"/>
                    </a:lnTo>
                    <a:lnTo>
                      <a:pt x="586" y="1795"/>
                    </a:lnTo>
                    <a:lnTo>
                      <a:pt x="549" y="1828"/>
                    </a:lnTo>
                    <a:lnTo>
                      <a:pt x="513" y="1861"/>
                    </a:lnTo>
                    <a:lnTo>
                      <a:pt x="479" y="1894"/>
                    </a:lnTo>
                    <a:lnTo>
                      <a:pt x="445" y="1927"/>
                    </a:lnTo>
                    <a:lnTo>
                      <a:pt x="413" y="1960"/>
                    </a:lnTo>
                    <a:lnTo>
                      <a:pt x="381" y="1995"/>
                    </a:lnTo>
                    <a:lnTo>
                      <a:pt x="351" y="2029"/>
                    </a:lnTo>
                    <a:lnTo>
                      <a:pt x="323" y="2063"/>
                    </a:lnTo>
                    <a:lnTo>
                      <a:pt x="295" y="2097"/>
                    </a:lnTo>
                    <a:lnTo>
                      <a:pt x="268" y="2131"/>
                    </a:lnTo>
                    <a:lnTo>
                      <a:pt x="243" y="2166"/>
                    </a:lnTo>
                    <a:lnTo>
                      <a:pt x="219" y="2202"/>
                    </a:lnTo>
                    <a:lnTo>
                      <a:pt x="196" y="2237"/>
                    </a:lnTo>
                    <a:lnTo>
                      <a:pt x="174" y="2272"/>
                    </a:lnTo>
                    <a:lnTo>
                      <a:pt x="154" y="2308"/>
                    </a:lnTo>
                    <a:lnTo>
                      <a:pt x="134" y="2343"/>
                    </a:lnTo>
                    <a:lnTo>
                      <a:pt x="115" y="2380"/>
                    </a:lnTo>
                    <a:lnTo>
                      <a:pt x="99" y="2416"/>
                    </a:lnTo>
                    <a:lnTo>
                      <a:pt x="83" y="2452"/>
                    </a:lnTo>
                    <a:lnTo>
                      <a:pt x="69" y="2489"/>
                    </a:lnTo>
                    <a:lnTo>
                      <a:pt x="56" y="2525"/>
                    </a:lnTo>
                    <a:lnTo>
                      <a:pt x="44" y="2563"/>
                    </a:lnTo>
                    <a:lnTo>
                      <a:pt x="34" y="2600"/>
                    </a:lnTo>
                    <a:lnTo>
                      <a:pt x="25" y="2637"/>
                    </a:lnTo>
                    <a:lnTo>
                      <a:pt x="18" y="2676"/>
                    </a:lnTo>
                    <a:lnTo>
                      <a:pt x="11" y="2713"/>
                    </a:lnTo>
                    <a:lnTo>
                      <a:pt x="6" y="2750"/>
                    </a:lnTo>
                    <a:lnTo>
                      <a:pt x="3" y="2788"/>
                    </a:lnTo>
                    <a:lnTo>
                      <a:pt x="1" y="2827"/>
                    </a:lnTo>
                    <a:lnTo>
                      <a:pt x="0" y="2865"/>
                    </a:lnTo>
                    <a:lnTo>
                      <a:pt x="100" y="2865"/>
                    </a:lnTo>
                    <a:lnTo>
                      <a:pt x="101" y="2830"/>
                    </a:lnTo>
                    <a:lnTo>
                      <a:pt x="102" y="2796"/>
                    </a:lnTo>
                    <a:lnTo>
                      <a:pt x="106" y="2761"/>
                    </a:lnTo>
                    <a:lnTo>
                      <a:pt x="110" y="2727"/>
                    </a:lnTo>
                    <a:lnTo>
                      <a:pt x="115" y="2693"/>
                    </a:lnTo>
                    <a:lnTo>
                      <a:pt x="123" y="2659"/>
                    </a:lnTo>
                    <a:lnTo>
                      <a:pt x="131" y="2625"/>
                    </a:lnTo>
                    <a:lnTo>
                      <a:pt x="140" y="2592"/>
                    </a:lnTo>
                    <a:lnTo>
                      <a:pt x="150" y="2558"/>
                    </a:lnTo>
                    <a:lnTo>
                      <a:pt x="163" y="2524"/>
                    </a:lnTo>
                    <a:lnTo>
                      <a:pt x="175" y="2490"/>
                    </a:lnTo>
                    <a:lnTo>
                      <a:pt x="190" y="2457"/>
                    </a:lnTo>
                    <a:lnTo>
                      <a:pt x="205" y="2423"/>
                    </a:lnTo>
                    <a:lnTo>
                      <a:pt x="223" y="2390"/>
                    </a:lnTo>
                    <a:lnTo>
                      <a:pt x="240" y="2357"/>
                    </a:lnTo>
                    <a:lnTo>
                      <a:pt x="260" y="2324"/>
                    </a:lnTo>
                    <a:lnTo>
                      <a:pt x="279" y="2291"/>
                    </a:lnTo>
                    <a:lnTo>
                      <a:pt x="301" y="2257"/>
                    </a:lnTo>
                    <a:lnTo>
                      <a:pt x="324" y="2224"/>
                    </a:lnTo>
                    <a:lnTo>
                      <a:pt x="348" y="2192"/>
                    </a:lnTo>
                    <a:lnTo>
                      <a:pt x="373" y="2159"/>
                    </a:lnTo>
                    <a:lnTo>
                      <a:pt x="400" y="2127"/>
                    </a:lnTo>
                    <a:lnTo>
                      <a:pt x="427" y="2094"/>
                    </a:lnTo>
                    <a:lnTo>
                      <a:pt x="456" y="2062"/>
                    </a:lnTo>
                    <a:lnTo>
                      <a:pt x="485" y="2030"/>
                    </a:lnTo>
                    <a:lnTo>
                      <a:pt x="516" y="1998"/>
                    </a:lnTo>
                    <a:lnTo>
                      <a:pt x="548" y="1966"/>
                    </a:lnTo>
                    <a:lnTo>
                      <a:pt x="581" y="1934"/>
                    </a:lnTo>
                    <a:lnTo>
                      <a:pt x="616" y="1902"/>
                    </a:lnTo>
                    <a:lnTo>
                      <a:pt x="651" y="1871"/>
                    </a:lnTo>
                    <a:lnTo>
                      <a:pt x="688" y="1839"/>
                    </a:lnTo>
                    <a:lnTo>
                      <a:pt x="726" y="1808"/>
                    </a:lnTo>
                    <a:lnTo>
                      <a:pt x="765" y="1777"/>
                    </a:lnTo>
                    <a:lnTo>
                      <a:pt x="804" y="1747"/>
                    </a:lnTo>
                    <a:lnTo>
                      <a:pt x="845" y="1716"/>
                    </a:lnTo>
                    <a:lnTo>
                      <a:pt x="887" y="1686"/>
                    </a:lnTo>
                    <a:lnTo>
                      <a:pt x="931" y="1656"/>
                    </a:lnTo>
                    <a:lnTo>
                      <a:pt x="975" y="1625"/>
                    </a:lnTo>
                    <a:lnTo>
                      <a:pt x="1020" y="1596"/>
                    </a:lnTo>
                    <a:lnTo>
                      <a:pt x="1066" y="1566"/>
                    </a:lnTo>
                    <a:lnTo>
                      <a:pt x="1113" y="1537"/>
                    </a:lnTo>
                    <a:lnTo>
                      <a:pt x="1162" y="1507"/>
                    </a:lnTo>
                    <a:lnTo>
                      <a:pt x="1211" y="1478"/>
                    </a:lnTo>
                    <a:lnTo>
                      <a:pt x="1262" y="1449"/>
                    </a:lnTo>
                    <a:lnTo>
                      <a:pt x="1313" y="1421"/>
                    </a:lnTo>
                    <a:lnTo>
                      <a:pt x="1366" y="1392"/>
                    </a:lnTo>
                    <a:lnTo>
                      <a:pt x="1418" y="1364"/>
                    </a:lnTo>
                    <a:lnTo>
                      <a:pt x="1473" y="1336"/>
                    </a:lnTo>
                    <a:lnTo>
                      <a:pt x="1529" y="1308"/>
                    </a:lnTo>
                    <a:lnTo>
                      <a:pt x="1584" y="1281"/>
                    </a:lnTo>
                    <a:lnTo>
                      <a:pt x="1642" y="1253"/>
                    </a:lnTo>
                    <a:lnTo>
                      <a:pt x="1700" y="1227"/>
                    </a:lnTo>
                    <a:lnTo>
                      <a:pt x="1758" y="1200"/>
                    </a:lnTo>
                    <a:lnTo>
                      <a:pt x="1819" y="1174"/>
                    </a:lnTo>
                    <a:lnTo>
                      <a:pt x="1880" y="1147"/>
                    </a:lnTo>
                    <a:lnTo>
                      <a:pt x="1941" y="1121"/>
                    </a:lnTo>
                    <a:lnTo>
                      <a:pt x="2004" y="1095"/>
                    </a:lnTo>
                    <a:lnTo>
                      <a:pt x="2068" y="1070"/>
                    </a:lnTo>
                    <a:lnTo>
                      <a:pt x="2132" y="1044"/>
                    </a:lnTo>
                    <a:lnTo>
                      <a:pt x="2197" y="1020"/>
                    </a:lnTo>
                    <a:lnTo>
                      <a:pt x="2263" y="995"/>
                    </a:lnTo>
                    <a:lnTo>
                      <a:pt x="2330" y="971"/>
                    </a:lnTo>
                    <a:lnTo>
                      <a:pt x="2398" y="946"/>
                    </a:lnTo>
                    <a:lnTo>
                      <a:pt x="2467" y="922"/>
                    </a:lnTo>
                    <a:lnTo>
                      <a:pt x="2538" y="898"/>
                    </a:lnTo>
                    <a:lnTo>
                      <a:pt x="2608" y="876"/>
                    </a:lnTo>
                    <a:lnTo>
                      <a:pt x="2679" y="852"/>
                    </a:lnTo>
                    <a:lnTo>
                      <a:pt x="2751" y="830"/>
                    </a:lnTo>
                    <a:lnTo>
                      <a:pt x="2897" y="785"/>
                    </a:lnTo>
                    <a:lnTo>
                      <a:pt x="3047" y="741"/>
                    </a:lnTo>
                    <a:lnTo>
                      <a:pt x="3199" y="700"/>
                    </a:lnTo>
                    <a:lnTo>
                      <a:pt x="3355" y="658"/>
                    </a:lnTo>
                    <a:lnTo>
                      <a:pt x="3514" y="619"/>
                    </a:lnTo>
                    <a:lnTo>
                      <a:pt x="3675" y="580"/>
                    </a:lnTo>
                    <a:lnTo>
                      <a:pt x="3839" y="543"/>
                    </a:lnTo>
                    <a:lnTo>
                      <a:pt x="4007" y="507"/>
                    </a:lnTo>
                    <a:lnTo>
                      <a:pt x="4176" y="473"/>
                    </a:lnTo>
                    <a:lnTo>
                      <a:pt x="4350" y="440"/>
                    </a:lnTo>
                    <a:lnTo>
                      <a:pt x="4524" y="408"/>
                    </a:lnTo>
                    <a:lnTo>
                      <a:pt x="4702" y="378"/>
                    </a:lnTo>
                    <a:lnTo>
                      <a:pt x="4881" y="349"/>
                    </a:lnTo>
                    <a:lnTo>
                      <a:pt x="5064" y="321"/>
                    </a:lnTo>
                    <a:lnTo>
                      <a:pt x="5248" y="295"/>
                    </a:lnTo>
                    <a:lnTo>
                      <a:pt x="5435" y="271"/>
                    </a:lnTo>
                    <a:lnTo>
                      <a:pt x="5623" y="248"/>
                    </a:lnTo>
                    <a:lnTo>
                      <a:pt x="5814" y="227"/>
                    </a:lnTo>
                    <a:lnTo>
                      <a:pt x="6008" y="207"/>
                    </a:lnTo>
                    <a:lnTo>
                      <a:pt x="6203" y="189"/>
                    </a:lnTo>
                    <a:lnTo>
                      <a:pt x="6400" y="173"/>
                    </a:lnTo>
                    <a:lnTo>
                      <a:pt x="6597" y="157"/>
                    </a:lnTo>
                    <a:lnTo>
                      <a:pt x="6798" y="144"/>
                    </a:lnTo>
                    <a:lnTo>
                      <a:pt x="7000" y="132"/>
                    </a:lnTo>
                    <a:lnTo>
                      <a:pt x="7205" y="123"/>
                    </a:lnTo>
                    <a:lnTo>
                      <a:pt x="7410" y="115"/>
                    </a:lnTo>
                    <a:lnTo>
                      <a:pt x="7617" y="109"/>
                    </a:lnTo>
                    <a:lnTo>
                      <a:pt x="7825" y="105"/>
                    </a:lnTo>
                    <a:lnTo>
                      <a:pt x="8034" y="101"/>
                    </a:lnTo>
                    <a:lnTo>
                      <a:pt x="8246" y="100"/>
                    </a:lnTo>
                    <a:lnTo>
                      <a:pt x="8246" y="100"/>
                    </a:lnTo>
                    <a:lnTo>
                      <a:pt x="8246" y="100"/>
                    </a:lnTo>
                    <a:lnTo>
                      <a:pt x="8252" y="100"/>
                    </a:lnTo>
                    <a:lnTo>
                      <a:pt x="8257" y="99"/>
                    </a:lnTo>
                    <a:lnTo>
                      <a:pt x="8263" y="98"/>
                    </a:lnTo>
                    <a:lnTo>
                      <a:pt x="8267" y="96"/>
                    </a:lnTo>
                    <a:lnTo>
                      <a:pt x="8272" y="94"/>
                    </a:lnTo>
                    <a:lnTo>
                      <a:pt x="8276" y="91"/>
                    </a:lnTo>
                    <a:lnTo>
                      <a:pt x="8280" y="88"/>
                    </a:lnTo>
                    <a:lnTo>
                      <a:pt x="8284" y="85"/>
                    </a:lnTo>
                    <a:lnTo>
                      <a:pt x="8289" y="78"/>
                    </a:lnTo>
                    <a:lnTo>
                      <a:pt x="8293" y="68"/>
                    </a:lnTo>
                    <a:lnTo>
                      <a:pt x="8295" y="60"/>
                    </a:lnTo>
                    <a:lnTo>
                      <a:pt x="8296" y="51"/>
                    </a:lnTo>
                    <a:lnTo>
                      <a:pt x="8295" y="41"/>
                    </a:lnTo>
                    <a:lnTo>
                      <a:pt x="8293" y="32"/>
                    </a:lnTo>
                    <a:lnTo>
                      <a:pt x="8289" y="24"/>
                    </a:lnTo>
                    <a:lnTo>
                      <a:pt x="8284" y="16"/>
                    </a:lnTo>
                    <a:lnTo>
                      <a:pt x="8280" y="12"/>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55" name="Freeform 96"/>
              <p:cNvSpPr>
                <a:spLocks/>
              </p:cNvSpPr>
              <p:nvPr>
                <p:custDataLst>
                  <p:tags r:id="rId198"/>
                </p:custDataLst>
              </p:nvPr>
            </p:nvSpPr>
            <p:spPr bwMode="auto">
              <a:xfrm>
                <a:off x="728" y="3354"/>
                <a:ext cx="358" cy="115"/>
              </a:xfrm>
              <a:custGeom>
                <a:avLst/>
                <a:gdLst>
                  <a:gd name="T0" fmla="*/ 8239 w 8245"/>
                  <a:gd name="T1" fmla="*/ 2750 h 2865"/>
                  <a:gd name="T2" fmla="*/ 8211 w 8245"/>
                  <a:gd name="T3" fmla="*/ 2600 h 2865"/>
                  <a:gd name="T4" fmla="*/ 8162 w 8245"/>
                  <a:gd name="T5" fmla="*/ 2452 h 2865"/>
                  <a:gd name="T6" fmla="*/ 8091 w 8245"/>
                  <a:gd name="T7" fmla="*/ 2308 h 2865"/>
                  <a:gd name="T8" fmla="*/ 8002 w 8245"/>
                  <a:gd name="T9" fmla="*/ 2166 h 2865"/>
                  <a:gd name="T10" fmla="*/ 7894 w 8245"/>
                  <a:gd name="T11" fmla="*/ 2029 h 2865"/>
                  <a:gd name="T12" fmla="*/ 7766 w 8245"/>
                  <a:gd name="T13" fmla="*/ 1894 h 2865"/>
                  <a:gd name="T14" fmla="*/ 7620 w 8245"/>
                  <a:gd name="T15" fmla="*/ 1763 h 2865"/>
                  <a:gd name="T16" fmla="*/ 7459 w 8245"/>
                  <a:gd name="T17" fmla="*/ 1635 h 2865"/>
                  <a:gd name="T18" fmla="*/ 7279 w 8245"/>
                  <a:gd name="T19" fmla="*/ 1511 h 2865"/>
                  <a:gd name="T20" fmla="*/ 7083 w 8245"/>
                  <a:gd name="T21" fmla="*/ 1391 h 2865"/>
                  <a:gd name="T22" fmla="*/ 6872 w 8245"/>
                  <a:gd name="T23" fmla="*/ 1275 h 2865"/>
                  <a:gd name="T24" fmla="*/ 6645 w 8245"/>
                  <a:gd name="T25" fmla="*/ 1163 h 2865"/>
                  <a:gd name="T26" fmla="*/ 6404 w 8245"/>
                  <a:gd name="T27" fmla="*/ 1055 h 2865"/>
                  <a:gd name="T28" fmla="*/ 6149 w 8245"/>
                  <a:gd name="T29" fmla="*/ 951 h 2865"/>
                  <a:gd name="T30" fmla="*/ 5880 w 8245"/>
                  <a:gd name="T31" fmla="*/ 852 h 2865"/>
                  <a:gd name="T32" fmla="*/ 5596 w 8245"/>
                  <a:gd name="T33" fmla="*/ 757 h 2865"/>
                  <a:gd name="T34" fmla="*/ 5072 w 8245"/>
                  <a:gd name="T35" fmla="*/ 602 h 2865"/>
                  <a:gd name="T36" fmla="*/ 4426 w 8245"/>
                  <a:gd name="T37" fmla="*/ 445 h 2865"/>
                  <a:gd name="T38" fmla="*/ 3738 w 8245"/>
                  <a:gd name="T39" fmla="*/ 308 h 2865"/>
                  <a:gd name="T40" fmla="*/ 3010 w 8245"/>
                  <a:gd name="T41" fmla="*/ 196 h 2865"/>
                  <a:gd name="T42" fmla="*/ 2246 w 8245"/>
                  <a:gd name="T43" fmla="*/ 108 h 2865"/>
                  <a:gd name="T44" fmla="*/ 1453 w 8245"/>
                  <a:gd name="T45" fmla="*/ 45 h 2865"/>
                  <a:gd name="T46" fmla="*/ 631 w 8245"/>
                  <a:gd name="T47" fmla="*/ 8 h 2865"/>
                  <a:gd name="T48" fmla="*/ 0 w 8245"/>
                  <a:gd name="T49" fmla="*/ 100 h 2865"/>
                  <a:gd name="T50" fmla="*/ 835 w 8245"/>
                  <a:gd name="T51" fmla="*/ 115 h 2865"/>
                  <a:gd name="T52" fmla="*/ 1648 w 8245"/>
                  <a:gd name="T53" fmla="*/ 157 h 2865"/>
                  <a:gd name="T54" fmla="*/ 2431 w 8245"/>
                  <a:gd name="T55" fmla="*/ 227 h 2865"/>
                  <a:gd name="T56" fmla="*/ 3181 w 8245"/>
                  <a:gd name="T57" fmla="*/ 321 h 2865"/>
                  <a:gd name="T58" fmla="*/ 3895 w 8245"/>
                  <a:gd name="T59" fmla="*/ 440 h 2865"/>
                  <a:gd name="T60" fmla="*/ 4570 w 8245"/>
                  <a:gd name="T61" fmla="*/ 580 h 2865"/>
                  <a:gd name="T62" fmla="*/ 5198 w 8245"/>
                  <a:gd name="T63" fmla="*/ 741 h 2865"/>
                  <a:gd name="T64" fmla="*/ 5637 w 8245"/>
                  <a:gd name="T65" fmla="*/ 876 h 2865"/>
                  <a:gd name="T66" fmla="*/ 5915 w 8245"/>
                  <a:gd name="T67" fmla="*/ 971 h 2865"/>
                  <a:gd name="T68" fmla="*/ 6177 w 8245"/>
                  <a:gd name="T69" fmla="*/ 1070 h 2865"/>
                  <a:gd name="T70" fmla="*/ 6426 w 8245"/>
                  <a:gd name="T71" fmla="*/ 1174 h 2865"/>
                  <a:gd name="T72" fmla="*/ 6661 w 8245"/>
                  <a:gd name="T73" fmla="*/ 1281 h 2865"/>
                  <a:gd name="T74" fmla="*/ 6879 w 8245"/>
                  <a:gd name="T75" fmla="*/ 1392 h 2865"/>
                  <a:gd name="T76" fmla="*/ 7083 w 8245"/>
                  <a:gd name="T77" fmla="*/ 1507 h 2865"/>
                  <a:gd name="T78" fmla="*/ 7270 w 8245"/>
                  <a:gd name="T79" fmla="*/ 1625 h 2865"/>
                  <a:gd name="T80" fmla="*/ 7440 w 8245"/>
                  <a:gd name="T81" fmla="*/ 1747 h 2865"/>
                  <a:gd name="T82" fmla="*/ 7594 w 8245"/>
                  <a:gd name="T83" fmla="*/ 1871 h 2865"/>
                  <a:gd name="T84" fmla="*/ 7729 w 8245"/>
                  <a:gd name="T85" fmla="*/ 1998 h 2865"/>
                  <a:gd name="T86" fmla="*/ 7845 w 8245"/>
                  <a:gd name="T87" fmla="*/ 2127 h 2865"/>
                  <a:gd name="T88" fmla="*/ 7943 w 8245"/>
                  <a:gd name="T89" fmla="*/ 2257 h 2865"/>
                  <a:gd name="T90" fmla="*/ 8022 w 8245"/>
                  <a:gd name="T91" fmla="*/ 2390 h 2865"/>
                  <a:gd name="T92" fmla="*/ 8082 w 8245"/>
                  <a:gd name="T93" fmla="*/ 2524 h 2865"/>
                  <a:gd name="T94" fmla="*/ 8122 w 8245"/>
                  <a:gd name="T95" fmla="*/ 2659 h 2865"/>
                  <a:gd name="T96" fmla="*/ 8142 w 8245"/>
                  <a:gd name="T97" fmla="*/ 279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5">
                    <a:moveTo>
                      <a:pt x="8245" y="2865"/>
                    </a:moveTo>
                    <a:lnTo>
                      <a:pt x="8244" y="2827"/>
                    </a:lnTo>
                    <a:lnTo>
                      <a:pt x="8242" y="2788"/>
                    </a:lnTo>
                    <a:lnTo>
                      <a:pt x="8239" y="2750"/>
                    </a:lnTo>
                    <a:lnTo>
                      <a:pt x="8234" y="2713"/>
                    </a:lnTo>
                    <a:lnTo>
                      <a:pt x="8227" y="2676"/>
                    </a:lnTo>
                    <a:lnTo>
                      <a:pt x="8219" y="2637"/>
                    </a:lnTo>
                    <a:lnTo>
                      <a:pt x="8211" y="2600"/>
                    </a:lnTo>
                    <a:lnTo>
                      <a:pt x="8201" y="2563"/>
                    </a:lnTo>
                    <a:lnTo>
                      <a:pt x="8188" y="2525"/>
                    </a:lnTo>
                    <a:lnTo>
                      <a:pt x="8176" y="2489"/>
                    </a:lnTo>
                    <a:lnTo>
                      <a:pt x="8162" y="2452"/>
                    </a:lnTo>
                    <a:lnTo>
                      <a:pt x="8146" y="2416"/>
                    </a:lnTo>
                    <a:lnTo>
                      <a:pt x="8130" y="2380"/>
                    </a:lnTo>
                    <a:lnTo>
                      <a:pt x="8111" y="2343"/>
                    </a:lnTo>
                    <a:lnTo>
                      <a:pt x="8091" y="2308"/>
                    </a:lnTo>
                    <a:lnTo>
                      <a:pt x="8071" y="2272"/>
                    </a:lnTo>
                    <a:lnTo>
                      <a:pt x="8049" y="2237"/>
                    </a:lnTo>
                    <a:lnTo>
                      <a:pt x="8026" y="2202"/>
                    </a:lnTo>
                    <a:lnTo>
                      <a:pt x="8002" y="2166"/>
                    </a:lnTo>
                    <a:lnTo>
                      <a:pt x="7977" y="2131"/>
                    </a:lnTo>
                    <a:lnTo>
                      <a:pt x="7950" y="2097"/>
                    </a:lnTo>
                    <a:lnTo>
                      <a:pt x="7922" y="2063"/>
                    </a:lnTo>
                    <a:lnTo>
                      <a:pt x="7894" y="2029"/>
                    </a:lnTo>
                    <a:lnTo>
                      <a:pt x="7864" y="1995"/>
                    </a:lnTo>
                    <a:lnTo>
                      <a:pt x="7832" y="1960"/>
                    </a:lnTo>
                    <a:lnTo>
                      <a:pt x="7800" y="1927"/>
                    </a:lnTo>
                    <a:lnTo>
                      <a:pt x="7766" y="1894"/>
                    </a:lnTo>
                    <a:lnTo>
                      <a:pt x="7732" y="1861"/>
                    </a:lnTo>
                    <a:lnTo>
                      <a:pt x="7696" y="1828"/>
                    </a:lnTo>
                    <a:lnTo>
                      <a:pt x="7659" y="1795"/>
                    </a:lnTo>
                    <a:lnTo>
                      <a:pt x="7620" y="1763"/>
                    </a:lnTo>
                    <a:lnTo>
                      <a:pt x="7582" y="1731"/>
                    </a:lnTo>
                    <a:lnTo>
                      <a:pt x="7542" y="1698"/>
                    </a:lnTo>
                    <a:lnTo>
                      <a:pt x="7501" y="1666"/>
                    </a:lnTo>
                    <a:lnTo>
                      <a:pt x="7459" y="1635"/>
                    </a:lnTo>
                    <a:lnTo>
                      <a:pt x="7415" y="1604"/>
                    </a:lnTo>
                    <a:lnTo>
                      <a:pt x="7371" y="1573"/>
                    </a:lnTo>
                    <a:lnTo>
                      <a:pt x="7326" y="1542"/>
                    </a:lnTo>
                    <a:lnTo>
                      <a:pt x="7279" y="1511"/>
                    </a:lnTo>
                    <a:lnTo>
                      <a:pt x="7232" y="1481"/>
                    </a:lnTo>
                    <a:lnTo>
                      <a:pt x="7183" y="1451"/>
                    </a:lnTo>
                    <a:lnTo>
                      <a:pt x="7134" y="1421"/>
                    </a:lnTo>
                    <a:lnTo>
                      <a:pt x="7083" y="1391"/>
                    </a:lnTo>
                    <a:lnTo>
                      <a:pt x="7032" y="1362"/>
                    </a:lnTo>
                    <a:lnTo>
                      <a:pt x="6980" y="1333"/>
                    </a:lnTo>
                    <a:lnTo>
                      <a:pt x="6927" y="1304"/>
                    </a:lnTo>
                    <a:lnTo>
                      <a:pt x="6872" y="1275"/>
                    </a:lnTo>
                    <a:lnTo>
                      <a:pt x="6817" y="1247"/>
                    </a:lnTo>
                    <a:lnTo>
                      <a:pt x="6761" y="1218"/>
                    </a:lnTo>
                    <a:lnTo>
                      <a:pt x="6704" y="1190"/>
                    </a:lnTo>
                    <a:lnTo>
                      <a:pt x="6645" y="1163"/>
                    </a:lnTo>
                    <a:lnTo>
                      <a:pt x="6587" y="1135"/>
                    </a:lnTo>
                    <a:lnTo>
                      <a:pt x="6527" y="1109"/>
                    </a:lnTo>
                    <a:lnTo>
                      <a:pt x="6466" y="1082"/>
                    </a:lnTo>
                    <a:lnTo>
                      <a:pt x="6404" y="1055"/>
                    </a:lnTo>
                    <a:lnTo>
                      <a:pt x="6341" y="1029"/>
                    </a:lnTo>
                    <a:lnTo>
                      <a:pt x="6278" y="1002"/>
                    </a:lnTo>
                    <a:lnTo>
                      <a:pt x="6214" y="976"/>
                    </a:lnTo>
                    <a:lnTo>
                      <a:pt x="6149" y="951"/>
                    </a:lnTo>
                    <a:lnTo>
                      <a:pt x="6083" y="925"/>
                    </a:lnTo>
                    <a:lnTo>
                      <a:pt x="6016" y="900"/>
                    </a:lnTo>
                    <a:lnTo>
                      <a:pt x="5948" y="876"/>
                    </a:lnTo>
                    <a:lnTo>
                      <a:pt x="5880" y="852"/>
                    </a:lnTo>
                    <a:lnTo>
                      <a:pt x="5809" y="827"/>
                    </a:lnTo>
                    <a:lnTo>
                      <a:pt x="5739" y="803"/>
                    </a:lnTo>
                    <a:lnTo>
                      <a:pt x="5668" y="780"/>
                    </a:lnTo>
                    <a:lnTo>
                      <a:pt x="5596" y="757"/>
                    </a:lnTo>
                    <a:lnTo>
                      <a:pt x="5524" y="734"/>
                    </a:lnTo>
                    <a:lnTo>
                      <a:pt x="5376" y="689"/>
                    </a:lnTo>
                    <a:lnTo>
                      <a:pt x="5225" y="645"/>
                    </a:lnTo>
                    <a:lnTo>
                      <a:pt x="5072" y="602"/>
                    </a:lnTo>
                    <a:lnTo>
                      <a:pt x="4914" y="561"/>
                    </a:lnTo>
                    <a:lnTo>
                      <a:pt x="4754" y="521"/>
                    </a:lnTo>
                    <a:lnTo>
                      <a:pt x="4592" y="482"/>
                    </a:lnTo>
                    <a:lnTo>
                      <a:pt x="4426" y="445"/>
                    </a:lnTo>
                    <a:lnTo>
                      <a:pt x="4258" y="409"/>
                    </a:lnTo>
                    <a:lnTo>
                      <a:pt x="4087" y="374"/>
                    </a:lnTo>
                    <a:lnTo>
                      <a:pt x="3914" y="341"/>
                    </a:lnTo>
                    <a:lnTo>
                      <a:pt x="3738" y="308"/>
                    </a:lnTo>
                    <a:lnTo>
                      <a:pt x="3559" y="278"/>
                    </a:lnTo>
                    <a:lnTo>
                      <a:pt x="3379" y="249"/>
                    </a:lnTo>
                    <a:lnTo>
                      <a:pt x="3196" y="221"/>
                    </a:lnTo>
                    <a:lnTo>
                      <a:pt x="3010" y="196"/>
                    </a:lnTo>
                    <a:lnTo>
                      <a:pt x="2823" y="171"/>
                    </a:lnTo>
                    <a:lnTo>
                      <a:pt x="2633" y="148"/>
                    </a:lnTo>
                    <a:lnTo>
                      <a:pt x="2441" y="127"/>
                    </a:lnTo>
                    <a:lnTo>
                      <a:pt x="2246" y="108"/>
                    </a:lnTo>
                    <a:lnTo>
                      <a:pt x="2052" y="89"/>
                    </a:lnTo>
                    <a:lnTo>
                      <a:pt x="1854" y="72"/>
                    </a:lnTo>
                    <a:lnTo>
                      <a:pt x="1654" y="57"/>
                    </a:lnTo>
                    <a:lnTo>
                      <a:pt x="1453" y="45"/>
                    </a:lnTo>
                    <a:lnTo>
                      <a:pt x="1250" y="33"/>
                    </a:lnTo>
                    <a:lnTo>
                      <a:pt x="1045" y="23"/>
                    </a:lnTo>
                    <a:lnTo>
                      <a:pt x="838" y="14"/>
                    </a:lnTo>
                    <a:lnTo>
                      <a:pt x="631" y="8"/>
                    </a:lnTo>
                    <a:lnTo>
                      <a:pt x="422" y="4"/>
                    </a:lnTo>
                    <a:lnTo>
                      <a:pt x="212" y="1"/>
                    </a:lnTo>
                    <a:lnTo>
                      <a:pt x="0" y="0"/>
                    </a:lnTo>
                    <a:lnTo>
                      <a:pt x="0" y="100"/>
                    </a:lnTo>
                    <a:lnTo>
                      <a:pt x="211" y="101"/>
                    </a:lnTo>
                    <a:lnTo>
                      <a:pt x="420" y="105"/>
                    </a:lnTo>
                    <a:lnTo>
                      <a:pt x="628" y="109"/>
                    </a:lnTo>
                    <a:lnTo>
                      <a:pt x="835" y="115"/>
                    </a:lnTo>
                    <a:lnTo>
                      <a:pt x="1040" y="123"/>
                    </a:lnTo>
                    <a:lnTo>
                      <a:pt x="1245" y="132"/>
                    </a:lnTo>
                    <a:lnTo>
                      <a:pt x="1447" y="144"/>
                    </a:lnTo>
                    <a:lnTo>
                      <a:pt x="1648" y="157"/>
                    </a:lnTo>
                    <a:lnTo>
                      <a:pt x="1845" y="173"/>
                    </a:lnTo>
                    <a:lnTo>
                      <a:pt x="2042" y="189"/>
                    </a:lnTo>
                    <a:lnTo>
                      <a:pt x="2237" y="207"/>
                    </a:lnTo>
                    <a:lnTo>
                      <a:pt x="2431" y="227"/>
                    </a:lnTo>
                    <a:lnTo>
                      <a:pt x="2622" y="248"/>
                    </a:lnTo>
                    <a:lnTo>
                      <a:pt x="2810" y="271"/>
                    </a:lnTo>
                    <a:lnTo>
                      <a:pt x="2997" y="295"/>
                    </a:lnTo>
                    <a:lnTo>
                      <a:pt x="3181" y="321"/>
                    </a:lnTo>
                    <a:lnTo>
                      <a:pt x="3364" y="349"/>
                    </a:lnTo>
                    <a:lnTo>
                      <a:pt x="3543" y="378"/>
                    </a:lnTo>
                    <a:lnTo>
                      <a:pt x="3721" y="408"/>
                    </a:lnTo>
                    <a:lnTo>
                      <a:pt x="3895" y="440"/>
                    </a:lnTo>
                    <a:lnTo>
                      <a:pt x="4069" y="473"/>
                    </a:lnTo>
                    <a:lnTo>
                      <a:pt x="4238" y="507"/>
                    </a:lnTo>
                    <a:lnTo>
                      <a:pt x="4405" y="543"/>
                    </a:lnTo>
                    <a:lnTo>
                      <a:pt x="4570" y="580"/>
                    </a:lnTo>
                    <a:lnTo>
                      <a:pt x="4731" y="619"/>
                    </a:lnTo>
                    <a:lnTo>
                      <a:pt x="4890" y="658"/>
                    </a:lnTo>
                    <a:lnTo>
                      <a:pt x="5046" y="700"/>
                    </a:lnTo>
                    <a:lnTo>
                      <a:pt x="5198" y="741"/>
                    </a:lnTo>
                    <a:lnTo>
                      <a:pt x="5348" y="785"/>
                    </a:lnTo>
                    <a:lnTo>
                      <a:pt x="5494" y="830"/>
                    </a:lnTo>
                    <a:lnTo>
                      <a:pt x="5566" y="852"/>
                    </a:lnTo>
                    <a:lnTo>
                      <a:pt x="5637" y="876"/>
                    </a:lnTo>
                    <a:lnTo>
                      <a:pt x="5707" y="898"/>
                    </a:lnTo>
                    <a:lnTo>
                      <a:pt x="5778" y="922"/>
                    </a:lnTo>
                    <a:lnTo>
                      <a:pt x="5847" y="946"/>
                    </a:lnTo>
                    <a:lnTo>
                      <a:pt x="5915" y="971"/>
                    </a:lnTo>
                    <a:lnTo>
                      <a:pt x="5982" y="995"/>
                    </a:lnTo>
                    <a:lnTo>
                      <a:pt x="6048" y="1020"/>
                    </a:lnTo>
                    <a:lnTo>
                      <a:pt x="6113" y="1044"/>
                    </a:lnTo>
                    <a:lnTo>
                      <a:pt x="6177" y="1070"/>
                    </a:lnTo>
                    <a:lnTo>
                      <a:pt x="6241" y="1095"/>
                    </a:lnTo>
                    <a:lnTo>
                      <a:pt x="6304" y="1121"/>
                    </a:lnTo>
                    <a:lnTo>
                      <a:pt x="6365" y="1147"/>
                    </a:lnTo>
                    <a:lnTo>
                      <a:pt x="6426" y="1174"/>
                    </a:lnTo>
                    <a:lnTo>
                      <a:pt x="6487" y="1200"/>
                    </a:lnTo>
                    <a:lnTo>
                      <a:pt x="6545" y="1227"/>
                    </a:lnTo>
                    <a:lnTo>
                      <a:pt x="6603" y="1253"/>
                    </a:lnTo>
                    <a:lnTo>
                      <a:pt x="6661" y="1281"/>
                    </a:lnTo>
                    <a:lnTo>
                      <a:pt x="6716" y="1308"/>
                    </a:lnTo>
                    <a:lnTo>
                      <a:pt x="6772" y="1336"/>
                    </a:lnTo>
                    <a:lnTo>
                      <a:pt x="6827" y="1364"/>
                    </a:lnTo>
                    <a:lnTo>
                      <a:pt x="6879" y="1392"/>
                    </a:lnTo>
                    <a:lnTo>
                      <a:pt x="6932" y="1421"/>
                    </a:lnTo>
                    <a:lnTo>
                      <a:pt x="6983" y="1449"/>
                    </a:lnTo>
                    <a:lnTo>
                      <a:pt x="7034" y="1478"/>
                    </a:lnTo>
                    <a:lnTo>
                      <a:pt x="7083" y="1507"/>
                    </a:lnTo>
                    <a:lnTo>
                      <a:pt x="7132" y="1537"/>
                    </a:lnTo>
                    <a:lnTo>
                      <a:pt x="7178" y="1566"/>
                    </a:lnTo>
                    <a:lnTo>
                      <a:pt x="7225" y="1596"/>
                    </a:lnTo>
                    <a:lnTo>
                      <a:pt x="7270" y="1625"/>
                    </a:lnTo>
                    <a:lnTo>
                      <a:pt x="7314" y="1656"/>
                    </a:lnTo>
                    <a:lnTo>
                      <a:pt x="7358" y="1686"/>
                    </a:lnTo>
                    <a:lnTo>
                      <a:pt x="7400" y="1716"/>
                    </a:lnTo>
                    <a:lnTo>
                      <a:pt x="7440" y="1747"/>
                    </a:lnTo>
                    <a:lnTo>
                      <a:pt x="7480" y="1777"/>
                    </a:lnTo>
                    <a:lnTo>
                      <a:pt x="7519" y="1808"/>
                    </a:lnTo>
                    <a:lnTo>
                      <a:pt x="7557" y="1839"/>
                    </a:lnTo>
                    <a:lnTo>
                      <a:pt x="7594" y="1871"/>
                    </a:lnTo>
                    <a:lnTo>
                      <a:pt x="7629" y="1902"/>
                    </a:lnTo>
                    <a:lnTo>
                      <a:pt x="7664" y="1934"/>
                    </a:lnTo>
                    <a:lnTo>
                      <a:pt x="7697" y="1966"/>
                    </a:lnTo>
                    <a:lnTo>
                      <a:pt x="7729" y="1998"/>
                    </a:lnTo>
                    <a:lnTo>
                      <a:pt x="7760" y="2030"/>
                    </a:lnTo>
                    <a:lnTo>
                      <a:pt x="7789" y="2062"/>
                    </a:lnTo>
                    <a:lnTo>
                      <a:pt x="7818" y="2094"/>
                    </a:lnTo>
                    <a:lnTo>
                      <a:pt x="7845" y="2127"/>
                    </a:lnTo>
                    <a:lnTo>
                      <a:pt x="7872" y="2159"/>
                    </a:lnTo>
                    <a:lnTo>
                      <a:pt x="7897" y="2192"/>
                    </a:lnTo>
                    <a:lnTo>
                      <a:pt x="7920" y="2224"/>
                    </a:lnTo>
                    <a:lnTo>
                      <a:pt x="7943" y="2257"/>
                    </a:lnTo>
                    <a:lnTo>
                      <a:pt x="7966" y="2291"/>
                    </a:lnTo>
                    <a:lnTo>
                      <a:pt x="7985" y="2324"/>
                    </a:lnTo>
                    <a:lnTo>
                      <a:pt x="8005" y="2357"/>
                    </a:lnTo>
                    <a:lnTo>
                      <a:pt x="8022" y="2390"/>
                    </a:lnTo>
                    <a:lnTo>
                      <a:pt x="8039" y="2423"/>
                    </a:lnTo>
                    <a:lnTo>
                      <a:pt x="8055" y="2457"/>
                    </a:lnTo>
                    <a:lnTo>
                      <a:pt x="8069" y="2490"/>
                    </a:lnTo>
                    <a:lnTo>
                      <a:pt x="8082" y="2524"/>
                    </a:lnTo>
                    <a:lnTo>
                      <a:pt x="8095" y="2558"/>
                    </a:lnTo>
                    <a:lnTo>
                      <a:pt x="8105" y="2592"/>
                    </a:lnTo>
                    <a:lnTo>
                      <a:pt x="8114" y="2625"/>
                    </a:lnTo>
                    <a:lnTo>
                      <a:pt x="8122" y="2659"/>
                    </a:lnTo>
                    <a:lnTo>
                      <a:pt x="8130" y="2693"/>
                    </a:lnTo>
                    <a:lnTo>
                      <a:pt x="8135" y="2727"/>
                    </a:lnTo>
                    <a:lnTo>
                      <a:pt x="8139" y="2761"/>
                    </a:lnTo>
                    <a:lnTo>
                      <a:pt x="8142" y="2796"/>
                    </a:lnTo>
                    <a:lnTo>
                      <a:pt x="8144" y="2830"/>
                    </a:lnTo>
                    <a:lnTo>
                      <a:pt x="8145" y="2865"/>
                    </a:lnTo>
                    <a:lnTo>
                      <a:pt x="8245"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56" name="Freeform 97"/>
              <p:cNvSpPr>
                <a:spLocks/>
              </p:cNvSpPr>
              <p:nvPr>
                <p:custDataLst>
                  <p:tags r:id="rId199"/>
                </p:custDataLst>
              </p:nvPr>
            </p:nvSpPr>
            <p:spPr bwMode="auto">
              <a:xfrm>
                <a:off x="737" y="3387"/>
                <a:ext cx="234" cy="73"/>
              </a:xfrm>
              <a:custGeom>
                <a:avLst/>
                <a:gdLst>
                  <a:gd name="T0" fmla="*/ 0 w 5393"/>
                  <a:gd name="T1" fmla="*/ 1426 h 1828"/>
                  <a:gd name="T2" fmla="*/ 1207 w 5393"/>
                  <a:gd name="T3" fmla="*/ 1828 h 1828"/>
                  <a:gd name="T4" fmla="*/ 4061 w 5393"/>
                  <a:gd name="T5" fmla="*/ 687 h 1828"/>
                  <a:gd name="T6" fmla="*/ 5393 w 5393"/>
                  <a:gd name="T7" fmla="*/ 1013 h 1828"/>
                  <a:gd name="T8" fmla="*/ 4690 w 5393"/>
                  <a:gd name="T9" fmla="*/ 0 h 1828"/>
                  <a:gd name="T10" fmla="*/ 1253 w 5393"/>
                  <a:gd name="T11" fmla="*/ 0 h 1828"/>
                  <a:gd name="T12" fmla="*/ 2690 w 5393"/>
                  <a:gd name="T13" fmla="*/ 352 h 1828"/>
                  <a:gd name="T14" fmla="*/ 0 w 5393"/>
                  <a:gd name="T15" fmla="*/ 1426 h 18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8">
                    <a:moveTo>
                      <a:pt x="0" y="1426"/>
                    </a:moveTo>
                    <a:lnTo>
                      <a:pt x="1207" y="1828"/>
                    </a:lnTo>
                    <a:lnTo>
                      <a:pt x="4061" y="687"/>
                    </a:lnTo>
                    <a:lnTo>
                      <a:pt x="5393" y="1013"/>
                    </a:lnTo>
                    <a:lnTo>
                      <a:pt x="4690" y="0"/>
                    </a:lnTo>
                    <a:lnTo>
                      <a:pt x="1253" y="0"/>
                    </a:lnTo>
                    <a:lnTo>
                      <a:pt x="2690" y="352"/>
                    </a:lnTo>
                    <a:lnTo>
                      <a:pt x="0"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57" name="Freeform 98"/>
              <p:cNvSpPr>
                <a:spLocks/>
              </p:cNvSpPr>
              <p:nvPr>
                <p:custDataLst>
                  <p:tags r:id="rId200"/>
                </p:custDataLst>
              </p:nvPr>
            </p:nvSpPr>
            <p:spPr bwMode="auto">
              <a:xfrm>
                <a:off x="480" y="3474"/>
                <a:ext cx="235" cy="73"/>
              </a:xfrm>
              <a:custGeom>
                <a:avLst/>
                <a:gdLst>
                  <a:gd name="T0" fmla="*/ 5394 w 5394"/>
                  <a:gd name="T1" fmla="*/ 401 h 1827"/>
                  <a:gd name="T2" fmla="*/ 4186 w 5394"/>
                  <a:gd name="T3" fmla="*/ 0 h 1827"/>
                  <a:gd name="T4" fmla="*/ 1332 w 5394"/>
                  <a:gd name="T5" fmla="*/ 1140 h 1827"/>
                  <a:gd name="T6" fmla="*/ 0 w 5394"/>
                  <a:gd name="T7" fmla="*/ 814 h 1827"/>
                  <a:gd name="T8" fmla="*/ 702 w 5394"/>
                  <a:gd name="T9" fmla="*/ 1827 h 1827"/>
                  <a:gd name="T10" fmla="*/ 4140 w 5394"/>
                  <a:gd name="T11" fmla="*/ 1827 h 1827"/>
                  <a:gd name="T12" fmla="*/ 2704 w 5394"/>
                  <a:gd name="T13" fmla="*/ 1476 h 1827"/>
                  <a:gd name="T14" fmla="*/ 5394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5394" y="401"/>
                    </a:moveTo>
                    <a:lnTo>
                      <a:pt x="4186" y="0"/>
                    </a:lnTo>
                    <a:lnTo>
                      <a:pt x="1332" y="1140"/>
                    </a:lnTo>
                    <a:lnTo>
                      <a:pt x="0" y="814"/>
                    </a:lnTo>
                    <a:lnTo>
                      <a:pt x="702" y="1827"/>
                    </a:lnTo>
                    <a:lnTo>
                      <a:pt x="4140" y="1827"/>
                    </a:lnTo>
                    <a:lnTo>
                      <a:pt x="2704" y="1476"/>
                    </a:lnTo>
                    <a:lnTo>
                      <a:pt x="5394"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58" name="Freeform 99"/>
              <p:cNvSpPr>
                <a:spLocks/>
              </p:cNvSpPr>
              <p:nvPr>
                <p:custDataLst>
                  <p:tags r:id="rId201"/>
                </p:custDataLst>
              </p:nvPr>
            </p:nvSpPr>
            <p:spPr bwMode="auto">
              <a:xfrm>
                <a:off x="493" y="3385"/>
                <a:ext cx="235" cy="73"/>
              </a:xfrm>
              <a:custGeom>
                <a:avLst/>
                <a:gdLst>
                  <a:gd name="T0" fmla="*/ 0 w 5394"/>
                  <a:gd name="T1" fmla="*/ 401 h 1827"/>
                  <a:gd name="T2" fmla="*/ 1208 w 5394"/>
                  <a:gd name="T3" fmla="*/ 0 h 1827"/>
                  <a:gd name="T4" fmla="*/ 4062 w 5394"/>
                  <a:gd name="T5" fmla="*/ 1140 h 1827"/>
                  <a:gd name="T6" fmla="*/ 5394 w 5394"/>
                  <a:gd name="T7" fmla="*/ 813 h 1827"/>
                  <a:gd name="T8" fmla="*/ 4691 w 5394"/>
                  <a:gd name="T9" fmla="*/ 1827 h 1827"/>
                  <a:gd name="T10" fmla="*/ 1253 w 5394"/>
                  <a:gd name="T11" fmla="*/ 1827 h 1827"/>
                  <a:gd name="T12" fmla="*/ 2690 w 5394"/>
                  <a:gd name="T13" fmla="*/ 1475 h 1827"/>
                  <a:gd name="T14" fmla="*/ 0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0" y="401"/>
                    </a:moveTo>
                    <a:lnTo>
                      <a:pt x="1208" y="0"/>
                    </a:lnTo>
                    <a:lnTo>
                      <a:pt x="4062" y="1140"/>
                    </a:lnTo>
                    <a:lnTo>
                      <a:pt x="5394" y="813"/>
                    </a:lnTo>
                    <a:lnTo>
                      <a:pt x="4691" y="1827"/>
                    </a:lnTo>
                    <a:lnTo>
                      <a:pt x="1253" y="1827"/>
                    </a:lnTo>
                    <a:lnTo>
                      <a:pt x="2690" y="1475"/>
                    </a:lnTo>
                    <a:lnTo>
                      <a:pt x="0"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59" name="Freeform 100"/>
              <p:cNvSpPr>
                <a:spLocks/>
              </p:cNvSpPr>
              <p:nvPr>
                <p:custDataLst>
                  <p:tags r:id="rId202"/>
                </p:custDataLst>
              </p:nvPr>
            </p:nvSpPr>
            <p:spPr bwMode="auto">
              <a:xfrm>
                <a:off x="729" y="3479"/>
                <a:ext cx="235" cy="73"/>
              </a:xfrm>
              <a:custGeom>
                <a:avLst/>
                <a:gdLst>
                  <a:gd name="T0" fmla="*/ 5393 w 5393"/>
                  <a:gd name="T1" fmla="*/ 1426 h 1827"/>
                  <a:gd name="T2" fmla="*/ 4186 w 5393"/>
                  <a:gd name="T3" fmla="*/ 1827 h 1827"/>
                  <a:gd name="T4" fmla="*/ 1332 w 5393"/>
                  <a:gd name="T5" fmla="*/ 687 h 1827"/>
                  <a:gd name="T6" fmla="*/ 0 w 5393"/>
                  <a:gd name="T7" fmla="*/ 1012 h 1827"/>
                  <a:gd name="T8" fmla="*/ 702 w 5393"/>
                  <a:gd name="T9" fmla="*/ 0 h 1827"/>
                  <a:gd name="T10" fmla="*/ 4140 w 5393"/>
                  <a:gd name="T11" fmla="*/ 0 h 1827"/>
                  <a:gd name="T12" fmla="*/ 2703 w 5393"/>
                  <a:gd name="T13" fmla="*/ 352 h 1827"/>
                  <a:gd name="T14" fmla="*/ 5393 w 5393"/>
                  <a:gd name="T15" fmla="*/ 1426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7">
                    <a:moveTo>
                      <a:pt x="5393" y="1426"/>
                    </a:moveTo>
                    <a:lnTo>
                      <a:pt x="4186" y="1827"/>
                    </a:lnTo>
                    <a:lnTo>
                      <a:pt x="1332" y="687"/>
                    </a:lnTo>
                    <a:lnTo>
                      <a:pt x="0" y="1012"/>
                    </a:lnTo>
                    <a:lnTo>
                      <a:pt x="702" y="0"/>
                    </a:lnTo>
                    <a:lnTo>
                      <a:pt x="4140" y="0"/>
                    </a:lnTo>
                    <a:lnTo>
                      <a:pt x="2703" y="352"/>
                    </a:lnTo>
                    <a:lnTo>
                      <a:pt x="5393"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60" name="Rectangle 101"/>
              <p:cNvSpPr>
                <a:spLocks noChangeArrowheads="1"/>
              </p:cNvSpPr>
              <p:nvPr>
                <p:custDataLst>
                  <p:tags r:id="rId203"/>
                </p:custDataLst>
              </p:nvPr>
            </p:nvSpPr>
            <p:spPr bwMode="auto">
              <a:xfrm>
                <a:off x="369"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61" name="Rectangle 102"/>
              <p:cNvSpPr>
                <a:spLocks noChangeArrowheads="1"/>
              </p:cNvSpPr>
              <p:nvPr>
                <p:custDataLst>
                  <p:tags r:id="rId204"/>
                </p:custDataLst>
              </p:nvPr>
            </p:nvSpPr>
            <p:spPr bwMode="auto">
              <a:xfrm>
                <a:off x="369"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62" name="Rectangle 103"/>
              <p:cNvSpPr>
                <a:spLocks noChangeArrowheads="1"/>
              </p:cNvSpPr>
              <p:nvPr>
                <p:custDataLst>
                  <p:tags r:id="rId205"/>
                </p:custDataLst>
              </p:nvPr>
            </p:nvSpPr>
            <p:spPr bwMode="auto">
              <a:xfrm>
                <a:off x="369"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63" name="Rectangle 104"/>
              <p:cNvSpPr>
                <a:spLocks noChangeArrowheads="1"/>
              </p:cNvSpPr>
              <p:nvPr>
                <p:custDataLst>
                  <p:tags r:id="rId206"/>
                </p:custDataLst>
              </p:nvPr>
            </p:nvSpPr>
            <p:spPr bwMode="auto">
              <a:xfrm>
                <a:off x="1082"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64" name="Rectangle 105"/>
              <p:cNvSpPr>
                <a:spLocks noChangeArrowheads="1"/>
              </p:cNvSpPr>
              <p:nvPr>
                <p:custDataLst>
                  <p:tags r:id="rId207"/>
                </p:custDataLst>
              </p:nvPr>
            </p:nvSpPr>
            <p:spPr bwMode="auto">
              <a:xfrm>
                <a:off x="1082"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65" name="Rectangle 106"/>
              <p:cNvSpPr>
                <a:spLocks noChangeArrowheads="1"/>
              </p:cNvSpPr>
              <p:nvPr>
                <p:custDataLst>
                  <p:tags r:id="rId208"/>
                </p:custDataLst>
              </p:nvPr>
            </p:nvSpPr>
            <p:spPr bwMode="auto">
              <a:xfrm>
                <a:off x="1082"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grpSp>
        <p:cxnSp>
          <p:nvCxnSpPr>
            <p:cNvPr id="536" name="AutoShape 107"/>
            <p:cNvCxnSpPr>
              <a:cxnSpLocks noChangeShapeType="1"/>
            </p:cNvCxnSpPr>
            <p:nvPr>
              <p:custDataLst>
                <p:tags r:id="rId9"/>
              </p:custDataLst>
            </p:nvPr>
          </p:nvCxnSpPr>
          <p:spPr bwMode="auto">
            <a:xfrm flipH="1" flipV="1">
              <a:off x="2231" y="1937"/>
              <a:ext cx="100" cy="126"/>
            </a:xfrm>
            <a:prstGeom prst="straightConnector1">
              <a:avLst/>
            </a:prstGeom>
            <a:noFill/>
            <a:ln w="38100">
              <a:solidFill>
                <a:srgbClr val="3F6075"/>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7" name="AutoShape 108"/>
            <p:cNvCxnSpPr>
              <a:cxnSpLocks noChangeShapeType="1"/>
            </p:cNvCxnSpPr>
            <p:nvPr>
              <p:custDataLst>
                <p:tags r:id="rId10"/>
              </p:custDataLst>
            </p:nvPr>
          </p:nvCxnSpPr>
          <p:spPr bwMode="auto">
            <a:xfrm flipH="1">
              <a:off x="1892" y="2084"/>
              <a:ext cx="438" cy="46"/>
            </a:xfrm>
            <a:prstGeom prst="straightConnector1">
              <a:avLst/>
            </a:prstGeom>
            <a:noFill/>
            <a:ln w="38100">
              <a:solidFill>
                <a:srgbClr val="3F6075"/>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8" name="AutoShape 109"/>
            <p:cNvCxnSpPr>
              <a:cxnSpLocks noChangeShapeType="1"/>
            </p:cNvCxnSpPr>
            <p:nvPr>
              <p:custDataLst>
                <p:tags r:id="rId11"/>
              </p:custDataLst>
            </p:nvPr>
          </p:nvCxnSpPr>
          <p:spPr bwMode="auto">
            <a:xfrm flipH="1">
              <a:off x="2156" y="2112"/>
              <a:ext cx="179" cy="183"/>
            </a:xfrm>
            <a:prstGeom prst="straightConnector1">
              <a:avLst/>
            </a:prstGeom>
            <a:noFill/>
            <a:ln w="38100">
              <a:solidFill>
                <a:srgbClr val="3F6075"/>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9" name="AutoShape 110"/>
            <p:cNvCxnSpPr>
              <a:cxnSpLocks noChangeShapeType="1"/>
              <a:stCxn id="755" idx="23"/>
            </p:cNvCxnSpPr>
            <p:nvPr>
              <p:custDataLst>
                <p:tags r:id="rId12"/>
              </p:custDataLst>
            </p:nvPr>
          </p:nvCxnSpPr>
          <p:spPr bwMode="auto">
            <a:xfrm flipV="1">
              <a:off x="2162" y="1775"/>
              <a:ext cx="87" cy="101"/>
            </a:xfrm>
            <a:prstGeom prst="straightConnector1">
              <a:avLst/>
            </a:prstGeom>
            <a:noFill/>
            <a:ln w="38100">
              <a:solidFill>
                <a:srgbClr val="7A9FB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0" name="AutoShape 111"/>
            <p:cNvCxnSpPr>
              <a:cxnSpLocks noChangeShapeType="1"/>
              <a:stCxn id="754" idx="46"/>
            </p:cNvCxnSpPr>
            <p:nvPr>
              <p:custDataLst>
                <p:tags r:id="rId13"/>
              </p:custDataLst>
            </p:nvPr>
          </p:nvCxnSpPr>
          <p:spPr bwMode="auto">
            <a:xfrm flipH="1" flipV="1">
              <a:off x="2063" y="1777"/>
              <a:ext cx="70" cy="101"/>
            </a:xfrm>
            <a:prstGeom prst="straightConnector1">
              <a:avLst/>
            </a:prstGeom>
            <a:noFill/>
            <a:ln w="38100">
              <a:solidFill>
                <a:srgbClr val="7A9FB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1" name="AutoShape 112"/>
            <p:cNvCxnSpPr>
              <a:cxnSpLocks noChangeShapeType="1"/>
              <a:stCxn id="768" idx="48"/>
            </p:cNvCxnSpPr>
            <p:nvPr>
              <p:custDataLst>
                <p:tags r:id="rId14"/>
              </p:custDataLst>
            </p:nvPr>
          </p:nvCxnSpPr>
          <p:spPr bwMode="auto">
            <a:xfrm>
              <a:off x="2096" y="2363"/>
              <a:ext cx="90" cy="105"/>
            </a:xfrm>
            <a:prstGeom prst="straightConnector1">
              <a:avLst/>
            </a:prstGeom>
            <a:noFill/>
            <a:ln w="38100">
              <a:solidFill>
                <a:srgbClr val="7A9FB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2" name="AutoShape 113"/>
            <p:cNvCxnSpPr>
              <a:cxnSpLocks noChangeShapeType="1"/>
              <a:stCxn id="769" idx="23"/>
            </p:cNvCxnSpPr>
            <p:nvPr>
              <p:custDataLst>
                <p:tags r:id="rId15"/>
              </p:custDataLst>
            </p:nvPr>
          </p:nvCxnSpPr>
          <p:spPr bwMode="auto">
            <a:xfrm flipH="1">
              <a:off x="1985" y="2364"/>
              <a:ext cx="84" cy="114"/>
            </a:xfrm>
            <a:prstGeom prst="straightConnector1">
              <a:avLst/>
            </a:prstGeom>
            <a:noFill/>
            <a:ln w="38100">
              <a:solidFill>
                <a:srgbClr val="7A9FB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43" name="Group 114"/>
            <p:cNvGrpSpPr>
              <a:grpSpLocks/>
            </p:cNvGrpSpPr>
            <p:nvPr>
              <p:custDataLst>
                <p:tags r:id="rId16"/>
              </p:custDataLst>
            </p:nvPr>
          </p:nvGrpSpPr>
          <p:grpSpPr bwMode="auto">
            <a:xfrm>
              <a:off x="1174" y="2014"/>
              <a:ext cx="91" cy="68"/>
              <a:chOff x="371" y="1706"/>
              <a:chExt cx="277" cy="199"/>
            </a:xfrm>
          </p:grpSpPr>
          <p:sp>
            <p:nvSpPr>
              <p:cNvPr id="720" name="AutoShape 115"/>
              <p:cNvSpPr>
                <a:spLocks noChangeArrowheads="1"/>
              </p:cNvSpPr>
              <p:nvPr/>
            </p:nvSpPr>
            <p:spPr bwMode="auto">
              <a:xfrm>
                <a:off x="371" y="1706"/>
                <a:ext cx="277" cy="199"/>
              </a:xfrm>
              <a:prstGeom prst="cube">
                <a:avLst>
                  <a:gd name="adj" fmla="val 25000"/>
                </a:avLst>
              </a:prstGeom>
              <a:solidFill>
                <a:srgbClr val="E3CAB3"/>
              </a:solidFill>
              <a:ln w="12700">
                <a:solidFill>
                  <a:srgbClr val="E3CAB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grpSp>
            <p:nvGrpSpPr>
              <p:cNvPr id="721" name="Group 116"/>
              <p:cNvGrpSpPr>
                <a:grpSpLocks/>
              </p:cNvGrpSpPr>
              <p:nvPr/>
            </p:nvGrpSpPr>
            <p:grpSpPr bwMode="auto">
              <a:xfrm>
                <a:off x="398" y="1789"/>
                <a:ext cx="182" cy="99"/>
                <a:chOff x="369" y="3354"/>
                <a:chExt cx="717" cy="390"/>
              </a:xfrm>
            </p:grpSpPr>
            <p:sp>
              <p:nvSpPr>
                <p:cNvPr id="722" name="AutoShape 117"/>
                <p:cNvSpPr>
                  <a:spLocks noChangeAspect="1" noChangeArrowheads="1" noTextEdit="1"/>
                </p:cNvSpPr>
                <p:nvPr>
                  <p:custDataLst>
                    <p:tags r:id="rId165"/>
                  </p:custDataLst>
                </p:nvPr>
              </p:nvSpPr>
              <p:spPr bwMode="auto">
                <a:xfrm>
                  <a:off x="369" y="3354"/>
                  <a:ext cx="717"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23" name="Freeform 118"/>
                <p:cNvSpPr>
                  <a:spLocks/>
                </p:cNvSpPr>
                <p:nvPr>
                  <p:custDataLst>
                    <p:tags r:id="rId166"/>
                  </p:custDataLst>
                </p:nvPr>
              </p:nvSpPr>
              <p:spPr bwMode="auto">
                <a:xfrm>
                  <a:off x="371" y="3517"/>
                  <a:ext cx="713" cy="225"/>
                </a:xfrm>
                <a:custGeom>
                  <a:avLst/>
                  <a:gdLst>
                    <a:gd name="T0" fmla="*/ 16347 w 16389"/>
                    <a:gd name="T1" fmla="*/ 3102 h 5628"/>
                    <a:gd name="T2" fmla="*/ 16132 w 16389"/>
                    <a:gd name="T3" fmla="*/ 3518 h 5628"/>
                    <a:gd name="T4" fmla="*/ 15745 w 16389"/>
                    <a:gd name="T5" fmla="*/ 3909 h 5628"/>
                    <a:gd name="T6" fmla="*/ 15203 w 16389"/>
                    <a:gd name="T7" fmla="*/ 4273 h 5628"/>
                    <a:gd name="T8" fmla="*/ 14518 w 16389"/>
                    <a:gd name="T9" fmla="*/ 4605 h 5628"/>
                    <a:gd name="T10" fmla="*/ 13704 w 16389"/>
                    <a:gd name="T11" fmla="*/ 4898 h 5628"/>
                    <a:gd name="T12" fmla="*/ 12776 w 16389"/>
                    <a:gd name="T13" fmla="*/ 5148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8 h 5628"/>
                    <a:gd name="T30" fmla="*/ 2685 w 16389"/>
                    <a:gd name="T31" fmla="*/ 4898 h 5628"/>
                    <a:gd name="T32" fmla="*/ 1871 w 16389"/>
                    <a:gd name="T33" fmla="*/ 4605 h 5628"/>
                    <a:gd name="T34" fmla="*/ 1186 w 16389"/>
                    <a:gd name="T35" fmla="*/ 4273 h 5628"/>
                    <a:gd name="T36" fmla="*/ 644 w 16389"/>
                    <a:gd name="T37" fmla="*/ 3909 h 5628"/>
                    <a:gd name="T38" fmla="*/ 257 w 16389"/>
                    <a:gd name="T39" fmla="*/ 3518 h 5628"/>
                    <a:gd name="T40" fmla="*/ 42 w 16389"/>
                    <a:gd name="T41" fmla="*/ 3102 h 5628"/>
                    <a:gd name="T42" fmla="*/ 10 w 16389"/>
                    <a:gd name="T43" fmla="*/ 2669 h 5628"/>
                    <a:gd name="T44" fmla="*/ 165 w 16389"/>
                    <a:gd name="T45" fmla="*/ 2247 h 5628"/>
                    <a:gd name="T46" fmla="*/ 496 w 16389"/>
                    <a:gd name="T47" fmla="*/ 1847 h 5628"/>
                    <a:gd name="T48" fmla="*/ 989 w 16389"/>
                    <a:gd name="T49" fmla="*/ 1474 h 5628"/>
                    <a:gd name="T50" fmla="*/ 1628 w 16389"/>
                    <a:gd name="T51" fmla="*/ 1131 h 5628"/>
                    <a:gd name="T52" fmla="*/ 2400 w 16389"/>
                    <a:gd name="T53" fmla="*/ 825 h 5628"/>
                    <a:gd name="T54" fmla="*/ 3292 w 16389"/>
                    <a:gd name="T55" fmla="*/ 560 h 5628"/>
                    <a:gd name="T56" fmla="*/ 4289 w 16389"/>
                    <a:gd name="T57" fmla="*/ 340 h 5628"/>
                    <a:gd name="T58" fmla="*/ 5378 w 16389"/>
                    <a:gd name="T59" fmla="*/ 171 h 5628"/>
                    <a:gd name="T60" fmla="*/ 6543 w 16389"/>
                    <a:gd name="T61" fmla="*/ 57 h 5628"/>
                    <a:gd name="T62" fmla="*/ 7773 w 16389"/>
                    <a:gd name="T63" fmla="*/ 4 h 5628"/>
                    <a:gd name="T64" fmla="*/ 9032 w 16389"/>
                    <a:gd name="T65" fmla="*/ 14 h 5628"/>
                    <a:gd name="T66" fmla="*/ 10241 w 16389"/>
                    <a:gd name="T67" fmla="*/ 89 h 5628"/>
                    <a:gd name="T68" fmla="*/ 11383 w 16389"/>
                    <a:gd name="T69" fmla="*/ 221 h 5628"/>
                    <a:gd name="T70" fmla="*/ 12443 w 16389"/>
                    <a:gd name="T71" fmla="*/ 408 h 5628"/>
                    <a:gd name="T72" fmla="*/ 13407 w 16389"/>
                    <a:gd name="T73" fmla="*/ 643 h 5628"/>
                    <a:gd name="T74" fmla="*/ 14260 w 16389"/>
                    <a:gd name="T75" fmla="*/ 922 h 5628"/>
                    <a:gd name="T76" fmla="*/ 14990 w 16389"/>
                    <a:gd name="T77" fmla="*/ 1241 h 5628"/>
                    <a:gd name="T78" fmla="*/ 15581 w 16389"/>
                    <a:gd name="T79" fmla="*/ 1595 h 5628"/>
                    <a:gd name="T80" fmla="*/ 16022 w 16389"/>
                    <a:gd name="T81" fmla="*/ 1978 h 5628"/>
                    <a:gd name="T82" fmla="*/ 16296 w 16389"/>
                    <a:gd name="T83" fmla="*/ 2386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3"/>
                      </a:lnTo>
                      <a:lnTo>
                        <a:pt x="16224" y="3381"/>
                      </a:lnTo>
                      <a:lnTo>
                        <a:pt x="16132" y="3518"/>
                      </a:lnTo>
                      <a:lnTo>
                        <a:pt x="16022" y="3651"/>
                      </a:lnTo>
                      <a:lnTo>
                        <a:pt x="15893" y="3782"/>
                      </a:lnTo>
                      <a:lnTo>
                        <a:pt x="15745" y="3909"/>
                      </a:lnTo>
                      <a:lnTo>
                        <a:pt x="15581" y="4034"/>
                      </a:lnTo>
                      <a:lnTo>
                        <a:pt x="15400" y="4155"/>
                      </a:lnTo>
                      <a:lnTo>
                        <a:pt x="15203" y="4273"/>
                      </a:lnTo>
                      <a:lnTo>
                        <a:pt x="14990" y="4387"/>
                      </a:lnTo>
                      <a:lnTo>
                        <a:pt x="14761" y="4498"/>
                      </a:lnTo>
                      <a:lnTo>
                        <a:pt x="14518" y="4605"/>
                      </a:lnTo>
                      <a:lnTo>
                        <a:pt x="14260" y="4706"/>
                      </a:lnTo>
                      <a:lnTo>
                        <a:pt x="13989" y="4804"/>
                      </a:lnTo>
                      <a:lnTo>
                        <a:pt x="13704" y="4898"/>
                      </a:lnTo>
                      <a:lnTo>
                        <a:pt x="13407" y="4986"/>
                      </a:lnTo>
                      <a:lnTo>
                        <a:pt x="13096" y="5069"/>
                      </a:lnTo>
                      <a:lnTo>
                        <a:pt x="12776" y="5148"/>
                      </a:lnTo>
                      <a:lnTo>
                        <a:pt x="12443" y="5222"/>
                      </a:lnTo>
                      <a:lnTo>
                        <a:pt x="12100" y="5289"/>
                      </a:lnTo>
                      <a:lnTo>
                        <a:pt x="11746" y="5351"/>
                      </a:lnTo>
                      <a:lnTo>
                        <a:pt x="11383" y="5408"/>
                      </a:lnTo>
                      <a:lnTo>
                        <a:pt x="11011" y="5458"/>
                      </a:lnTo>
                      <a:lnTo>
                        <a:pt x="10631" y="5502"/>
                      </a:lnTo>
                      <a:lnTo>
                        <a:pt x="10241" y="5540"/>
                      </a:lnTo>
                      <a:lnTo>
                        <a:pt x="9846" y="5571"/>
                      </a:lnTo>
                      <a:lnTo>
                        <a:pt x="9442" y="5596"/>
                      </a:lnTo>
                      <a:lnTo>
                        <a:pt x="9032" y="5614"/>
                      </a:lnTo>
                      <a:lnTo>
                        <a:pt x="8616" y="5625"/>
                      </a:lnTo>
                      <a:lnTo>
                        <a:pt x="8195" y="5628"/>
                      </a:lnTo>
                      <a:lnTo>
                        <a:pt x="7773" y="5625"/>
                      </a:lnTo>
                      <a:lnTo>
                        <a:pt x="7357" y="5614"/>
                      </a:lnTo>
                      <a:lnTo>
                        <a:pt x="6947" y="5596"/>
                      </a:lnTo>
                      <a:lnTo>
                        <a:pt x="6543" y="5571"/>
                      </a:lnTo>
                      <a:lnTo>
                        <a:pt x="6148" y="5540"/>
                      </a:lnTo>
                      <a:lnTo>
                        <a:pt x="5758" y="5502"/>
                      </a:lnTo>
                      <a:lnTo>
                        <a:pt x="5378" y="5458"/>
                      </a:lnTo>
                      <a:lnTo>
                        <a:pt x="5006" y="5408"/>
                      </a:lnTo>
                      <a:lnTo>
                        <a:pt x="4643" y="5351"/>
                      </a:lnTo>
                      <a:lnTo>
                        <a:pt x="4289" y="5289"/>
                      </a:lnTo>
                      <a:lnTo>
                        <a:pt x="3946" y="5222"/>
                      </a:lnTo>
                      <a:lnTo>
                        <a:pt x="3613" y="5148"/>
                      </a:lnTo>
                      <a:lnTo>
                        <a:pt x="3292" y="5069"/>
                      </a:lnTo>
                      <a:lnTo>
                        <a:pt x="2982" y="4986"/>
                      </a:lnTo>
                      <a:lnTo>
                        <a:pt x="2685" y="4898"/>
                      </a:lnTo>
                      <a:lnTo>
                        <a:pt x="2400" y="4804"/>
                      </a:lnTo>
                      <a:lnTo>
                        <a:pt x="2129" y="4706"/>
                      </a:lnTo>
                      <a:lnTo>
                        <a:pt x="1871" y="4605"/>
                      </a:lnTo>
                      <a:lnTo>
                        <a:pt x="1628" y="4498"/>
                      </a:lnTo>
                      <a:lnTo>
                        <a:pt x="1399" y="4387"/>
                      </a:lnTo>
                      <a:lnTo>
                        <a:pt x="1186" y="4273"/>
                      </a:lnTo>
                      <a:lnTo>
                        <a:pt x="989" y="4155"/>
                      </a:lnTo>
                      <a:lnTo>
                        <a:pt x="808" y="4034"/>
                      </a:lnTo>
                      <a:lnTo>
                        <a:pt x="644" y="3909"/>
                      </a:lnTo>
                      <a:lnTo>
                        <a:pt x="496" y="3782"/>
                      </a:lnTo>
                      <a:lnTo>
                        <a:pt x="367" y="3651"/>
                      </a:lnTo>
                      <a:lnTo>
                        <a:pt x="257" y="3518"/>
                      </a:lnTo>
                      <a:lnTo>
                        <a:pt x="165" y="3381"/>
                      </a:lnTo>
                      <a:lnTo>
                        <a:pt x="93" y="3243"/>
                      </a:lnTo>
                      <a:lnTo>
                        <a:pt x="42" y="3102"/>
                      </a:lnTo>
                      <a:lnTo>
                        <a:pt x="10" y="2959"/>
                      </a:lnTo>
                      <a:lnTo>
                        <a:pt x="0" y="2814"/>
                      </a:lnTo>
                      <a:lnTo>
                        <a:pt x="10" y="2669"/>
                      </a:lnTo>
                      <a:lnTo>
                        <a:pt x="42" y="2526"/>
                      </a:lnTo>
                      <a:lnTo>
                        <a:pt x="93" y="2386"/>
                      </a:lnTo>
                      <a:lnTo>
                        <a:pt x="165" y="2247"/>
                      </a:lnTo>
                      <a:lnTo>
                        <a:pt x="257" y="2111"/>
                      </a:lnTo>
                      <a:lnTo>
                        <a:pt x="367" y="1978"/>
                      </a:lnTo>
                      <a:lnTo>
                        <a:pt x="496" y="1847"/>
                      </a:lnTo>
                      <a:lnTo>
                        <a:pt x="644" y="1719"/>
                      </a:lnTo>
                      <a:lnTo>
                        <a:pt x="808" y="1595"/>
                      </a:lnTo>
                      <a:lnTo>
                        <a:pt x="989" y="1474"/>
                      </a:lnTo>
                      <a:lnTo>
                        <a:pt x="1186" y="1356"/>
                      </a:lnTo>
                      <a:lnTo>
                        <a:pt x="1399" y="1241"/>
                      </a:lnTo>
                      <a:lnTo>
                        <a:pt x="1628" y="1131"/>
                      </a:lnTo>
                      <a:lnTo>
                        <a:pt x="1871" y="1024"/>
                      </a:lnTo>
                      <a:lnTo>
                        <a:pt x="2129" y="922"/>
                      </a:lnTo>
                      <a:lnTo>
                        <a:pt x="2400" y="825"/>
                      </a:lnTo>
                      <a:lnTo>
                        <a:pt x="2685" y="732"/>
                      </a:lnTo>
                      <a:lnTo>
                        <a:pt x="2982" y="643"/>
                      </a:lnTo>
                      <a:lnTo>
                        <a:pt x="3292" y="560"/>
                      </a:lnTo>
                      <a:lnTo>
                        <a:pt x="3613" y="481"/>
                      </a:lnTo>
                      <a:lnTo>
                        <a:pt x="3946" y="408"/>
                      </a:lnTo>
                      <a:lnTo>
                        <a:pt x="4289" y="340"/>
                      </a:lnTo>
                      <a:lnTo>
                        <a:pt x="4643" y="277"/>
                      </a:lnTo>
                      <a:lnTo>
                        <a:pt x="5006" y="221"/>
                      </a:lnTo>
                      <a:lnTo>
                        <a:pt x="5378" y="171"/>
                      </a:lnTo>
                      <a:lnTo>
                        <a:pt x="5758" y="126"/>
                      </a:lnTo>
                      <a:lnTo>
                        <a:pt x="6148" y="89"/>
                      </a:lnTo>
                      <a:lnTo>
                        <a:pt x="6543" y="57"/>
                      </a:lnTo>
                      <a:lnTo>
                        <a:pt x="6947" y="32"/>
                      </a:lnTo>
                      <a:lnTo>
                        <a:pt x="7357" y="14"/>
                      </a:lnTo>
                      <a:lnTo>
                        <a:pt x="7773" y="4"/>
                      </a:lnTo>
                      <a:lnTo>
                        <a:pt x="8195" y="0"/>
                      </a:lnTo>
                      <a:lnTo>
                        <a:pt x="8616" y="4"/>
                      </a:lnTo>
                      <a:lnTo>
                        <a:pt x="9032" y="14"/>
                      </a:lnTo>
                      <a:lnTo>
                        <a:pt x="9442" y="32"/>
                      </a:lnTo>
                      <a:lnTo>
                        <a:pt x="9846" y="57"/>
                      </a:lnTo>
                      <a:lnTo>
                        <a:pt x="10241" y="89"/>
                      </a:lnTo>
                      <a:lnTo>
                        <a:pt x="10631" y="126"/>
                      </a:lnTo>
                      <a:lnTo>
                        <a:pt x="11011" y="171"/>
                      </a:lnTo>
                      <a:lnTo>
                        <a:pt x="11383" y="221"/>
                      </a:lnTo>
                      <a:lnTo>
                        <a:pt x="11746" y="277"/>
                      </a:lnTo>
                      <a:lnTo>
                        <a:pt x="12100" y="340"/>
                      </a:lnTo>
                      <a:lnTo>
                        <a:pt x="12443" y="408"/>
                      </a:lnTo>
                      <a:lnTo>
                        <a:pt x="12776" y="481"/>
                      </a:lnTo>
                      <a:lnTo>
                        <a:pt x="13096" y="560"/>
                      </a:lnTo>
                      <a:lnTo>
                        <a:pt x="13407" y="643"/>
                      </a:lnTo>
                      <a:lnTo>
                        <a:pt x="13704" y="732"/>
                      </a:lnTo>
                      <a:lnTo>
                        <a:pt x="13989" y="825"/>
                      </a:lnTo>
                      <a:lnTo>
                        <a:pt x="14260" y="922"/>
                      </a:lnTo>
                      <a:lnTo>
                        <a:pt x="14518" y="1024"/>
                      </a:lnTo>
                      <a:lnTo>
                        <a:pt x="14761" y="1131"/>
                      </a:lnTo>
                      <a:lnTo>
                        <a:pt x="14990" y="1241"/>
                      </a:lnTo>
                      <a:lnTo>
                        <a:pt x="15203" y="1356"/>
                      </a:lnTo>
                      <a:lnTo>
                        <a:pt x="15400" y="1474"/>
                      </a:lnTo>
                      <a:lnTo>
                        <a:pt x="15581" y="1595"/>
                      </a:lnTo>
                      <a:lnTo>
                        <a:pt x="15745" y="1719"/>
                      </a:lnTo>
                      <a:lnTo>
                        <a:pt x="15893" y="1847"/>
                      </a:lnTo>
                      <a:lnTo>
                        <a:pt x="16022" y="1978"/>
                      </a:lnTo>
                      <a:lnTo>
                        <a:pt x="16132" y="2111"/>
                      </a:lnTo>
                      <a:lnTo>
                        <a:pt x="16224" y="2247"/>
                      </a:lnTo>
                      <a:lnTo>
                        <a:pt x="16296" y="2386"/>
                      </a:lnTo>
                      <a:lnTo>
                        <a:pt x="16347" y="2526"/>
                      </a:lnTo>
                      <a:lnTo>
                        <a:pt x="16379" y="2669"/>
                      </a:lnTo>
                      <a:lnTo>
                        <a:pt x="16389" y="2814"/>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24" name="Freeform 119"/>
                <p:cNvSpPr>
                  <a:spLocks/>
                </p:cNvSpPr>
                <p:nvPr>
                  <p:custDataLst>
                    <p:tags r:id="rId167"/>
                  </p:custDataLst>
                </p:nvPr>
              </p:nvSpPr>
              <p:spPr bwMode="auto">
                <a:xfrm>
                  <a:off x="725" y="3629"/>
                  <a:ext cx="361" cy="115"/>
                </a:xfrm>
                <a:custGeom>
                  <a:avLst/>
                  <a:gdLst>
                    <a:gd name="T0" fmla="*/ 472 w 8295"/>
                    <a:gd name="T1" fmla="*/ 2861 h 2865"/>
                    <a:gd name="T2" fmla="*/ 1300 w 8295"/>
                    <a:gd name="T3" fmla="*/ 2832 h 2865"/>
                    <a:gd name="T4" fmla="*/ 2102 w 8295"/>
                    <a:gd name="T5" fmla="*/ 2776 h 2865"/>
                    <a:gd name="T6" fmla="*/ 2873 w 8295"/>
                    <a:gd name="T7" fmla="*/ 2694 h 2865"/>
                    <a:gd name="T8" fmla="*/ 3609 w 8295"/>
                    <a:gd name="T9" fmla="*/ 2587 h 2865"/>
                    <a:gd name="T10" fmla="*/ 4308 w 8295"/>
                    <a:gd name="T11" fmla="*/ 2456 h 2865"/>
                    <a:gd name="T12" fmla="*/ 4964 w 8295"/>
                    <a:gd name="T13" fmla="*/ 2304 h 2865"/>
                    <a:gd name="T14" fmla="*/ 5426 w 8295"/>
                    <a:gd name="T15" fmla="*/ 2177 h 2865"/>
                    <a:gd name="T16" fmla="*/ 5718 w 8295"/>
                    <a:gd name="T17" fmla="*/ 2085 h 2865"/>
                    <a:gd name="T18" fmla="*/ 5998 w 8295"/>
                    <a:gd name="T19" fmla="*/ 1989 h 2865"/>
                    <a:gd name="T20" fmla="*/ 6264 w 8295"/>
                    <a:gd name="T21" fmla="*/ 1889 h 2865"/>
                    <a:gd name="T22" fmla="*/ 6516 w 8295"/>
                    <a:gd name="T23" fmla="*/ 1783 h 2865"/>
                    <a:gd name="T24" fmla="*/ 6754 w 8295"/>
                    <a:gd name="T25" fmla="*/ 1675 h 2865"/>
                    <a:gd name="T26" fmla="*/ 6977 w 8295"/>
                    <a:gd name="T27" fmla="*/ 1561 h 2865"/>
                    <a:gd name="T28" fmla="*/ 7184 w 8295"/>
                    <a:gd name="T29" fmla="*/ 1444 h 2865"/>
                    <a:gd name="T30" fmla="*/ 7376 w 8295"/>
                    <a:gd name="T31" fmla="*/ 1323 h 2865"/>
                    <a:gd name="T32" fmla="*/ 7551 w 8295"/>
                    <a:gd name="T33" fmla="*/ 1199 h 2865"/>
                    <a:gd name="T34" fmla="*/ 7709 w 8295"/>
                    <a:gd name="T35" fmla="*/ 1070 h 2865"/>
                    <a:gd name="T36" fmla="*/ 7850 w 8295"/>
                    <a:gd name="T37" fmla="*/ 938 h 2865"/>
                    <a:gd name="T38" fmla="*/ 7972 w 8295"/>
                    <a:gd name="T39" fmla="*/ 802 h 2865"/>
                    <a:gd name="T40" fmla="*/ 8076 w 8295"/>
                    <a:gd name="T41" fmla="*/ 663 h 2865"/>
                    <a:gd name="T42" fmla="*/ 8161 w 8295"/>
                    <a:gd name="T43" fmla="*/ 522 h 2865"/>
                    <a:gd name="T44" fmla="*/ 8226 w 8295"/>
                    <a:gd name="T45" fmla="*/ 376 h 2865"/>
                    <a:gd name="T46" fmla="*/ 8269 w 8295"/>
                    <a:gd name="T47" fmla="*/ 228 h 2865"/>
                    <a:gd name="T48" fmla="*/ 8292 w 8295"/>
                    <a:gd name="T49" fmla="*/ 77 h 2865"/>
                    <a:gd name="T50" fmla="*/ 8194 w 8295"/>
                    <a:gd name="T51" fmla="*/ 35 h 2865"/>
                    <a:gd name="T52" fmla="*/ 8180 w 8295"/>
                    <a:gd name="T53" fmla="*/ 172 h 2865"/>
                    <a:gd name="T54" fmla="*/ 8145 w 8295"/>
                    <a:gd name="T55" fmla="*/ 307 h 2865"/>
                    <a:gd name="T56" fmla="*/ 8089 w 8295"/>
                    <a:gd name="T57" fmla="*/ 442 h 2865"/>
                    <a:gd name="T58" fmla="*/ 8016 w 8295"/>
                    <a:gd name="T59" fmla="*/ 574 h 2865"/>
                    <a:gd name="T60" fmla="*/ 7922 w 8295"/>
                    <a:gd name="T61" fmla="*/ 706 h 2865"/>
                    <a:gd name="T62" fmla="*/ 7810 w 8295"/>
                    <a:gd name="T63" fmla="*/ 835 h 2865"/>
                    <a:gd name="T64" fmla="*/ 7679 w 8295"/>
                    <a:gd name="T65" fmla="*/ 963 h 2865"/>
                    <a:gd name="T66" fmla="*/ 7530 w 8295"/>
                    <a:gd name="T67" fmla="*/ 1088 h 2865"/>
                    <a:gd name="T68" fmla="*/ 7364 w 8295"/>
                    <a:gd name="T69" fmla="*/ 1210 h 2865"/>
                    <a:gd name="T70" fmla="*/ 7182 w 8295"/>
                    <a:gd name="T71" fmla="*/ 1329 h 2865"/>
                    <a:gd name="T72" fmla="*/ 6982 w 8295"/>
                    <a:gd name="T73" fmla="*/ 1444 h 2865"/>
                    <a:gd name="T74" fmla="*/ 6766 w 8295"/>
                    <a:gd name="T75" fmla="*/ 1557 h 2865"/>
                    <a:gd name="T76" fmla="*/ 6537 w 8295"/>
                    <a:gd name="T77" fmla="*/ 1665 h 2865"/>
                    <a:gd name="T78" fmla="*/ 6290 w 8295"/>
                    <a:gd name="T79" fmla="*/ 1770 h 2865"/>
                    <a:gd name="T80" fmla="*/ 6032 w 8295"/>
                    <a:gd name="T81" fmla="*/ 1870 h 2865"/>
                    <a:gd name="T82" fmla="*/ 5757 w 8295"/>
                    <a:gd name="T83" fmla="*/ 1967 h 2865"/>
                    <a:gd name="T84" fmla="*/ 5471 w 8295"/>
                    <a:gd name="T85" fmla="*/ 2058 h 2865"/>
                    <a:gd name="T86" fmla="*/ 5096 w 8295"/>
                    <a:gd name="T87" fmla="*/ 2165 h 2865"/>
                    <a:gd name="T88" fmla="*/ 4455 w 8295"/>
                    <a:gd name="T89" fmla="*/ 2323 h 2865"/>
                    <a:gd name="T90" fmla="*/ 3771 w 8295"/>
                    <a:gd name="T91" fmla="*/ 2457 h 2865"/>
                    <a:gd name="T92" fmla="*/ 3047 w 8295"/>
                    <a:gd name="T93" fmla="*/ 2570 h 2865"/>
                    <a:gd name="T94" fmla="*/ 2287 w 8295"/>
                    <a:gd name="T95" fmla="*/ 2658 h 2865"/>
                    <a:gd name="T96" fmla="*/ 1497 w 8295"/>
                    <a:gd name="T97" fmla="*/ 2721 h 2865"/>
                    <a:gd name="T98" fmla="*/ 678 w 8295"/>
                    <a:gd name="T99" fmla="*/ 2756 h 2865"/>
                    <a:gd name="T100" fmla="*/ 50 w 8295"/>
                    <a:gd name="T101" fmla="*/ 2765 h 2865"/>
                    <a:gd name="T102" fmla="*/ 33 w 8295"/>
                    <a:gd name="T103" fmla="*/ 2767 h 2865"/>
                    <a:gd name="T104" fmla="*/ 15 w 8295"/>
                    <a:gd name="T105" fmla="*/ 2777 h 2865"/>
                    <a:gd name="T106" fmla="*/ 0 w 8295"/>
                    <a:gd name="T107" fmla="*/ 2805 h 2865"/>
                    <a:gd name="T108" fmla="*/ 6 w 8295"/>
                    <a:gd name="T109" fmla="*/ 2842 h 2865"/>
                    <a:gd name="T110" fmla="*/ 23 w 8295"/>
                    <a:gd name="T111" fmla="*/ 2859 h 2865"/>
                    <a:gd name="T112" fmla="*/ 43 w 8295"/>
                    <a:gd name="T113" fmla="*/ 2865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5">
                      <a:moveTo>
                        <a:pt x="50" y="2865"/>
                      </a:moveTo>
                      <a:lnTo>
                        <a:pt x="50" y="2865"/>
                      </a:lnTo>
                      <a:lnTo>
                        <a:pt x="262" y="2864"/>
                      </a:lnTo>
                      <a:lnTo>
                        <a:pt x="472" y="2861"/>
                      </a:lnTo>
                      <a:lnTo>
                        <a:pt x="681" y="2857"/>
                      </a:lnTo>
                      <a:lnTo>
                        <a:pt x="888" y="2851"/>
                      </a:lnTo>
                      <a:lnTo>
                        <a:pt x="1095" y="2842"/>
                      </a:lnTo>
                      <a:lnTo>
                        <a:pt x="1300" y="2832"/>
                      </a:lnTo>
                      <a:lnTo>
                        <a:pt x="1503" y="2820"/>
                      </a:lnTo>
                      <a:lnTo>
                        <a:pt x="1704" y="2808"/>
                      </a:lnTo>
                      <a:lnTo>
                        <a:pt x="1904" y="2793"/>
                      </a:lnTo>
                      <a:lnTo>
                        <a:pt x="2102" y="2776"/>
                      </a:lnTo>
                      <a:lnTo>
                        <a:pt x="2296" y="2757"/>
                      </a:lnTo>
                      <a:lnTo>
                        <a:pt x="2491" y="2738"/>
                      </a:lnTo>
                      <a:lnTo>
                        <a:pt x="2683" y="2717"/>
                      </a:lnTo>
                      <a:lnTo>
                        <a:pt x="2873" y="2694"/>
                      </a:lnTo>
                      <a:lnTo>
                        <a:pt x="3060" y="2669"/>
                      </a:lnTo>
                      <a:lnTo>
                        <a:pt x="3246" y="2644"/>
                      </a:lnTo>
                      <a:lnTo>
                        <a:pt x="3429" y="2616"/>
                      </a:lnTo>
                      <a:lnTo>
                        <a:pt x="3609" y="2587"/>
                      </a:lnTo>
                      <a:lnTo>
                        <a:pt x="3788" y="2557"/>
                      </a:lnTo>
                      <a:lnTo>
                        <a:pt x="3964" y="2524"/>
                      </a:lnTo>
                      <a:lnTo>
                        <a:pt x="4137" y="2491"/>
                      </a:lnTo>
                      <a:lnTo>
                        <a:pt x="4308" y="2456"/>
                      </a:lnTo>
                      <a:lnTo>
                        <a:pt x="4476" y="2420"/>
                      </a:lnTo>
                      <a:lnTo>
                        <a:pt x="4642" y="2383"/>
                      </a:lnTo>
                      <a:lnTo>
                        <a:pt x="4804" y="2344"/>
                      </a:lnTo>
                      <a:lnTo>
                        <a:pt x="4964" y="2304"/>
                      </a:lnTo>
                      <a:lnTo>
                        <a:pt x="5122" y="2263"/>
                      </a:lnTo>
                      <a:lnTo>
                        <a:pt x="5275" y="2220"/>
                      </a:lnTo>
                      <a:lnTo>
                        <a:pt x="5351" y="2198"/>
                      </a:lnTo>
                      <a:lnTo>
                        <a:pt x="5426" y="2177"/>
                      </a:lnTo>
                      <a:lnTo>
                        <a:pt x="5500" y="2154"/>
                      </a:lnTo>
                      <a:lnTo>
                        <a:pt x="5574" y="2131"/>
                      </a:lnTo>
                      <a:lnTo>
                        <a:pt x="5646" y="2108"/>
                      </a:lnTo>
                      <a:lnTo>
                        <a:pt x="5718" y="2085"/>
                      </a:lnTo>
                      <a:lnTo>
                        <a:pt x="5789" y="2062"/>
                      </a:lnTo>
                      <a:lnTo>
                        <a:pt x="5859" y="2038"/>
                      </a:lnTo>
                      <a:lnTo>
                        <a:pt x="5930" y="2013"/>
                      </a:lnTo>
                      <a:lnTo>
                        <a:pt x="5998" y="1989"/>
                      </a:lnTo>
                      <a:lnTo>
                        <a:pt x="6066" y="1965"/>
                      </a:lnTo>
                      <a:lnTo>
                        <a:pt x="6133" y="1940"/>
                      </a:lnTo>
                      <a:lnTo>
                        <a:pt x="6199" y="1914"/>
                      </a:lnTo>
                      <a:lnTo>
                        <a:pt x="6264" y="1889"/>
                      </a:lnTo>
                      <a:lnTo>
                        <a:pt x="6328" y="1863"/>
                      </a:lnTo>
                      <a:lnTo>
                        <a:pt x="6391" y="1836"/>
                      </a:lnTo>
                      <a:lnTo>
                        <a:pt x="6454" y="1810"/>
                      </a:lnTo>
                      <a:lnTo>
                        <a:pt x="6516" y="1783"/>
                      </a:lnTo>
                      <a:lnTo>
                        <a:pt x="6577" y="1756"/>
                      </a:lnTo>
                      <a:lnTo>
                        <a:pt x="6637" y="1730"/>
                      </a:lnTo>
                      <a:lnTo>
                        <a:pt x="6695" y="1702"/>
                      </a:lnTo>
                      <a:lnTo>
                        <a:pt x="6754" y="1675"/>
                      </a:lnTo>
                      <a:lnTo>
                        <a:pt x="6811" y="1647"/>
                      </a:lnTo>
                      <a:lnTo>
                        <a:pt x="6867" y="1619"/>
                      </a:lnTo>
                      <a:lnTo>
                        <a:pt x="6922" y="1590"/>
                      </a:lnTo>
                      <a:lnTo>
                        <a:pt x="6977" y="1561"/>
                      </a:lnTo>
                      <a:lnTo>
                        <a:pt x="7030" y="1532"/>
                      </a:lnTo>
                      <a:lnTo>
                        <a:pt x="7082" y="1503"/>
                      </a:lnTo>
                      <a:lnTo>
                        <a:pt x="7133" y="1474"/>
                      </a:lnTo>
                      <a:lnTo>
                        <a:pt x="7184" y="1444"/>
                      </a:lnTo>
                      <a:lnTo>
                        <a:pt x="7233" y="1414"/>
                      </a:lnTo>
                      <a:lnTo>
                        <a:pt x="7282" y="1384"/>
                      </a:lnTo>
                      <a:lnTo>
                        <a:pt x="7329" y="1354"/>
                      </a:lnTo>
                      <a:lnTo>
                        <a:pt x="7376" y="1323"/>
                      </a:lnTo>
                      <a:lnTo>
                        <a:pt x="7421" y="1292"/>
                      </a:lnTo>
                      <a:lnTo>
                        <a:pt x="7465" y="1261"/>
                      </a:lnTo>
                      <a:lnTo>
                        <a:pt x="7509" y="1230"/>
                      </a:lnTo>
                      <a:lnTo>
                        <a:pt x="7551" y="1199"/>
                      </a:lnTo>
                      <a:lnTo>
                        <a:pt x="7592" y="1167"/>
                      </a:lnTo>
                      <a:lnTo>
                        <a:pt x="7632" y="1134"/>
                      </a:lnTo>
                      <a:lnTo>
                        <a:pt x="7670" y="1102"/>
                      </a:lnTo>
                      <a:lnTo>
                        <a:pt x="7709" y="1070"/>
                      </a:lnTo>
                      <a:lnTo>
                        <a:pt x="7746" y="1037"/>
                      </a:lnTo>
                      <a:lnTo>
                        <a:pt x="7782" y="1004"/>
                      </a:lnTo>
                      <a:lnTo>
                        <a:pt x="7816" y="971"/>
                      </a:lnTo>
                      <a:lnTo>
                        <a:pt x="7850" y="938"/>
                      </a:lnTo>
                      <a:lnTo>
                        <a:pt x="7882" y="905"/>
                      </a:lnTo>
                      <a:lnTo>
                        <a:pt x="7914" y="870"/>
                      </a:lnTo>
                      <a:lnTo>
                        <a:pt x="7944" y="837"/>
                      </a:lnTo>
                      <a:lnTo>
                        <a:pt x="7972" y="802"/>
                      </a:lnTo>
                      <a:lnTo>
                        <a:pt x="8000" y="768"/>
                      </a:lnTo>
                      <a:lnTo>
                        <a:pt x="8027" y="734"/>
                      </a:lnTo>
                      <a:lnTo>
                        <a:pt x="8052" y="699"/>
                      </a:lnTo>
                      <a:lnTo>
                        <a:pt x="8076" y="663"/>
                      </a:lnTo>
                      <a:lnTo>
                        <a:pt x="8099" y="628"/>
                      </a:lnTo>
                      <a:lnTo>
                        <a:pt x="8121" y="593"/>
                      </a:lnTo>
                      <a:lnTo>
                        <a:pt x="8141" y="558"/>
                      </a:lnTo>
                      <a:lnTo>
                        <a:pt x="8161" y="522"/>
                      </a:lnTo>
                      <a:lnTo>
                        <a:pt x="8180" y="485"/>
                      </a:lnTo>
                      <a:lnTo>
                        <a:pt x="8196" y="449"/>
                      </a:lnTo>
                      <a:lnTo>
                        <a:pt x="8212" y="413"/>
                      </a:lnTo>
                      <a:lnTo>
                        <a:pt x="8226" y="376"/>
                      </a:lnTo>
                      <a:lnTo>
                        <a:pt x="8238" y="340"/>
                      </a:lnTo>
                      <a:lnTo>
                        <a:pt x="8251" y="302"/>
                      </a:lnTo>
                      <a:lnTo>
                        <a:pt x="8261" y="265"/>
                      </a:lnTo>
                      <a:lnTo>
                        <a:pt x="8269" y="228"/>
                      </a:lnTo>
                      <a:lnTo>
                        <a:pt x="8277" y="190"/>
                      </a:lnTo>
                      <a:lnTo>
                        <a:pt x="8284" y="152"/>
                      </a:lnTo>
                      <a:lnTo>
                        <a:pt x="8289" y="115"/>
                      </a:lnTo>
                      <a:lnTo>
                        <a:pt x="8292" y="77"/>
                      </a:lnTo>
                      <a:lnTo>
                        <a:pt x="8294" y="38"/>
                      </a:lnTo>
                      <a:lnTo>
                        <a:pt x="8295" y="0"/>
                      </a:lnTo>
                      <a:lnTo>
                        <a:pt x="8195" y="0"/>
                      </a:lnTo>
                      <a:lnTo>
                        <a:pt x="8194" y="35"/>
                      </a:lnTo>
                      <a:lnTo>
                        <a:pt x="8192" y="69"/>
                      </a:lnTo>
                      <a:lnTo>
                        <a:pt x="8189" y="104"/>
                      </a:lnTo>
                      <a:lnTo>
                        <a:pt x="8185" y="138"/>
                      </a:lnTo>
                      <a:lnTo>
                        <a:pt x="8180" y="172"/>
                      </a:lnTo>
                      <a:lnTo>
                        <a:pt x="8172" y="206"/>
                      </a:lnTo>
                      <a:lnTo>
                        <a:pt x="8164" y="240"/>
                      </a:lnTo>
                      <a:lnTo>
                        <a:pt x="8155" y="274"/>
                      </a:lnTo>
                      <a:lnTo>
                        <a:pt x="8145" y="307"/>
                      </a:lnTo>
                      <a:lnTo>
                        <a:pt x="8132" y="342"/>
                      </a:lnTo>
                      <a:lnTo>
                        <a:pt x="8119" y="375"/>
                      </a:lnTo>
                      <a:lnTo>
                        <a:pt x="8105" y="409"/>
                      </a:lnTo>
                      <a:lnTo>
                        <a:pt x="8089" y="442"/>
                      </a:lnTo>
                      <a:lnTo>
                        <a:pt x="8072" y="475"/>
                      </a:lnTo>
                      <a:lnTo>
                        <a:pt x="8055" y="508"/>
                      </a:lnTo>
                      <a:lnTo>
                        <a:pt x="8035" y="541"/>
                      </a:lnTo>
                      <a:lnTo>
                        <a:pt x="8016" y="574"/>
                      </a:lnTo>
                      <a:lnTo>
                        <a:pt x="7993" y="608"/>
                      </a:lnTo>
                      <a:lnTo>
                        <a:pt x="7970" y="641"/>
                      </a:lnTo>
                      <a:lnTo>
                        <a:pt x="7947" y="673"/>
                      </a:lnTo>
                      <a:lnTo>
                        <a:pt x="7922" y="706"/>
                      </a:lnTo>
                      <a:lnTo>
                        <a:pt x="7895" y="739"/>
                      </a:lnTo>
                      <a:lnTo>
                        <a:pt x="7868" y="771"/>
                      </a:lnTo>
                      <a:lnTo>
                        <a:pt x="7839" y="803"/>
                      </a:lnTo>
                      <a:lnTo>
                        <a:pt x="7810" y="835"/>
                      </a:lnTo>
                      <a:lnTo>
                        <a:pt x="7779" y="867"/>
                      </a:lnTo>
                      <a:lnTo>
                        <a:pt x="7747" y="899"/>
                      </a:lnTo>
                      <a:lnTo>
                        <a:pt x="7714" y="931"/>
                      </a:lnTo>
                      <a:lnTo>
                        <a:pt x="7679" y="963"/>
                      </a:lnTo>
                      <a:lnTo>
                        <a:pt x="7644" y="994"/>
                      </a:lnTo>
                      <a:lnTo>
                        <a:pt x="7607" y="1026"/>
                      </a:lnTo>
                      <a:lnTo>
                        <a:pt x="7569" y="1057"/>
                      </a:lnTo>
                      <a:lnTo>
                        <a:pt x="7530" y="1088"/>
                      </a:lnTo>
                      <a:lnTo>
                        <a:pt x="7490" y="1118"/>
                      </a:lnTo>
                      <a:lnTo>
                        <a:pt x="7450" y="1149"/>
                      </a:lnTo>
                      <a:lnTo>
                        <a:pt x="7408" y="1179"/>
                      </a:lnTo>
                      <a:lnTo>
                        <a:pt x="7364" y="1210"/>
                      </a:lnTo>
                      <a:lnTo>
                        <a:pt x="7320" y="1240"/>
                      </a:lnTo>
                      <a:lnTo>
                        <a:pt x="7275" y="1270"/>
                      </a:lnTo>
                      <a:lnTo>
                        <a:pt x="7228" y="1299"/>
                      </a:lnTo>
                      <a:lnTo>
                        <a:pt x="7182" y="1329"/>
                      </a:lnTo>
                      <a:lnTo>
                        <a:pt x="7133" y="1358"/>
                      </a:lnTo>
                      <a:lnTo>
                        <a:pt x="7084" y="1387"/>
                      </a:lnTo>
                      <a:lnTo>
                        <a:pt x="7033" y="1416"/>
                      </a:lnTo>
                      <a:lnTo>
                        <a:pt x="6982" y="1444"/>
                      </a:lnTo>
                      <a:lnTo>
                        <a:pt x="6929" y="1473"/>
                      </a:lnTo>
                      <a:lnTo>
                        <a:pt x="6877" y="1501"/>
                      </a:lnTo>
                      <a:lnTo>
                        <a:pt x="6822" y="1529"/>
                      </a:lnTo>
                      <a:lnTo>
                        <a:pt x="6766" y="1557"/>
                      </a:lnTo>
                      <a:lnTo>
                        <a:pt x="6711" y="1584"/>
                      </a:lnTo>
                      <a:lnTo>
                        <a:pt x="6653" y="1612"/>
                      </a:lnTo>
                      <a:lnTo>
                        <a:pt x="6595" y="1638"/>
                      </a:lnTo>
                      <a:lnTo>
                        <a:pt x="6537" y="1665"/>
                      </a:lnTo>
                      <a:lnTo>
                        <a:pt x="6476" y="1691"/>
                      </a:lnTo>
                      <a:lnTo>
                        <a:pt x="6415" y="1718"/>
                      </a:lnTo>
                      <a:lnTo>
                        <a:pt x="6354" y="1744"/>
                      </a:lnTo>
                      <a:lnTo>
                        <a:pt x="6290" y="1770"/>
                      </a:lnTo>
                      <a:lnTo>
                        <a:pt x="6227" y="1795"/>
                      </a:lnTo>
                      <a:lnTo>
                        <a:pt x="6163" y="1821"/>
                      </a:lnTo>
                      <a:lnTo>
                        <a:pt x="6098" y="1845"/>
                      </a:lnTo>
                      <a:lnTo>
                        <a:pt x="6032" y="1870"/>
                      </a:lnTo>
                      <a:lnTo>
                        <a:pt x="5965" y="1895"/>
                      </a:lnTo>
                      <a:lnTo>
                        <a:pt x="5897" y="1919"/>
                      </a:lnTo>
                      <a:lnTo>
                        <a:pt x="5828" y="1943"/>
                      </a:lnTo>
                      <a:lnTo>
                        <a:pt x="5757" y="1967"/>
                      </a:lnTo>
                      <a:lnTo>
                        <a:pt x="5687" y="1989"/>
                      </a:lnTo>
                      <a:lnTo>
                        <a:pt x="5616" y="2013"/>
                      </a:lnTo>
                      <a:lnTo>
                        <a:pt x="5544" y="2036"/>
                      </a:lnTo>
                      <a:lnTo>
                        <a:pt x="5471" y="2058"/>
                      </a:lnTo>
                      <a:lnTo>
                        <a:pt x="5398" y="2080"/>
                      </a:lnTo>
                      <a:lnTo>
                        <a:pt x="5324" y="2102"/>
                      </a:lnTo>
                      <a:lnTo>
                        <a:pt x="5248" y="2124"/>
                      </a:lnTo>
                      <a:lnTo>
                        <a:pt x="5096" y="2165"/>
                      </a:lnTo>
                      <a:lnTo>
                        <a:pt x="4940" y="2207"/>
                      </a:lnTo>
                      <a:lnTo>
                        <a:pt x="4781" y="2247"/>
                      </a:lnTo>
                      <a:lnTo>
                        <a:pt x="4620" y="2285"/>
                      </a:lnTo>
                      <a:lnTo>
                        <a:pt x="4455" y="2323"/>
                      </a:lnTo>
                      <a:lnTo>
                        <a:pt x="4288" y="2358"/>
                      </a:lnTo>
                      <a:lnTo>
                        <a:pt x="4119" y="2392"/>
                      </a:lnTo>
                      <a:lnTo>
                        <a:pt x="3945" y="2426"/>
                      </a:lnTo>
                      <a:lnTo>
                        <a:pt x="3771" y="2457"/>
                      </a:lnTo>
                      <a:lnTo>
                        <a:pt x="3593" y="2487"/>
                      </a:lnTo>
                      <a:lnTo>
                        <a:pt x="3414" y="2516"/>
                      </a:lnTo>
                      <a:lnTo>
                        <a:pt x="3231" y="2544"/>
                      </a:lnTo>
                      <a:lnTo>
                        <a:pt x="3047" y="2570"/>
                      </a:lnTo>
                      <a:lnTo>
                        <a:pt x="2860" y="2594"/>
                      </a:lnTo>
                      <a:lnTo>
                        <a:pt x="2672" y="2617"/>
                      </a:lnTo>
                      <a:lnTo>
                        <a:pt x="2481" y="2638"/>
                      </a:lnTo>
                      <a:lnTo>
                        <a:pt x="2287" y="2658"/>
                      </a:lnTo>
                      <a:lnTo>
                        <a:pt x="2092" y="2676"/>
                      </a:lnTo>
                      <a:lnTo>
                        <a:pt x="1895" y="2692"/>
                      </a:lnTo>
                      <a:lnTo>
                        <a:pt x="1698" y="2708"/>
                      </a:lnTo>
                      <a:lnTo>
                        <a:pt x="1497" y="2721"/>
                      </a:lnTo>
                      <a:lnTo>
                        <a:pt x="1295" y="2733"/>
                      </a:lnTo>
                      <a:lnTo>
                        <a:pt x="1090" y="2742"/>
                      </a:lnTo>
                      <a:lnTo>
                        <a:pt x="885" y="2750"/>
                      </a:lnTo>
                      <a:lnTo>
                        <a:pt x="678" y="2756"/>
                      </a:lnTo>
                      <a:lnTo>
                        <a:pt x="470" y="2761"/>
                      </a:lnTo>
                      <a:lnTo>
                        <a:pt x="261" y="2764"/>
                      </a:lnTo>
                      <a:lnTo>
                        <a:pt x="50" y="2765"/>
                      </a:lnTo>
                      <a:lnTo>
                        <a:pt x="50" y="2765"/>
                      </a:lnTo>
                      <a:lnTo>
                        <a:pt x="50" y="2765"/>
                      </a:lnTo>
                      <a:lnTo>
                        <a:pt x="43" y="2765"/>
                      </a:lnTo>
                      <a:lnTo>
                        <a:pt x="38" y="2766"/>
                      </a:lnTo>
                      <a:lnTo>
                        <a:pt x="33" y="2767"/>
                      </a:lnTo>
                      <a:lnTo>
                        <a:pt x="28" y="2769"/>
                      </a:lnTo>
                      <a:lnTo>
                        <a:pt x="23" y="2771"/>
                      </a:lnTo>
                      <a:lnTo>
                        <a:pt x="19" y="2774"/>
                      </a:lnTo>
                      <a:lnTo>
                        <a:pt x="15" y="2777"/>
                      </a:lnTo>
                      <a:lnTo>
                        <a:pt x="12" y="2780"/>
                      </a:lnTo>
                      <a:lnTo>
                        <a:pt x="6" y="2787"/>
                      </a:lnTo>
                      <a:lnTo>
                        <a:pt x="3" y="2797"/>
                      </a:lnTo>
                      <a:lnTo>
                        <a:pt x="0" y="2805"/>
                      </a:lnTo>
                      <a:lnTo>
                        <a:pt x="0" y="2814"/>
                      </a:lnTo>
                      <a:lnTo>
                        <a:pt x="0" y="2825"/>
                      </a:lnTo>
                      <a:lnTo>
                        <a:pt x="3" y="2833"/>
                      </a:lnTo>
                      <a:lnTo>
                        <a:pt x="6" y="2842"/>
                      </a:lnTo>
                      <a:lnTo>
                        <a:pt x="12" y="2849"/>
                      </a:lnTo>
                      <a:lnTo>
                        <a:pt x="15" y="2853"/>
                      </a:lnTo>
                      <a:lnTo>
                        <a:pt x="19" y="2856"/>
                      </a:lnTo>
                      <a:lnTo>
                        <a:pt x="23" y="2859"/>
                      </a:lnTo>
                      <a:lnTo>
                        <a:pt x="28" y="2861"/>
                      </a:lnTo>
                      <a:lnTo>
                        <a:pt x="33" y="2863"/>
                      </a:lnTo>
                      <a:lnTo>
                        <a:pt x="38" y="2864"/>
                      </a:lnTo>
                      <a:lnTo>
                        <a:pt x="43" y="2865"/>
                      </a:lnTo>
                      <a:lnTo>
                        <a:pt x="50"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25" name="Freeform 120"/>
                <p:cNvSpPr>
                  <a:spLocks/>
                </p:cNvSpPr>
                <p:nvPr>
                  <p:custDataLst>
                    <p:tags r:id="rId168"/>
                  </p:custDataLst>
                </p:nvPr>
              </p:nvSpPr>
              <p:spPr bwMode="auto">
                <a:xfrm>
                  <a:off x="369" y="3627"/>
                  <a:ext cx="359" cy="117"/>
                </a:xfrm>
                <a:custGeom>
                  <a:avLst/>
                  <a:gdLst>
                    <a:gd name="T0" fmla="*/ 3 w 8246"/>
                    <a:gd name="T1" fmla="*/ 127 h 2915"/>
                    <a:gd name="T2" fmla="*/ 25 w 8246"/>
                    <a:gd name="T3" fmla="*/ 278 h 2915"/>
                    <a:gd name="T4" fmla="*/ 69 w 8246"/>
                    <a:gd name="T5" fmla="*/ 426 h 2915"/>
                    <a:gd name="T6" fmla="*/ 134 w 8246"/>
                    <a:gd name="T7" fmla="*/ 572 h 2915"/>
                    <a:gd name="T8" fmla="*/ 219 w 8246"/>
                    <a:gd name="T9" fmla="*/ 713 h 2915"/>
                    <a:gd name="T10" fmla="*/ 323 w 8246"/>
                    <a:gd name="T11" fmla="*/ 852 h 2915"/>
                    <a:gd name="T12" fmla="*/ 445 w 8246"/>
                    <a:gd name="T13" fmla="*/ 988 h 2915"/>
                    <a:gd name="T14" fmla="*/ 586 w 8246"/>
                    <a:gd name="T15" fmla="*/ 1120 h 2915"/>
                    <a:gd name="T16" fmla="*/ 744 w 8246"/>
                    <a:gd name="T17" fmla="*/ 1249 h 2915"/>
                    <a:gd name="T18" fmla="*/ 919 w 8246"/>
                    <a:gd name="T19" fmla="*/ 1373 h 2915"/>
                    <a:gd name="T20" fmla="*/ 1111 w 8246"/>
                    <a:gd name="T21" fmla="*/ 1494 h 2915"/>
                    <a:gd name="T22" fmla="*/ 1318 w 8246"/>
                    <a:gd name="T23" fmla="*/ 1611 h 2915"/>
                    <a:gd name="T24" fmla="*/ 1541 w 8246"/>
                    <a:gd name="T25" fmla="*/ 1725 h 2915"/>
                    <a:gd name="T26" fmla="*/ 1779 w 8246"/>
                    <a:gd name="T27" fmla="*/ 1833 h 2915"/>
                    <a:gd name="T28" fmla="*/ 2030 w 8246"/>
                    <a:gd name="T29" fmla="*/ 1939 h 2915"/>
                    <a:gd name="T30" fmla="*/ 2297 w 8246"/>
                    <a:gd name="T31" fmla="*/ 2039 h 2915"/>
                    <a:gd name="T32" fmla="*/ 2577 w 8246"/>
                    <a:gd name="T33" fmla="*/ 2135 h 2915"/>
                    <a:gd name="T34" fmla="*/ 2869 w 8246"/>
                    <a:gd name="T35" fmla="*/ 2227 h 2915"/>
                    <a:gd name="T36" fmla="*/ 3331 w 8246"/>
                    <a:gd name="T37" fmla="*/ 2354 h 2915"/>
                    <a:gd name="T38" fmla="*/ 3987 w 8246"/>
                    <a:gd name="T39" fmla="*/ 2506 h 2915"/>
                    <a:gd name="T40" fmla="*/ 4686 w 8246"/>
                    <a:gd name="T41" fmla="*/ 2637 h 2915"/>
                    <a:gd name="T42" fmla="*/ 5422 w 8246"/>
                    <a:gd name="T43" fmla="*/ 2744 h 2915"/>
                    <a:gd name="T44" fmla="*/ 6193 w 8246"/>
                    <a:gd name="T45" fmla="*/ 2826 h 2915"/>
                    <a:gd name="T46" fmla="*/ 6995 w 8246"/>
                    <a:gd name="T47" fmla="*/ 2882 h 2915"/>
                    <a:gd name="T48" fmla="*/ 7823 w 8246"/>
                    <a:gd name="T49" fmla="*/ 2911 h 2915"/>
                    <a:gd name="T50" fmla="*/ 8034 w 8246"/>
                    <a:gd name="T51" fmla="*/ 2814 h 2915"/>
                    <a:gd name="T52" fmla="*/ 7205 w 8246"/>
                    <a:gd name="T53" fmla="*/ 2792 h 2915"/>
                    <a:gd name="T54" fmla="*/ 6400 w 8246"/>
                    <a:gd name="T55" fmla="*/ 2742 h 2915"/>
                    <a:gd name="T56" fmla="*/ 5623 w 8246"/>
                    <a:gd name="T57" fmla="*/ 2667 h 2915"/>
                    <a:gd name="T58" fmla="*/ 4881 w 8246"/>
                    <a:gd name="T59" fmla="*/ 2566 h 2915"/>
                    <a:gd name="T60" fmla="*/ 4176 w 8246"/>
                    <a:gd name="T61" fmla="*/ 2442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2 h 2915"/>
                    <a:gd name="T76" fmla="*/ 1418 w 8246"/>
                    <a:gd name="T77" fmla="*/ 1551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8 h 2915"/>
                    <a:gd name="T94" fmla="*/ 175 w 8246"/>
                    <a:gd name="T95" fmla="*/ 425 h 2915"/>
                    <a:gd name="T96" fmla="*/ 131 w 8246"/>
                    <a:gd name="T97" fmla="*/ 290 h 2915"/>
                    <a:gd name="T98" fmla="*/ 106 w 8246"/>
                    <a:gd name="T99" fmla="*/ 154 h 2915"/>
                    <a:gd name="T100" fmla="*/ 100 w 8246"/>
                    <a:gd name="T101" fmla="*/ 50 h 2915"/>
                    <a:gd name="T102" fmla="*/ 98 w 8246"/>
                    <a:gd name="T103" fmla="*/ 33 h 2915"/>
                    <a:gd name="T104" fmla="*/ 88 w 8246"/>
                    <a:gd name="T105" fmla="*/ 16 h 2915"/>
                    <a:gd name="T106" fmla="*/ 60 w 8246"/>
                    <a:gd name="T107" fmla="*/ 0 h 2915"/>
                    <a:gd name="T108" fmla="*/ 23 w 8246"/>
                    <a:gd name="T109" fmla="*/ 8 h 2915"/>
                    <a:gd name="T110" fmla="*/ 6 w 8246"/>
                    <a:gd name="T111" fmla="*/ 24 h 2915"/>
                    <a:gd name="T112" fmla="*/ 0 w 8246"/>
                    <a:gd name="T113" fmla="*/ 44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0"/>
                      </a:moveTo>
                      <a:lnTo>
                        <a:pt x="0" y="50"/>
                      </a:lnTo>
                      <a:lnTo>
                        <a:pt x="1" y="88"/>
                      </a:lnTo>
                      <a:lnTo>
                        <a:pt x="3" y="127"/>
                      </a:lnTo>
                      <a:lnTo>
                        <a:pt x="6" y="165"/>
                      </a:lnTo>
                      <a:lnTo>
                        <a:pt x="11" y="202"/>
                      </a:lnTo>
                      <a:lnTo>
                        <a:pt x="18" y="240"/>
                      </a:lnTo>
                      <a:lnTo>
                        <a:pt x="25" y="278"/>
                      </a:lnTo>
                      <a:lnTo>
                        <a:pt x="34" y="315"/>
                      </a:lnTo>
                      <a:lnTo>
                        <a:pt x="44" y="352"/>
                      </a:lnTo>
                      <a:lnTo>
                        <a:pt x="56" y="390"/>
                      </a:lnTo>
                      <a:lnTo>
                        <a:pt x="69" y="426"/>
                      </a:lnTo>
                      <a:lnTo>
                        <a:pt x="83" y="463"/>
                      </a:lnTo>
                      <a:lnTo>
                        <a:pt x="99" y="499"/>
                      </a:lnTo>
                      <a:lnTo>
                        <a:pt x="115" y="535"/>
                      </a:lnTo>
                      <a:lnTo>
                        <a:pt x="134" y="572"/>
                      </a:lnTo>
                      <a:lnTo>
                        <a:pt x="154" y="608"/>
                      </a:lnTo>
                      <a:lnTo>
                        <a:pt x="174" y="643"/>
                      </a:lnTo>
                      <a:lnTo>
                        <a:pt x="196" y="678"/>
                      </a:lnTo>
                      <a:lnTo>
                        <a:pt x="219" y="713"/>
                      </a:lnTo>
                      <a:lnTo>
                        <a:pt x="243" y="749"/>
                      </a:lnTo>
                      <a:lnTo>
                        <a:pt x="268" y="784"/>
                      </a:lnTo>
                      <a:lnTo>
                        <a:pt x="295" y="818"/>
                      </a:lnTo>
                      <a:lnTo>
                        <a:pt x="323" y="852"/>
                      </a:lnTo>
                      <a:lnTo>
                        <a:pt x="351" y="887"/>
                      </a:lnTo>
                      <a:lnTo>
                        <a:pt x="381" y="920"/>
                      </a:lnTo>
                      <a:lnTo>
                        <a:pt x="413" y="955"/>
                      </a:lnTo>
                      <a:lnTo>
                        <a:pt x="445" y="988"/>
                      </a:lnTo>
                      <a:lnTo>
                        <a:pt x="479" y="1021"/>
                      </a:lnTo>
                      <a:lnTo>
                        <a:pt x="513" y="1054"/>
                      </a:lnTo>
                      <a:lnTo>
                        <a:pt x="549" y="1087"/>
                      </a:lnTo>
                      <a:lnTo>
                        <a:pt x="586" y="1120"/>
                      </a:lnTo>
                      <a:lnTo>
                        <a:pt x="624" y="1152"/>
                      </a:lnTo>
                      <a:lnTo>
                        <a:pt x="663" y="1184"/>
                      </a:lnTo>
                      <a:lnTo>
                        <a:pt x="703" y="1217"/>
                      </a:lnTo>
                      <a:lnTo>
                        <a:pt x="744" y="1249"/>
                      </a:lnTo>
                      <a:lnTo>
                        <a:pt x="786" y="1280"/>
                      </a:lnTo>
                      <a:lnTo>
                        <a:pt x="830" y="1311"/>
                      </a:lnTo>
                      <a:lnTo>
                        <a:pt x="874" y="1342"/>
                      </a:lnTo>
                      <a:lnTo>
                        <a:pt x="919" y="1373"/>
                      </a:lnTo>
                      <a:lnTo>
                        <a:pt x="966" y="1404"/>
                      </a:lnTo>
                      <a:lnTo>
                        <a:pt x="1013" y="1434"/>
                      </a:lnTo>
                      <a:lnTo>
                        <a:pt x="1062" y="1464"/>
                      </a:lnTo>
                      <a:lnTo>
                        <a:pt x="1111" y="1494"/>
                      </a:lnTo>
                      <a:lnTo>
                        <a:pt x="1162" y="1524"/>
                      </a:lnTo>
                      <a:lnTo>
                        <a:pt x="1212" y="1553"/>
                      </a:lnTo>
                      <a:lnTo>
                        <a:pt x="1265" y="1582"/>
                      </a:lnTo>
                      <a:lnTo>
                        <a:pt x="1318" y="1611"/>
                      </a:lnTo>
                      <a:lnTo>
                        <a:pt x="1373" y="1640"/>
                      </a:lnTo>
                      <a:lnTo>
                        <a:pt x="1428" y="1669"/>
                      </a:lnTo>
                      <a:lnTo>
                        <a:pt x="1484" y="1697"/>
                      </a:lnTo>
                      <a:lnTo>
                        <a:pt x="1541" y="1725"/>
                      </a:lnTo>
                      <a:lnTo>
                        <a:pt x="1600" y="1752"/>
                      </a:lnTo>
                      <a:lnTo>
                        <a:pt x="1658" y="1780"/>
                      </a:lnTo>
                      <a:lnTo>
                        <a:pt x="1718" y="1806"/>
                      </a:lnTo>
                      <a:lnTo>
                        <a:pt x="1779" y="1833"/>
                      </a:lnTo>
                      <a:lnTo>
                        <a:pt x="1841" y="1860"/>
                      </a:lnTo>
                      <a:lnTo>
                        <a:pt x="1904" y="1886"/>
                      </a:lnTo>
                      <a:lnTo>
                        <a:pt x="1967" y="1913"/>
                      </a:lnTo>
                      <a:lnTo>
                        <a:pt x="2030" y="1939"/>
                      </a:lnTo>
                      <a:lnTo>
                        <a:pt x="2096" y="1964"/>
                      </a:lnTo>
                      <a:lnTo>
                        <a:pt x="2162" y="1990"/>
                      </a:lnTo>
                      <a:lnTo>
                        <a:pt x="2229" y="2015"/>
                      </a:lnTo>
                      <a:lnTo>
                        <a:pt x="2297" y="2039"/>
                      </a:lnTo>
                      <a:lnTo>
                        <a:pt x="2365" y="2063"/>
                      </a:lnTo>
                      <a:lnTo>
                        <a:pt x="2436" y="2088"/>
                      </a:lnTo>
                      <a:lnTo>
                        <a:pt x="2506" y="2112"/>
                      </a:lnTo>
                      <a:lnTo>
                        <a:pt x="2577" y="2135"/>
                      </a:lnTo>
                      <a:lnTo>
                        <a:pt x="2649" y="2158"/>
                      </a:lnTo>
                      <a:lnTo>
                        <a:pt x="2721" y="2181"/>
                      </a:lnTo>
                      <a:lnTo>
                        <a:pt x="2794" y="2204"/>
                      </a:lnTo>
                      <a:lnTo>
                        <a:pt x="2869" y="2227"/>
                      </a:lnTo>
                      <a:lnTo>
                        <a:pt x="2944" y="2248"/>
                      </a:lnTo>
                      <a:lnTo>
                        <a:pt x="3020" y="2270"/>
                      </a:lnTo>
                      <a:lnTo>
                        <a:pt x="3173" y="2313"/>
                      </a:lnTo>
                      <a:lnTo>
                        <a:pt x="3331" y="2354"/>
                      </a:lnTo>
                      <a:lnTo>
                        <a:pt x="3491" y="2394"/>
                      </a:lnTo>
                      <a:lnTo>
                        <a:pt x="3653" y="2433"/>
                      </a:lnTo>
                      <a:lnTo>
                        <a:pt x="3819" y="2470"/>
                      </a:lnTo>
                      <a:lnTo>
                        <a:pt x="3987" y="2506"/>
                      </a:lnTo>
                      <a:lnTo>
                        <a:pt x="4158" y="2541"/>
                      </a:lnTo>
                      <a:lnTo>
                        <a:pt x="4331" y="2574"/>
                      </a:lnTo>
                      <a:lnTo>
                        <a:pt x="4507" y="2607"/>
                      </a:lnTo>
                      <a:lnTo>
                        <a:pt x="4686" y="2637"/>
                      </a:lnTo>
                      <a:lnTo>
                        <a:pt x="4866" y="2666"/>
                      </a:lnTo>
                      <a:lnTo>
                        <a:pt x="5049" y="2694"/>
                      </a:lnTo>
                      <a:lnTo>
                        <a:pt x="5235" y="2719"/>
                      </a:lnTo>
                      <a:lnTo>
                        <a:pt x="5422" y="2744"/>
                      </a:lnTo>
                      <a:lnTo>
                        <a:pt x="5612" y="2767"/>
                      </a:lnTo>
                      <a:lnTo>
                        <a:pt x="5804" y="2788"/>
                      </a:lnTo>
                      <a:lnTo>
                        <a:pt x="5998" y="2807"/>
                      </a:lnTo>
                      <a:lnTo>
                        <a:pt x="6193" y="2826"/>
                      </a:lnTo>
                      <a:lnTo>
                        <a:pt x="6391" y="2843"/>
                      </a:lnTo>
                      <a:lnTo>
                        <a:pt x="6591" y="2858"/>
                      </a:lnTo>
                      <a:lnTo>
                        <a:pt x="6792" y="2870"/>
                      </a:lnTo>
                      <a:lnTo>
                        <a:pt x="6995" y="2882"/>
                      </a:lnTo>
                      <a:lnTo>
                        <a:pt x="7200" y="2892"/>
                      </a:lnTo>
                      <a:lnTo>
                        <a:pt x="7407" y="2901"/>
                      </a:lnTo>
                      <a:lnTo>
                        <a:pt x="7614" y="2907"/>
                      </a:lnTo>
                      <a:lnTo>
                        <a:pt x="7823" y="2911"/>
                      </a:lnTo>
                      <a:lnTo>
                        <a:pt x="8034" y="2914"/>
                      </a:lnTo>
                      <a:lnTo>
                        <a:pt x="8246" y="2915"/>
                      </a:lnTo>
                      <a:lnTo>
                        <a:pt x="8246" y="2815"/>
                      </a:lnTo>
                      <a:lnTo>
                        <a:pt x="8034" y="2814"/>
                      </a:lnTo>
                      <a:lnTo>
                        <a:pt x="7825" y="2811"/>
                      </a:lnTo>
                      <a:lnTo>
                        <a:pt x="7617" y="2806"/>
                      </a:lnTo>
                      <a:lnTo>
                        <a:pt x="7410" y="2800"/>
                      </a:lnTo>
                      <a:lnTo>
                        <a:pt x="7205" y="2792"/>
                      </a:lnTo>
                      <a:lnTo>
                        <a:pt x="7000" y="2783"/>
                      </a:lnTo>
                      <a:lnTo>
                        <a:pt x="6798" y="2771"/>
                      </a:lnTo>
                      <a:lnTo>
                        <a:pt x="6597" y="2758"/>
                      </a:lnTo>
                      <a:lnTo>
                        <a:pt x="6400" y="2742"/>
                      </a:lnTo>
                      <a:lnTo>
                        <a:pt x="6203" y="2726"/>
                      </a:lnTo>
                      <a:lnTo>
                        <a:pt x="6008" y="2708"/>
                      </a:lnTo>
                      <a:lnTo>
                        <a:pt x="5814" y="2688"/>
                      </a:lnTo>
                      <a:lnTo>
                        <a:pt x="5623" y="2667"/>
                      </a:lnTo>
                      <a:lnTo>
                        <a:pt x="5435" y="2644"/>
                      </a:lnTo>
                      <a:lnTo>
                        <a:pt x="5248" y="2620"/>
                      </a:lnTo>
                      <a:lnTo>
                        <a:pt x="5064" y="2594"/>
                      </a:lnTo>
                      <a:lnTo>
                        <a:pt x="4881" y="2566"/>
                      </a:lnTo>
                      <a:lnTo>
                        <a:pt x="4702" y="2537"/>
                      </a:lnTo>
                      <a:lnTo>
                        <a:pt x="4524" y="2507"/>
                      </a:lnTo>
                      <a:lnTo>
                        <a:pt x="4350" y="2476"/>
                      </a:lnTo>
                      <a:lnTo>
                        <a:pt x="4176" y="2442"/>
                      </a:lnTo>
                      <a:lnTo>
                        <a:pt x="4007" y="2408"/>
                      </a:lnTo>
                      <a:lnTo>
                        <a:pt x="3839" y="2373"/>
                      </a:lnTo>
                      <a:lnTo>
                        <a:pt x="3675" y="2335"/>
                      </a:lnTo>
                      <a:lnTo>
                        <a:pt x="3514" y="2297"/>
                      </a:lnTo>
                      <a:lnTo>
                        <a:pt x="3355" y="2257"/>
                      </a:lnTo>
                      <a:lnTo>
                        <a:pt x="3199" y="2215"/>
                      </a:lnTo>
                      <a:lnTo>
                        <a:pt x="3047" y="2174"/>
                      </a:lnTo>
                      <a:lnTo>
                        <a:pt x="2971" y="2152"/>
                      </a:lnTo>
                      <a:lnTo>
                        <a:pt x="2897" y="2130"/>
                      </a:lnTo>
                      <a:lnTo>
                        <a:pt x="2824" y="2108"/>
                      </a:lnTo>
                      <a:lnTo>
                        <a:pt x="2751" y="2086"/>
                      </a:lnTo>
                      <a:lnTo>
                        <a:pt x="2679" y="2063"/>
                      </a:lnTo>
                      <a:lnTo>
                        <a:pt x="2608" y="2039"/>
                      </a:lnTo>
                      <a:lnTo>
                        <a:pt x="2538" y="2017"/>
                      </a:lnTo>
                      <a:lnTo>
                        <a:pt x="2467" y="1993"/>
                      </a:lnTo>
                      <a:lnTo>
                        <a:pt x="2398" y="1969"/>
                      </a:lnTo>
                      <a:lnTo>
                        <a:pt x="2330" y="1945"/>
                      </a:lnTo>
                      <a:lnTo>
                        <a:pt x="2263" y="1920"/>
                      </a:lnTo>
                      <a:lnTo>
                        <a:pt x="2197" y="1895"/>
                      </a:lnTo>
                      <a:lnTo>
                        <a:pt x="2132" y="1871"/>
                      </a:lnTo>
                      <a:lnTo>
                        <a:pt x="2068" y="1845"/>
                      </a:lnTo>
                      <a:lnTo>
                        <a:pt x="2004" y="1820"/>
                      </a:lnTo>
                      <a:lnTo>
                        <a:pt x="1941" y="1794"/>
                      </a:lnTo>
                      <a:lnTo>
                        <a:pt x="1880" y="1768"/>
                      </a:lnTo>
                      <a:lnTo>
                        <a:pt x="1819" y="1741"/>
                      </a:lnTo>
                      <a:lnTo>
                        <a:pt x="1758" y="1715"/>
                      </a:lnTo>
                      <a:lnTo>
                        <a:pt x="1700" y="1688"/>
                      </a:lnTo>
                      <a:lnTo>
                        <a:pt x="1642" y="1662"/>
                      </a:lnTo>
                      <a:lnTo>
                        <a:pt x="1584" y="1634"/>
                      </a:lnTo>
                      <a:lnTo>
                        <a:pt x="1529" y="1607"/>
                      </a:lnTo>
                      <a:lnTo>
                        <a:pt x="1473" y="1579"/>
                      </a:lnTo>
                      <a:lnTo>
                        <a:pt x="1418" y="1551"/>
                      </a:lnTo>
                      <a:lnTo>
                        <a:pt x="1366" y="1523"/>
                      </a:lnTo>
                      <a:lnTo>
                        <a:pt x="1313" y="1494"/>
                      </a:lnTo>
                      <a:lnTo>
                        <a:pt x="1262" y="1466"/>
                      </a:lnTo>
                      <a:lnTo>
                        <a:pt x="1211" y="1437"/>
                      </a:lnTo>
                      <a:lnTo>
                        <a:pt x="1162" y="1408"/>
                      </a:lnTo>
                      <a:lnTo>
                        <a:pt x="1113" y="1379"/>
                      </a:lnTo>
                      <a:lnTo>
                        <a:pt x="1066" y="1349"/>
                      </a:lnTo>
                      <a:lnTo>
                        <a:pt x="1020" y="1320"/>
                      </a:lnTo>
                      <a:lnTo>
                        <a:pt x="975" y="1290"/>
                      </a:lnTo>
                      <a:lnTo>
                        <a:pt x="931" y="1260"/>
                      </a:lnTo>
                      <a:lnTo>
                        <a:pt x="887" y="1229"/>
                      </a:lnTo>
                      <a:lnTo>
                        <a:pt x="845" y="1199"/>
                      </a:lnTo>
                      <a:lnTo>
                        <a:pt x="804" y="1168"/>
                      </a:lnTo>
                      <a:lnTo>
                        <a:pt x="765" y="1138"/>
                      </a:lnTo>
                      <a:lnTo>
                        <a:pt x="726" y="1107"/>
                      </a:lnTo>
                      <a:lnTo>
                        <a:pt x="688" y="1076"/>
                      </a:lnTo>
                      <a:lnTo>
                        <a:pt x="651" y="1044"/>
                      </a:lnTo>
                      <a:lnTo>
                        <a:pt x="616" y="1013"/>
                      </a:lnTo>
                      <a:lnTo>
                        <a:pt x="581" y="981"/>
                      </a:lnTo>
                      <a:lnTo>
                        <a:pt x="548" y="949"/>
                      </a:lnTo>
                      <a:lnTo>
                        <a:pt x="516" y="917"/>
                      </a:lnTo>
                      <a:lnTo>
                        <a:pt x="485" y="885"/>
                      </a:lnTo>
                      <a:lnTo>
                        <a:pt x="456" y="853"/>
                      </a:lnTo>
                      <a:lnTo>
                        <a:pt x="427" y="821"/>
                      </a:lnTo>
                      <a:lnTo>
                        <a:pt x="400" y="789"/>
                      </a:lnTo>
                      <a:lnTo>
                        <a:pt x="373" y="756"/>
                      </a:lnTo>
                      <a:lnTo>
                        <a:pt x="348" y="724"/>
                      </a:lnTo>
                      <a:lnTo>
                        <a:pt x="324" y="691"/>
                      </a:lnTo>
                      <a:lnTo>
                        <a:pt x="301" y="658"/>
                      </a:lnTo>
                      <a:lnTo>
                        <a:pt x="280" y="624"/>
                      </a:lnTo>
                      <a:lnTo>
                        <a:pt x="260" y="591"/>
                      </a:lnTo>
                      <a:lnTo>
                        <a:pt x="240" y="558"/>
                      </a:lnTo>
                      <a:lnTo>
                        <a:pt x="223" y="525"/>
                      </a:lnTo>
                      <a:lnTo>
                        <a:pt x="205" y="492"/>
                      </a:lnTo>
                      <a:lnTo>
                        <a:pt x="190" y="459"/>
                      </a:lnTo>
                      <a:lnTo>
                        <a:pt x="175" y="425"/>
                      </a:lnTo>
                      <a:lnTo>
                        <a:pt x="163" y="392"/>
                      </a:lnTo>
                      <a:lnTo>
                        <a:pt x="150" y="357"/>
                      </a:lnTo>
                      <a:lnTo>
                        <a:pt x="140" y="324"/>
                      </a:lnTo>
                      <a:lnTo>
                        <a:pt x="131" y="290"/>
                      </a:lnTo>
                      <a:lnTo>
                        <a:pt x="123" y="256"/>
                      </a:lnTo>
                      <a:lnTo>
                        <a:pt x="115" y="222"/>
                      </a:lnTo>
                      <a:lnTo>
                        <a:pt x="110" y="188"/>
                      </a:lnTo>
                      <a:lnTo>
                        <a:pt x="106" y="154"/>
                      </a:lnTo>
                      <a:lnTo>
                        <a:pt x="102" y="119"/>
                      </a:lnTo>
                      <a:lnTo>
                        <a:pt x="101" y="85"/>
                      </a:lnTo>
                      <a:lnTo>
                        <a:pt x="100" y="50"/>
                      </a:lnTo>
                      <a:lnTo>
                        <a:pt x="100" y="50"/>
                      </a:lnTo>
                      <a:lnTo>
                        <a:pt x="100" y="50"/>
                      </a:lnTo>
                      <a:lnTo>
                        <a:pt x="100" y="44"/>
                      </a:lnTo>
                      <a:lnTo>
                        <a:pt x="99" y="39"/>
                      </a:lnTo>
                      <a:lnTo>
                        <a:pt x="98" y="33"/>
                      </a:lnTo>
                      <a:lnTo>
                        <a:pt x="96" y="28"/>
                      </a:lnTo>
                      <a:lnTo>
                        <a:pt x="94" y="24"/>
                      </a:lnTo>
                      <a:lnTo>
                        <a:pt x="91" y="20"/>
                      </a:lnTo>
                      <a:lnTo>
                        <a:pt x="88" y="16"/>
                      </a:lnTo>
                      <a:lnTo>
                        <a:pt x="85" y="13"/>
                      </a:lnTo>
                      <a:lnTo>
                        <a:pt x="77" y="8"/>
                      </a:lnTo>
                      <a:lnTo>
                        <a:pt x="68" y="3"/>
                      </a:lnTo>
                      <a:lnTo>
                        <a:pt x="60" y="0"/>
                      </a:lnTo>
                      <a:lnTo>
                        <a:pt x="51" y="0"/>
                      </a:lnTo>
                      <a:lnTo>
                        <a:pt x="40" y="0"/>
                      </a:lnTo>
                      <a:lnTo>
                        <a:pt x="32" y="3"/>
                      </a:lnTo>
                      <a:lnTo>
                        <a:pt x="23" y="8"/>
                      </a:lnTo>
                      <a:lnTo>
                        <a:pt x="15" y="13"/>
                      </a:lnTo>
                      <a:lnTo>
                        <a:pt x="12" y="16"/>
                      </a:lnTo>
                      <a:lnTo>
                        <a:pt x="9" y="20"/>
                      </a:lnTo>
                      <a:lnTo>
                        <a:pt x="6" y="24"/>
                      </a:lnTo>
                      <a:lnTo>
                        <a:pt x="4" y="28"/>
                      </a:lnTo>
                      <a:lnTo>
                        <a:pt x="2" y="33"/>
                      </a:lnTo>
                      <a:lnTo>
                        <a:pt x="1" y="39"/>
                      </a:lnTo>
                      <a:lnTo>
                        <a:pt x="0" y="44"/>
                      </a:lnTo>
                      <a:lnTo>
                        <a:pt x="0" y="5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26" name="Freeform 121"/>
                <p:cNvSpPr>
                  <a:spLocks/>
                </p:cNvSpPr>
                <p:nvPr>
                  <p:custDataLst>
                    <p:tags r:id="rId169"/>
                  </p:custDataLst>
                </p:nvPr>
              </p:nvSpPr>
              <p:spPr bwMode="auto">
                <a:xfrm>
                  <a:off x="369" y="3515"/>
                  <a:ext cx="361" cy="114"/>
                </a:xfrm>
                <a:custGeom>
                  <a:avLst/>
                  <a:gdLst>
                    <a:gd name="T0" fmla="*/ 7823 w 8296"/>
                    <a:gd name="T1" fmla="*/ 3 h 2864"/>
                    <a:gd name="T2" fmla="*/ 6995 w 8296"/>
                    <a:gd name="T3" fmla="*/ 32 h 2864"/>
                    <a:gd name="T4" fmla="*/ 6193 w 8296"/>
                    <a:gd name="T5" fmla="*/ 88 h 2864"/>
                    <a:gd name="T6" fmla="*/ 5422 w 8296"/>
                    <a:gd name="T7" fmla="*/ 171 h 2864"/>
                    <a:gd name="T8" fmla="*/ 4686 w 8296"/>
                    <a:gd name="T9" fmla="*/ 279 h 2864"/>
                    <a:gd name="T10" fmla="*/ 3987 w 8296"/>
                    <a:gd name="T11" fmla="*/ 409 h 2864"/>
                    <a:gd name="T12" fmla="*/ 3331 w 8296"/>
                    <a:gd name="T13" fmla="*/ 561 h 2864"/>
                    <a:gd name="T14" fmla="*/ 2721 w 8296"/>
                    <a:gd name="T15" fmla="*/ 734 h 2864"/>
                    <a:gd name="T16" fmla="*/ 2436 w 8296"/>
                    <a:gd name="T17" fmla="*/ 827 h 2864"/>
                    <a:gd name="T18" fmla="*/ 2162 w 8296"/>
                    <a:gd name="T19" fmla="*/ 925 h 2864"/>
                    <a:gd name="T20" fmla="*/ 1904 w 8296"/>
                    <a:gd name="T21" fmla="*/ 1028 h 2864"/>
                    <a:gd name="T22" fmla="*/ 1658 w 8296"/>
                    <a:gd name="T23" fmla="*/ 1136 h 2864"/>
                    <a:gd name="T24" fmla="*/ 1428 w 8296"/>
                    <a:gd name="T25" fmla="*/ 1246 h 2864"/>
                    <a:gd name="T26" fmla="*/ 1212 w 8296"/>
                    <a:gd name="T27" fmla="*/ 1361 h 2864"/>
                    <a:gd name="T28" fmla="*/ 1013 w 8296"/>
                    <a:gd name="T29" fmla="*/ 1481 h 2864"/>
                    <a:gd name="T30" fmla="*/ 830 w 8296"/>
                    <a:gd name="T31" fmla="*/ 1603 h 2864"/>
                    <a:gd name="T32" fmla="*/ 663 w 8296"/>
                    <a:gd name="T33" fmla="*/ 1730 h 2864"/>
                    <a:gd name="T34" fmla="*/ 513 w 8296"/>
                    <a:gd name="T35" fmla="*/ 1860 h 2864"/>
                    <a:gd name="T36" fmla="*/ 381 w 8296"/>
                    <a:gd name="T37" fmla="*/ 1994 h 2864"/>
                    <a:gd name="T38" fmla="*/ 268 w 8296"/>
                    <a:gd name="T39" fmla="*/ 2131 h 2864"/>
                    <a:gd name="T40" fmla="*/ 174 w 8296"/>
                    <a:gd name="T41" fmla="*/ 2272 h 2864"/>
                    <a:gd name="T42" fmla="*/ 99 w 8296"/>
                    <a:gd name="T43" fmla="*/ 2416 h 2864"/>
                    <a:gd name="T44" fmla="*/ 44 w 8296"/>
                    <a:gd name="T45" fmla="*/ 2563 h 2864"/>
                    <a:gd name="T46" fmla="*/ 11 w 8296"/>
                    <a:gd name="T47" fmla="*/ 2712 h 2864"/>
                    <a:gd name="T48" fmla="*/ 0 w 8296"/>
                    <a:gd name="T49" fmla="*/ 2864 h 2864"/>
                    <a:gd name="T50" fmla="*/ 106 w 8296"/>
                    <a:gd name="T51" fmla="*/ 2762 h 2864"/>
                    <a:gd name="T52" fmla="*/ 131 w 8296"/>
                    <a:gd name="T53" fmla="*/ 2625 h 2864"/>
                    <a:gd name="T54" fmla="*/ 175 w 8296"/>
                    <a:gd name="T55" fmla="*/ 2490 h 2864"/>
                    <a:gd name="T56" fmla="*/ 240 w 8296"/>
                    <a:gd name="T57" fmla="*/ 2356 h 2864"/>
                    <a:gd name="T58" fmla="*/ 324 w 8296"/>
                    <a:gd name="T59" fmla="*/ 2224 h 2864"/>
                    <a:gd name="T60" fmla="*/ 427 w 8296"/>
                    <a:gd name="T61" fmla="*/ 2094 h 2864"/>
                    <a:gd name="T62" fmla="*/ 548 w 8296"/>
                    <a:gd name="T63" fmla="*/ 1966 h 2864"/>
                    <a:gd name="T64" fmla="*/ 688 w 8296"/>
                    <a:gd name="T65" fmla="*/ 1839 h 2864"/>
                    <a:gd name="T66" fmla="*/ 845 w 8296"/>
                    <a:gd name="T67" fmla="*/ 1716 h 2864"/>
                    <a:gd name="T68" fmla="*/ 1020 w 8296"/>
                    <a:gd name="T69" fmla="*/ 1595 h 2864"/>
                    <a:gd name="T70" fmla="*/ 1211 w 8296"/>
                    <a:gd name="T71" fmla="*/ 1478 h 2864"/>
                    <a:gd name="T72" fmla="*/ 1418 w 8296"/>
                    <a:gd name="T73" fmla="*/ 1364 h 2864"/>
                    <a:gd name="T74" fmla="*/ 1642 w 8296"/>
                    <a:gd name="T75" fmla="*/ 1254 h 2864"/>
                    <a:gd name="T76" fmla="*/ 1880 w 8296"/>
                    <a:gd name="T77" fmla="*/ 1147 h 2864"/>
                    <a:gd name="T78" fmla="*/ 2132 w 8296"/>
                    <a:gd name="T79" fmla="*/ 1044 h 2864"/>
                    <a:gd name="T80" fmla="*/ 2398 w 8296"/>
                    <a:gd name="T81" fmla="*/ 946 h 2864"/>
                    <a:gd name="T82" fmla="*/ 2679 w 8296"/>
                    <a:gd name="T83" fmla="*/ 852 h 2864"/>
                    <a:gd name="T84" fmla="*/ 3199 w 8296"/>
                    <a:gd name="T85" fmla="*/ 699 h 2864"/>
                    <a:gd name="T86" fmla="*/ 3839 w 8296"/>
                    <a:gd name="T87" fmla="*/ 542 h 2864"/>
                    <a:gd name="T88" fmla="*/ 4524 w 8296"/>
                    <a:gd name="T89" fmla="*/ 408 h 2864"/>
                    <a:gd name="T90" fmla="*/ 5248 w 8296"/>
                    <a:gd name="T91" fmla="*/ 295 h 2864"/>
                    <a:gd name="T92" fmla="*/ 6008 w 8296"/>
                    <a:gd name="T93" fmla="*/ 207 h 2864"/>
                    <a:gd name="T94" fmla="*/ 6798 w 8296"/>
                    <a:gd name="T95" fmla="*/ 144 h 2864"/>
                    <a:gd name="T96" fmla="*/ 7617 w 8296"/>
                    <a:gd name="T97" fmla="*/ 108 h 2864"/>
                    <a:gd name="T98" fmla="*/ 8246 w 8296"/>
                    <a:gd name="T99" fmla="*/ 100 h 2864"/>
                    <a:gd name="T100" fmla="*/ 8263 w 8296"/>
                    <a:gd name="T101" fmla="*/ 97 h 2864"/>
                    <a:gd name="T102" fmla="*/ 8280 w 8296"/>
                    <a:gd name="T103" fmla="*/ 88 h 2864"/>
                    <a:gd name="T104" fmla="*/ 8295 w 8296"/>
                    <a:gd name="T105" fmla="*/ 59 h 2864"/>
                    <a:gd name="T106" fmla="*/ 8289 w 8296"/>
                    <a:gd name="T107" fmla="*/ 23 h 2864"/>
                    <a:gd name="T108" fmla="*/ 8272 w 8296"/>
                    <a:gd name="T109" fmla="*/ 6 h 2864"/>
                    <a:gd name="T110" fmla="*/ 8252 w 8296"/>
                    <a:gd name="T111" fmla="*/ 0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4">
                      <a:moveTo>
                        <a:pt x="8246" y="0"/>
                      </a:moveTo>
                      <a:lnTo>
                        <a:pt x="8246" y="0"/>
                      </a:lnTo>
                      <a:lnTo>
                        <a:pt x="8034" y="0"/>
                      </a:lnTo>
                      <a:lnTo>
                        <a:pt x="7823" y="3"/>
                      </a:lnTo>
                      <a:lnTo>
                        <a:pt x="7614" y="8"/>
                      </a:lnTo>
                      <a:lnTo>
                        <a:pt x="7407" y="15"/>
                      </a:lnTo>
                      <a:lnTo>
                        <a:pt x="7200" y="23"/>
                      </a:lnTo>
                      <a:lnTo>
                        <a:pt x="6995" y="32"/>
                      </a:lnTo>
                      <a:lnTo>
                        <a:pt x="6792" y="44"/>
                      </a:lnTo>
                      <a:lnTo>
                        <a:pt x="6591" y="57"/>
                      </a:lnTo>
                      <a:lnTo>
                        <a:pt x="6391" y="72"/>
                      </a:lnTo>
                      <a:lnTo>
                        <a:pt x="6193" y="88"/>
                      </a:lnTo>
                      <a:lnTo>
                        <a:pt x="5998" y="107"/>
                      </a:lnTo>
                      <a:lnTo>
                        <a:pt x="5804" y="126"/>
                      </a:lnTo>
                      <a:lnTo>
                        <a:pt x="5612" y="148"/>
                      </a:lnTo>
                      <a:lnTo>
                        <a:pt x="5422" y="171"/>
                      </a:lnTo>
                      <a:lnTo>
                        <a:pt x="5235" y="196"/>
                      </a:lnTo>
                      <a:lnTo>
                        <a:pt x="5049" y="222"/>
                      </a:lnTo>
                      <a:lnTo>
                        <a:pt x="4866" y="250"/>
                      </a:lnTo>
                      <a:lnTo>
                        <a:pt x="4686" y="279"/>
                      </a:lnTo>
                      <a:lnTo>
                        <a:pt x="4507" y="309"/>
                      </a:lnTo>
                      <a:lnTo>
                        <a:pt x="4331" y="341"/>
                      </a:lnTo>
                      <a:lnTo>
                        <a:pt x="4158" y="374"/>
                      </a:lnTo>
                      <a:lnTo>
                        <a:pt x="3987" y="409"/>
                      </a:lnTo>
                      <a:lnTo>
                        <a:pt x="3819" y="444"/>
                      </a:lnTo>
                      <a:lnTo>
                        <a:pt x="3653" y="482"/>
                      </a:lnTo>
                      <a:lnTo>
                        <a:pt x="3491" y="521"/>
                      </a:lnTo>
                      <a:lnTo>
                        <a:pt x="3331" y="561"/>
                      </a:lnTo>
                      <a:lnTo>
                        <a:pt x="3173" y="602"/>
                      </a:lnTo>
                      <a:lnTo>
                        <a:pt x="3020" y="645"/>
                      </a:lnTo>
                      <a:lnTo>
                        <a:pt x="2869" y="688"/>
                      </a:lnTo>
                      <a:lnTo>
                        <a:pt x="2721" y="734"/>
                      </a:lnTo>
                      <a:lnTo>
                        <a:pt x="2649" y="757"/>
                      </a:lnTo>
                      <a:lnTo>
                        <a:pt x="2577" y="779"/>
                      </a:lnTo>
                      <a:lnTo>
                        <a:pt x="2506" y="803"/>
                      </a:lnTo>
                      <a:lnTo>
                        <a:pt x="2436" y="827"/>
                      </a:lnTo>
                      <a:lnTo>
                        <a:pt x="2365" y="851"/>
                      </a:lnTo>
                      <a:lnTo>
                        <a:pt x="2297" y="876"/>
                      </a:lnTo>
                      <a:lnTo>
                        <a:pt x="2229" y="901"/>
                      </a:lnTo>
                      <a:lnTo>
                        <a:pt x="2162" y="925"/>
                      </a:lnTo>
                      <a:lnTo>
                        <a:pt x="2096" y="950"/>
                      </a:lnTo>
                      <a:lnTo>
                        <a:pt x="2030" y="976"/>
                      </a:lnTo>
                      <a:lnTo>
                        <a:pt x="1967" y="1002"/>
                      </a:lnTo>
                      <a:lnTo>
                        <a:pt x="1904" y="1028"/>
                      </a:lnTo>
                      <a:lnTo>
                        <a:pt x="1841" y="1055"/>
                      </a:lnTo>
                      <a:lnTo>
                        <a:pt x="1779" y="1081"/>
                      </a:lnTo>
                      <a:lnTo>
                        <a:pt x="1718" y="1108"/>
                      </a:lnTo>
                      <a:lnTo>
                        <a:pt x="1658" y="1136"/>
                      </a:lnTo>
                      <a:lnTo>
                        <a:pt x="1600" y="1162"/>
                      </a:lnTo>
                      <a:lnTo>
                        <a:pt x="1541" y="1190"/>
                      </a:lnTo>
                      <a:lnTo>
                        <a:pt x="1484" y="1218"/>
                      </a:lnTo>
                      <a:lnTo>
                        <a:pt x="1428" y="1246"/>
                      </a:lnTo>
                      <a:lnTo>
                        <a:pt x="1373" y="1275"/>
                      </a:lnTo>
                      <a:lnTo>
                        <a:pt x="1318" y="1303"/>
                      </a:lnTo>
                      <a:lnTo>
                        <a:pt x="1265" y="1332"/>
                      </a:lnTo>
                      <a:lnTo>
                        <a:pt x="1212" y="1361"/>
                      </a:lnTo>
                      <a:lnTo>
                        <a:pt x="1162" y="1391"/>
                      </a:lnTo>
                      <a:lnTo>
                        <a:pt x="1111" y="1420"/>
                      </a:lnTo>
                      <a:lnTo>
                        <a:pt x="1062" y="1450"/>
                      </a:lnTo>
                      <a:lnTo>
                        <a:pt x="1013" y="1481"/>
                      </a:lnTo>
                      <a:lnTo>
                        <a:pt x="966" y="1511"/>
                      </a:lnTo>
                      <a:lnTo>
                        <a:pt x="919" y="1542"/>
                      </a:lnTo>
                      <a:lnTo>
                        <a:pt x="874" y="1572"/>
                      </a:lnTo>
                      <a:lnTo>
                        <a:pt x="830" y="1603"/>
                      </a:lnTo>
                      <a:lnTo>
                        <a:pt x="786" y="1635"/>
                      </a:lnTo>
                      <a:lnTo>
                        <a:pt x="744" y="1667"/>
                      </a:lnTo>
                      <a:lnTo>
                        <a:pt x="703" y="1699"/>
                      </a:lnTo>
                      <a:lnTo>
                        <a:pt x="663" y="1730"/>
                      </a:lnTo>
                      <a:lnTo>
                        <a:pt x="624" y="1763"/>
                      </a:lnTo>
                      <a:lnTo>
                        <a:pt x="586" y="1795"/>
                      </a:lnTo>
                      <a:lnTo>
                        <a:pt x="549" y="1828"/>
                      </a:lnTo>
                      <a:lnTo>
                        <a:pt x="513" y="1860"/>
                      </a:lnTo>
                      <a:lnTo>
                        <a:pt x="479" y="1893"/>
                      </a:lnTo>
                      <a:lnTo>
                        <a:pt x="445" y="1926"/>
                      </a:lnTo>
                      <a:lnTo>
                        <a:pt x="413" y="1960"/>
                      </a:lnTo>
                      <a:lnTo>
                        <a:pt x="381" y="1994"/>
                      </a:lnTo>
                      <a:lnTo>
                        <a:pt x="351" y="2028"/>
                      </a:lnTo>
                      <a:lnTo>
                        <a:pt x="323" y="2062"/>
                      </a:lnTo>
                      <a:lnTo>
                        <a:pt x="295" y="2097"/>
                      </a:lnTo>
                      <a:lnTo>
                        <a:pt x="268" y="2131"/>
                      </a:lnTo>
                      <a:lnTo>
                        <a:pt x="243" y="2166"/>
                      </a:lnTo>
                      <a:lnTo>
                        <a:pt x="219" y="2201"/>
                      </a:lnTo>
                      <a:lnTo>
                        <a:pt x="196" y="2236"/>
                      </a:lnTo>
                      <a:lnTo>
                        <a:pt x="174" y="2272"/>
                      </a:lnTo>
                      <a:lnTo>
                        <a:pt x="154" y="2307"/>
                      </a:lnTo>
                      <a:lnTo>
                        <a:pt x="134" y="2343"/>
                      </a:lnTo>
                      <a:lnTo>
                        <a:pt x="115" y="2380"/>
                      </a:lnTo>
                      <a:lnTo>
                        <a:pt x="99" y="2416"/>
                      </a:lnTo>
                      <a:lnTo>
                        <a:pt x="83" y="2452"/>
                      </a:lnTo>
                      <a:lnTo>
                        <a:pt x="69" y="2488"/>
                      </a:lnTo>
                      <a:lnTo>
                        <a:pt x="56" y="2526"/>
                      </a:lnTo>
                      <a:lnTo>
                        <a:pt x="44" y="2563"/>
                      </a:lnTo>
                      <a:lnTo>
                        <a:pt x="34" y="2600"/>
                      </a:lnTo>
                      <a:lnTo>
                        <a:pt x="25" y="2637"/>
                      </a:lnTo>
                      <a:lnTo>
                        <a:pt x="18" y="2675"/>
                      </a:lnTo>
                      <a:lnTo>
                        <a:pt x="11" y="2712"/>
                      </a:lnTo>
                      <a:lnTo>
                        <a:pt x="6" y="2750"/>
                      </a:lnTo>
                      <a:lnTo>
                        <a:pt x="3" y="2788"/>
                      </a:lnTo>
                      <a:lnTo>
                        <a:pt x="1" y="2826"/>
                      </a:lnTo>
                      <a:lnTo>
                        <a:pt x="0" y="2864"/>
                      </a:lnTo>
                      <a:lnTo>
                        <a:pt x="100" y="2864"/>
                      </a:lnTo>
                      <a:lnTo>
                        <a:pt x="101" y="2830"/>
                      </a:lnTo>
                      <a:lnTo>
                        <a:pt x="102" y="2796"/>
                      </a:lnTo>
                      <a:lnTo>
                        <a:pt x="106" y="2762"/>
                      </a:lnTo>
                      <a:lnTo>
                        <a:pt x="110" y="2726"/>
                      </a:lnTo>
                      <a:lnTo>
                        <a:pt x="115" y="2693"/>
                      </a:lnTo>
                      <a:lnTo>
                        <a:pt x="123" y="2659"/>
                      </a:lnTo>
                      <a:lnTo>
                        <a:pt x="131" y="2625"/>
                      </a:lnTo>
                      <a:lnTo>
                        <a:pt x="140" y="2591"/>
                      </a:lnTo>
                      <a:lnTo>
                        <a:pt x="150" y="2558"/>
                      </a:lnTo>
                      <a:lnTo>
                        <a:pt x="163" y="2524"/>
                      </a:lnTo>
                      <a:lnTo>
                        <a:pt x="175" y="2490"/>
                      </a:lnTo>
                      <a:lnTo>
                        <a:pt x="190" y="2456"/>
                      </a:lnTo>
                      <a:lnTo>
                        <a:pt x="205" y="2423"/>
                      </a:lnTo>
                      <a:lnTo>
                        <a:pt x="223" y="2390"/>
                      </a:lnTo>
                      <a:lnTo>
                        <a:pt x="240" y="2356"/>
                      </a:lnTo>
                      <a:lnTo>
                        <a:pt x="260" y="2323"/>
                      </a:lnTo>
                      <a:lnTo>
                        <a:pt x="279" y="2290"/>
                      </a:lnTo>
                      <a:lnTo>
                        <a:pt x="301" y="2258"/>
                      </a:lnTo>
                      <a:lnTo>
                        <a:pt x="324" y="2224"/>
                      </a:lnTo>
                      <a:lnTo>
                        <a:pt x="348" y="2191"/>
                      </a:lnTo>
                      <a:lnTo>
                        <a:pt x="373" y="2159"/>
                      </a:lnTo>
                      <a:lnTo>
                        <a:pt x="400" y="2126"/>
                      </a:lnTo>
                      <a:lnTo>
                        <a:pt x="427" y="2094"/>
                      </a:lnTo>
                      <a:lnTo>
                        <a:pt x="456" y="2062"/>
                      </a:lnTo>
                      <a:lnTo>
                        <a:pt x="485" y="2030"/>
                      </a:lnTo>
                      <a:lnTo>
                        <a:pt x="516" y="1998"/>
                      </a:lnTo>
                      <a:lnTo>
                        <a:pt x="548" y="1966"/>
                      </a:lnTo>
                      <a:lnTo>
                        <a:pt x="581" y="1934"/>
                      </a:lnTo>
                      <a:lnTo>
                        <a:pt x="616" y="1902"/>
                      </a:lnTo>
                      <a:lnTo>
                        <a:pt x="651" y="1870"/>
                      </a:lnTo>
                      <a:lnTo>
                        <a:pt x="688" y="1839"/>
                      </a:lnTo>
                      <a:lnTo>
                        <a:pt x="726" y="1808"/>
                      </a:lnTo>
                      <a:lnTo>
                        <a:pt x="765" y="1777"/>
                      </a:lnTo>
                      <a:lnTo>
                        <a:pt x="804" y="1746"/>
                      </a:lnTo>
                      <a:lnTo>
                        <a:pt x="845" y="1716"/>
                      </a:lnTo>
                      <a:lnTo>
                        <a:pt x="887" y="1685"/>
                      </a:lnTo>
                      <a:lnTo>
                        <a:pt x="931" y="1655"/>
                      </a:lnTo>
                      <a:lnTo>
                        <a:pt x="975" y="1625"/>
                      </a:lnTo>
                      <a:lnTo>
                        <a:pt x="1020" y="1595"/>
                      </a:lnTo>
                      <a:lnTo>
                        <a:pt x="1066" y="1565"/>
                      </a:lnTo>
                      <a:lnTo>
                        <a:pt x="1113" y="1536"/>
                      </a:lnTo>
                      <a:lnTo>
                        <a:pt x="1162" y="1507"/>
                      </a:lnTo>
                      <a:lnTo>
                        <a:pt x="1211" y="1478"/>
                      </a:lnTo>
                      <a:lnTo>
                        <a:pt x="1262" y="1449"/>
                      </a:lnTo>
                      <a:lnTo>
                        <a:pt x="1313" y="1420"/>
                      </a:lnTo>
                      <a:lnTo>
                        <a:pt x="1366" y="1392"/>
                      </a:lnTo>
                      <a:lnTo>
                        <a:pt x="1418" y="1364"/>
                      </a:lnTo>
                      <a:lnTo>
                        <a:pt x="1473" y="1336"/>
                      </a:lnTo>
                      <a:lnTo>
                        <a:pt x="1529" y="1308"/>
                      </a:lnTo>
                      <a:lnTo>
                        <a:pt x="1584" y="1280"/>
                      </a:lnTo>
                      <a:lnTo>
                        <a:pt x="1642" y="1254"/>
                      </a:lnTo>
                      <a:lnTo>
                        <a:pt x="1700" y="1227"/>
                      </a:lnTo>
                      <a:lnTo>
                        <a:pt x="1758" y="1200"/>
                      </a:lnTo>
                      <a:lnTo>
                        <a:pt x="1819" y="1173"/>
                      </a:lnTo>
                      <a:lnTo>
                        <a:pt x="1880" y="1147"/>
                      </a:lnTo>
                      <a:lnTo>
                        <a:pt x="1941" y="1121"/>
                      </a:lnTo>
                      <a:lnTo>
                        <a:pt x="2004" y="1095"/>
                      </a:lnTo>
                      <a:lnTo>
                        <a:pt x="2068" y="1069"/>
                      </a:lnTo>
                      <a:lnTo>
                        <a:pt x="2132" y="1044"/>
                      </a:lnTo>
                      <a:lnTo>
                        <a:pt x="2197" y="1020"/>
                      </a:lnTo>
                      <a:lnTo>
                        <a:pt x="2263" y="995"/>
                      </a:lnTo>
                      <a:lnTo>
                        <a:pt x="2330" y="970"/>
                      </a:lnTo>
                      <a:lnTo>
                        <a:pt x="2398" y="946"/>
                      </a:lnTo>
                      <a:lnTo>
                        <a:pt x="2467" y="922"/>
                      </a:lnTo>
                      <a:lnTo>
                        <a:pt x="2538" y="899"/>
                      </a:lnTo>
                      <a:lnTo>
                        <a:pt x="2608" y="875"/>
                      </a:lnTo>
                      <a:lnTo>
                        <a:pt x="2679" y="852"/>
                      </a:lnTo>
                      <a:lnTo>
                        <a:pt x="2751" y="829"/>
                      </a:lnTo>
                      <a:lnTo>
                        <a:pt x="2897" y="785"/>
                      </a:lnTo>
                      <a:lnTo>
                        <a:pt x="3047" y="741"/>
                      </a:lnTo>
                      <a:lnTo>
                        <a:pt x="3199" y="699"/>
                      </a:lnTo>
                      <a:lnTo>
                        <a:pt x="3355" y="658"/>
                      </a:lnTo>
                      <a:lnTo>
                        <a:pt x="3514" y="618"/>
                      </a:lnTo>
                      <a:lnTo>
                        <a:pt x="3675" y="580"/>
                      </a:lnTo>
                      <a:lnTo>
                        <a:pt x="3839" y="542"/>
                      </a:lnTo>
                      <a:lnTo>
                        <a:pt x="4007" y="506"/>
                      </a:lnTo>
                      <a:lnTo>
                        <a:pt x="4176" y="472"/>
                      </a:lnTo>
                      <a:lnTo>
                        <a:pt x="4350" y="439"/>
                      </a:lnTo>
                      <a:lnTo>
                        <a:pt x="4524" y="408"/>
                      </a:lnTo>
                      <a:lnTo>
                        <a:pt x="4702" y="377"/>
                      </a:lnTo>
                      <a:lnTo>
                        <a:pt x="4881" y="348"/>
                      </a:lnTo>
                      <a:lnTo>
                        <a:pt x="5064" y="321"/>
                      </a:lnTo>
                      <a:lnTo>
                        <a:pt x="5248" y="295"/>
                      </a:lnTo>
                      <a:lnTo>
                        <a:pt x="5435" y="270"/>
                      </a:lnTo>
                      <a:lnTo>
                        <a:pt x="5623" y="247"/>
                      </a:lnTo>
                      <a:lnTo>
                        <a:pt x="5814" y="227"/>
                      </a:lnTo>
                      <a:lnTo>
                        <a:pt x="6008" y="207"/>
                      </a:lnTo>
                      <a:lnTo>
                        <a:pt x="6203" y="188"/>
                      </a:lnTo>
                      <a:lnTo>
                        <a:pt x="6400" y="172"/>
                      </a:lnTo>
                      <a:lnTo>
                        <a:pt x="6597" y="157"/>
                      </a:lnTo>
                      <a:lnTo>
                        <a:pt x="6798" y="144"/>
                      </a:lnTo>
                      <a:lnTo>
                        <a:pt x="7000" y="133"/>
                      </a:lnTo>
                      <a:lnTo>
                        <a:pt x="7205" y="122"/>
                      </a:lnTo>
                      <a:lnTo>
                        <a:pt x="7410" y="115"/>
                      </a:lnTo>
                      <a:lnTo>
                        <a:pt x="7617" y="108"/>
                      </a:lnTo>
                      <a:lnTo>
                        <a:pt x="7825" y="104"/>
                      </a:lnTo>
                      <a:lnTo>
                        <a:pt x="8034" y="102"/>
                      </a:lnTo>
                      <a:lnTo>
                        <a:pt x="8246" y="100"/>
                      </a:lnTo>
                      <a:lnTo>
                        <a:pt x="8246" y="100"/>
                      </a:lnTo>
                      <a:lnTo>
                        <a:pt x="8246" y="100"/>
                      </a:lnTo>
                      <a:lnTo>
                        <a:pt x="8252" y="99"/>
                      </a:lnTo>
                      <a:lnTo>
                        <a:pt x="8257" y="99"/>
                      </a:lnTo>
                      <a:lnTo>
                        <a:pt x="8263" y="97"/>
                      </a:lnTo>
                      <a:lnTo>
                        <a:pt x="8267" y="96"/>
                      </a:lnTo>
                      <a:lnTo>
                        <a:pt x="8272" y="93"/>
                      </a:lnTo>
                      <a:lnTo>
                        <a:pt x="8276" y="91"/>
                      </a:lnTo>
                      <a:lnTo>
                        <a:pt x="8280" y="88"/>
                      </a:lnTo>
                      <a:lnTo>
                        <a:pt x="8284" y="84"/>
                      </a:lnTo>
                      <a:lnTo>
                        <a:pt x="8289" y="77"/>
                      </a:lnTo>
                      <a:lnTo>
                        <a:pt x="8293" y="68"/>
                      </a:lnTo>
                      <a:lnTo>
                        <a:pt x="8295" y="59"/>
                      </a:lnTo>
                      <a:lnTo>
                        <a:pt x="8296" y="50"/>
                      </a:lnTo>
                      <a:lnTo>
                        <a:pt x="8295" y="40"/>
                      </a:lnTo>
                      <a:lnTo>
                        <a:pt x="8293" y="31"/>
                      </a:lnTo>
                      <a:lnTo>
                        <a:pt x="8289" y="23"/>
                      </a:lnTo>
                      <a:lnTo>
                        <a:pt x="8284" y="16"/>
                      </a:lnTo>
                      <a:lnTo>
                        <a:pt x="8280" y="13"/>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27" name="Freeform 122"/>
                <p:cNvSpPr>
                  <a:spLocks/>
                </p:cNvSpPr>
                <p:nvPr>
                  <p:custDataLst>
                    <p:tags r:id="rId170"/>
                  </p:custDataLst>
                </p:nvPr>
              </p:nvSpPr>
              <p:spPr bwMode="auto">
                <a:xfrm>
                  <a:off x="728" y="3515"/>
                  <a:ext cx="358" cy="114"/>
                </a:xfrm>
                <a:custGeom>
                  <a:avLst/>
                  <a:gdLst>
                    <a:gd name="T0" fmla="*/ 8239 w 8245"/>
                    <a:gd name="T1" fmla="*/ 2750 h 2864"/>
                    <a:gd name="T2" fmla="*/ 8211 w 8245"/>
                    <a:gd name="T3" fmla="*/ 2600 h 2864"/>
                    <a:gd name="T4" fmla="*/ 8162 w 8245"/>
                    <a:gd name="T5" fmla="*/ 2452 h 2864"/>
                    <a:gd name="T6" fmla="*/ 8091 w 8245"/>
                    <a:gd name="T7" fmla="*/ 2307 h 2864"/>
                    <a:gd name="T8" fmla="*/ 8002 w 8245"/>
                    <a:gd name="T9" fmla="*/ 2166 h 2864"/>
                    <a:gd name="T10" fmla="*/ 7894 w 8245"/>
                    <a:gd name="T11" fmla="*/ 2028 h 2864"/>
                    <a:gd name="T12" fmla="*/ 7766 w 8245"/>
                    <a:gd name="T13" fmla="*/ 1893 h 2864"/>
                    <a:gd name="T14" fmla="*/ 7620 w 8245"/>
                    <a:gd name="T15" fmla="*/ 1763 h 2864"/>
                    <a:gd name="T16" fmla="*/ 7459 w 8245"/>
                    <a:gd name="T17" fmla="*/ 1635 h 2864"/>
                    <a:gd name="T18" fmla="*/ 7279 w 8245"/>
                    <a:gd name="T19" fmla="*/ 1511 h 2864"/>
                    <a:gd name="T20" fmla="*/ 7083 w 8245"/>
                    <a:gd name="T21" fmla="*/ 1391 h 2864"/>
                    <a:gd name="T22" fmla="*/ 6872 w 8245"/>
                    <a:gd name="T23" fmla="*/ 1275 h 2864"/>
                    <a:gd name="T24" fmla="*/ 6645 w 8245"/>
                    <a:gd name="T25" fmla="*/ 1162 h 2864"/>
                    <a:gd name="T26" fmla="*/ 6404 w 8245"/>
                    <a:gd name="T27" fmla="*/ 1055 h 2864"/>
                    <a:gd name="T28" fmla="*/ 6149 w 8245"/>
                    <a:gd name="T29" fmla="*/ 950 h 2864"/>
                    <a:gd name="T30" fmla="*/ 5880 w 8245"/>
                    <a:gd name="T31" fmla="*/ 851 h 2864"/>
                    <a:gd name="T32" fmla="*/ 5596 w 8245"/>
                    <a:gd name="T33" fmla="*/ 757 h 2864"/>
                    <a:gd name="T34" fmla="*/ 5072 w 8245"/>
                    <a:gd name="T35" fmla="*/ 602 h 2864"/>
                    <a:gd name="T36" fmla="*/ 4426 w 8245"/>
                    <a:gd name="T37" fmla="*/ 444 h 2864"/>
                    <a:gd name="T38" fmla="*/ 3738 w 8245"/>
                    <a:gd name="T39" fmla="*/ 309 h 2864"/>
                    <a:gd name="T40" fmla="*/ 3010 w 8245"/>
                    <a:gd name="T41" fmla="*/ 196 h 2864"/>
                    <a:gd name="T42" fmla="*/ 2246 w 8245"/>
                    <a:gd name="T43" fmla="*/ 107 h 2864"/>
                    <a:gd name="T44" fmla="*/ 1453 w 8245"/>
                    <a:gd name="T45" fmla="*/ 44 h 2864"/>
                    <a:gd name="T46" fmla="*/ 631 w 8245"/>
                    <a:gd name="T47" fmla="*/ 8 h 2864"/>
                    <a:gd name="T48" fmla="*/ 0 w 8245"/>
                    <a:gd name="T49" fmla="*/ 100 h 2864"/>
                    <a:gd name="T50" fmla="*/ 835 w 8245"/>
                    <a:gd name="T51" fmla="*/ 115 h 2864"/>
                    <a:gd name="T52" fmla="*/ 1648 w 8245"/>
                    <a:gd name="T53" fmla="*/ 157 h 2864"/>
                    <a:gd name="T54" fmla="*/ 2431 w 8245"/>
                    <a:gd name="T55" fmla="*/ 227 h 2864"/>
                    <a:gd name="T56" fmla="*/ 3181 w 8245"/>
                    <a:gd name="T57" fmla="*/ 321 h 2864"/>
                    <a:gd name="T58" fmla="*/ 3895 w 8245"/>
                    <a:gd name="T59" fmla="*/ 439 h 2864"/>
                    <a:gd name="T60" fmla="*/ 4570 w 8245"/>
                    <a:gd name="T61" fmla="*/ 580 h 2864"/>
                    <a:gd name="T62" fmla="*/ 5198 w 8245"/>
                    <a:gd name="T63" fmla="*/ 741 h 2864"/>
                    <a:gd name="T64" fmla="*/ 5637 w 8245"/>
                    <a:gd name="T65" fmla="*/ 875 h 2864"/>
                    <a:gd name="T66" fmla="*/ 5915 w 8245"/>
                    <a:gd name="T67" fmla="*/ 970 h 2864"/>
                    <a:gd name="T68" fmla="*/ 6177 w 8245"/>
                    <a:gd name="T69" fmla="*/ 1069 h 2864"/>
                    <a:gd name="T70" fmla="*/ 6426 w 8245"/>
                    <a:gd name="T71" fmla="*/ 1173 h 2864"/>
                    <a:gd name="T72" fmla="*/ 6661 w 8245"/>
                    <a:gd name="T73" fmla="*/ 1280 h 2864"/>
                    <a:gd name="T74" fmla="*/ 6879 w 8245"/>
                    <a:gd name="T75" fmla="*/ 1392 h 2864"/>
                    <a:gd name="T76" fmla="*/ 7083 w 8245"/>
                    <a:gd name="T77" fmla="*/ 1507 h 2864"/>
                    <a:gd name="T78" fmla="*/ 7270 w 8245"/>
                    <a:gd name="T79" fmla="*/ 1625 h 2864"/>
                    <a:gd name="T80" fmla="*/ 7440 w 8245"/>
                    <a:gd name="T81" fmla="*/ 1746 h 2864"/>
                    <a:gd name="T82" fmla="*/ 7594 w 8245"/>
                    <a:gd name="T83" fmla="*/ 1870 h 2864"/>
                    <a:gd name="T84" fmla="*/ 7729 w 8245"/>
                    <a:gd name="T85" fmla="*/ 1998 h 2864"/>
                    <a:gd name="T86" fmla="*/ 7845 w 8245"/>
                    <a:gd name="T87" fmla="*/ 2126 h 2864"/>
                    <a:gd name="T88" fmla="*/ 7943 w 8245"/>
                    <a:gd name="T89" fmla="*/ 2258 h 2864"/>
                    <a:gd name="T90" fmla="*/ 8022 w 8245"/>
                    <a:gd name="T91" fmla="*/ 2390 h 2864"/>
                    <a:gd name="T92" fmla="*/ 8082 w 8245"/>
                    <a:gd name="T93" fmla="*/ 2524 h 2864"/>
                    <a:gd name="T94" fmla="*/ 8122 w 8245"/>
                    <a:gd name="T95" fmla="*/ 2659 h 2864"/>
                    <a:gd name="T96" fmla="*/ 8142 w 8245"/>
                    <a:gd name="T97" fmla="*/ 2796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4">
                      <a:moveTo>
                        <a:pt x="8245" y="2864"/>
                      </a:moveTo>
                      <a:lnTo>
                        <a:pt x="8244" y="2826"/>
                      </a:lnTo>
                      <a:lnTo>
                        <a:pt x="8242" y="2788"/>
                      </a:lnTo>
                      <a:lnTo>
                        <a:pt x="8239" y="2750"/>
                      </a:lnTo>
                      <a:lnTo>
                        <a:pt x="8234" y="2712"/>
                      </a:lnTo>
                      <a:lnTo>
                        <a:pt x="8227" y="2675"/>
                      </a:lnTo>
                      <a:lnTo>
                        <a:pt x="8219" y="2637"/>
                      </a:lnTo>
                      <a:lnTo>
                        <a:pt x="8211" y="2600"/>
                      </a:lnTo>
                      <a:lnTo>
                        <a:pt x="8201" y="2563"/>
                      </a:lnTo>
                      <a:lnTo>
                        <a:pt x="8188" y="2526"/>
                      </a:lnTo>
                      <a:lnTo>
                        <a:pt x="8176" y="2488"/>
                      </a:lnTo>
                      <a:lnTo>
                        <a:pt x="8162" y="2452"/>
                      </a:lnTo>
                      <a:lnTo>
                        <a:pt x="8146" y="2416"/>
                      </a:lnTo>
                      <a:lnTo>
                        <a:pt x="8130" y="2380"/>
                      </a:lnTo>
                      <a:lnTo>
                        <a:pt x="8111" y="2343"/>
                      </a:lnTo>
                      <a:lnTo>
                        <a:pt x="8091" y="2307"/>
                      </a:lnTo>
                      <a:lnTo>
                        <a:pt x="8071" y="2272"/>
                      </a:lnTo>
                      <a:lnTo>
                        <a:pt x="8049" y="2236"/>
                      </a:lnTo>
                      <a:lnTo>
                        <a:pt x="8026" y="2201"/>
                      </a:lnTo>
                      <a:lnTo>
                        <a:pt x="8002" y="2166"/>
                      </a:lnTo>
                      <a:lnTo>
                        <a:pt x="7977" y="2131"/>
                      </a:lnTo>
                      <a:lnTo>
                        <a:pt x="7950" y="2096"/>
                      </a:lnTo>
                      <a:lnTo>
                        <a:pt x="7922" y="2062"/>
                      </a:lnTo>
                      <a:lnTo>
                        <a:pt x="7894" y="2028"/>
                      </a:lnTo>
                      <a:lnTo>
                        <a:pt x="7864" y="1994"/>
                      </a:lnTo>
                      <a:lnTo>
                        <a:pt x="7832" y="1960"/>
                      </a:lnTo>
                      <a:lnTo>
                        <a:pt x="7800" y="1926"/>
                      </a:lnTo>
                      <a:lnTo>
                        <a:pt x="7766" y="1893"/>
                      </a:lnTo>
                      <a:lnTo>
                        <a:pt x="7732" y="1860"/>
                      </a:lnTo>
                      <a:lnTo>
                        <a:pt x="7696" y="1828"/>
                      </a:lnTo>
                      <a:lnTo>
                        <a:pt x="7659" y="1795"/>
                      </a:lnTo>
                      <a:lnTo>
                        <a:pt x="7620" y="1763"/>
                      </a:lnTo>
                      <a:lnTo>
                        <a:pt x="7582" y="1730"/>
                      </a:lnTo>
                      <a:lnTo>
                        <a:pt x="7542" y="1699"/>
                      </a:lnTo>
                      <a:lnTo>
                        <a:pt x="7501" y="1667"/>
                      </a:lnTo>
                      <a:lnTo>
                        <a:pt x="7459" y="1635"/>
                      </a:lnTo>
                      <a:lnTo>
                        <a:pt x="7415" y="1603"/>
                      </a:lnTo>
                      <a:lnTo>
                        <a:pt x="7371" y="1572"/>
                      </a:lnTo>
                      <a:lnTo>
                        <a:pt x="7326" y="1542"/>
                      </a:lnTo>
                      <a:lnTo>
                        <a:pt x="7279" y="1511"/>
                      </a:lnTo>
                      <a:lnTo>
                        <a:pt x="7232" y="1481"/>
                      </a:lnTo>
                      <a:lnTo>
                        <a:pt x="7183" y="1450"/>
                      </a:lnTo>
                      <a:lnTo>
                        <a:pt x="7134" y="1420"/>
                      </a:lnTo>
                      <a:lnTo>
                        <a:pt x="7083" y="1391"/>
                      </a:lnTo>
                      <a:lnTo>
                        <a:pt x="7032" y="1361"/>
                      </a:lnTo>
                      <a:lnTo>
                        <a:pt x="6980" y="1332"/>
                      </a:lnTo>
                      <a:lnTo>
                        <a:pt x="6927" y="1303"/>
                      </a:lnTo>
                      <a:lnTo>
                        <a:pt x="6872" y="1275"/>
                      </a:lnTo>
                      <a:lnTo>
                        <a:pt x="6817" y="1246"/>
                      </a:lnTo>
                      <a:lnTo>
                        <a:pt x="6761" y="1218"/>
                      </a:lnTo>
                      <a:lnTo>
                        <a:pt x="6704" y="1190"/>
                      </a:lnTo>
                      <a:lnTo>
                        <a:pt x="6645" y="1162"/>
                      </a:lnTo>
                      <a:lnTo>
                        <a:pt x="6587" y="1136"/>
                      </a:lnTo>
                      <a:lnTo>
                        <a:pt x="6527" y="1108"/>
                      </a:lnTo>
                      <a:lnTo>
                        <a:pt x="6466" y="1081"/>
                      </a:lnTo>
                      <a:lnTo>
                        <a:pt x="6404" y="1055"/>
                      </a:lnTo>
                      <a:lnTo>
                        <a:pt x="6341" y="1028"/>
                      </a:lnTo>
                      <a:lnTo>
                        <a:pt x="6278" y="1002"/>
                      </a:lnTo>
                      <a:lnTo>
                        <a:pt x="6214" y="976"/>
                      </a:lnTo>
                      <a:lnTo>
                        <a:pt x="6149" y="950"/>
                      </a:lnTo>
                      <a:lnTo>
                        <a:pt x="6083" y="925"/>
                      </a:lnTo>
                      <a:lnTo>
                        <a:pt x="6016" y="901"/>
                      </a:lnTo>
                      <a:lnTo>
                        <a:pt x="5948" y="876"/>
                      </a:lnTo>
                      <a:lnTo>
                        <a:pt x="5880" y="851"/>
                      </a:lnTo>
                      <a:lnTo>
                        <a:pt x="5809" y="827"/>
                      </a:lnTo>
                      <a:lnTo>
                        <a:pt x="5739" y="803"/>
                      </a:lnTo>
                      <a:lnTo>
                        <a:pt x="5668" y="779"/>
                      </a:lnTo>
                      <a:lnTo>
                        <a:pt x="5596" y="757"/>
                      </a:lnTo>
                      <a:lnTo>
                        <a:pt x="5524" y="734"/>
                      </a:lnTo>
                      <a:lnTo>
                        <a:pt x="5376" y="688"/>
                      </a:lnTo>
                      <a:lnTo>
                        <a:pt x="5225" y="645"/>
                      </a:lnTo>
                      <a:lnTo>
                        <a:pt x="5072" y="602"/>
                      </a:lnTo>
                      <a:lnTo>
                        <a:pt x="4914" y="561"/>
                      </a:lnTo>
                      <a:lnTo>
                        <a:pt x="4754" y="521"/>
                      </a:lnTo>
                      <a:lnTo>
                        <a:pt x="4592" y="482"/>
                      </a:lnTo>
                      <a:lnTo>
                        <a:pt x="4426" y="444"/>
                      </a:lnTo>
                      <a:lnTo>
                        <a:pt x="4258" y="409"/>
                      </a:lnTo>
                      <a:lnTo>
                        <a:pt x="4087" y="374"/>
                      </a:lnTo>
                      <a:lnTo>
                        <a:pt x="3914" y="341"/>
                      </a:lnTo>
                      <a:lnTo>
                        <a:pt x="3738" y="309"/>
                      </a:lnTo>
                      <a:lnTo>
                        <a:pt x="3559" y="279"/>
                      </a:lnTo>
                      <a:lnTo>
                        <a:pt x="3379" y="250"/>
                      </a:lnTo>
                      <a:lnTo>
                        <a:pt x="3196" y="222"/>
                      </a:lnTo>
                      <a:lnTo>
                        <a:pt x="3010" y="196"/>
                      </a:lnTo>
                      <a:lnTo>
                        <a:pt x="2823" y="171"/>
                      </a:lnTo>
                      <a:lnTo>
                        <a:pt x="2633" y="148"/>
                      </a:lnTo>
                      <a:lnTo>
                        <a:pt x="2441" y="126"/>
                      </a:lnTo>
                      <a:lnTo>
                        <a:pt x="2246" y="107"/>
                      </a:lnTo>
                      <a:lnTo>
                        <a:pt x="2052" y="88"/>
                      </a:lnTo>
                      <a:lnTo>
                        <a:pt x="1854" y="72"/>
                      </a:lnTo>
                      <a:lnTo>
                        <a:pt x="1654" y="57"/>
                      </a:lnTo>
                      <a:lnTo>
                        <a:pt x="1453" y="44"/>
                      </a:lnTo>
                      <a:lnTo>
                        <a:pt x="1250" y="32"/>
                      </a:lnTo>
                      <a:lnTo>
                        <a:pt x="1045" y="23"/>
                      </a:lnTo>
                      <a:lnTo>
                        <a:pt x="838" y="15"/>
                      </a:lnTo>
                      <a:lnTo>
                        <a:pt x="631" y="8"/>
                      </a:lnTo>
                      <a:lnTo>
                        <a:pt x="422" y="3"/>
                      </a:lnTo>
                      <a:lnTo>
                        <a:pt x="212" y="0"/>
                      </a:lnTo>
                      <a:lnTo>
                        <a:pt x="0" y="0"/>
                      </a:lnTo>
                      <a:lnTo>
                        <a:pt x="0" y="100"/>
                      </a:lnTo>
                      <a:lnTo>
                        <a:pt x="211" y="102"/>
                      </a:lnTo>
                      <a:lnTo>
                        <a:pt x="420" y="104"/>
                      </a:lnTo>
                      <a:lnTo>
                        <a:pt x="628" y="108"/>
                      </a:lnTo>
                      <a:lnTo>
                        <a:pt x="835" y="115"/>
                      </a:lnTo>
                      <a:lnTo>
                        <a:pt x="1040" y="122"/>
                      </a:lnTo>
                      <a:lnTo>
                        <a:pt x="1245" y="133"/>
                      </a:lnTo>
                      <a:lnTo>
                        <a:pt x="1447" y="144"/>
                      </a:lnTo>
                      <a:lnTo>
                        <a:pt x="1648" y="157"/>
                      </a:lnTo>
                      <a:lnTo>
                        <a:pt x="1845" y="172"/>
                      </a:lnTo>
                      <a:lnTo>
                        <a:pt x="2042" y="188"/>
                      </a:lnTo>
                      <a:lnTo>
                        <a:pt x="2237" y="207"/>
                      </a:lnTo>
                      <a:lnTo>
                        <a:pt x="2431" y="227"/>
                      </a:lnTo>
                      <a:lnTo>
                        <a:pt x="2622" y="247"/>
                      </a:lnTo>
                      <a:lnTo>
                        <a:pt x="2810" y="270"/>
                      </a:lnTo>
                      <a:lnTo>
                        <a:pt x="2997" y="295"/>
                      </a:lnTo>
                      <a:lnTo>
                        <a:pt x="3181" y="321"/>
                      </a:lnTo>
                      <a:lnTo>
                        <a:pt x="3364" y="348"/>
                      </a:lnTo>
                      <a:lnTo>
                        <a:pt x="3543" y="377"/>
                      </a:lnTo>
                      <a:lnTo>
                        <a:pt x="3721" y="408"/>
                      </a:lnTo>
                      <a:lnTo>
                        <a:pt x="3895" y="439"/>
                      </a:lnTo>
                      <a:lnTo>
                        <a:pt x="4069" y="472"/>
                      </a:lnTo>
                      <a:lnTo>
                        <a:pt x="4238" y="506"/>
                      </a:lnTo>
                      <a:lnTo>
                        <a:pt x="4405" y="542"/>
                      </a:lnTo>
                      <a:lnTo>
                        <a:pt x="4570" y="580"/>
                      </a:lnTo>
                      <a:lnTo>
                        <a:pt x="4731" y="618"/>
                      </a:lnTo>
                      <a:lnTo>
                        <a:pt x="4890" y="658"/>
                      </a:lnTo>
                      <a:lnTo>
                        <a:pt x="5046" y="699"/>
                      </a:lnTo>
                      <a:lnTo>
                        <a:pt x="5198" y="741"/>
                      </a:lnTo>
                      <a:lnTo>
                        <a:pt x="5348" y="785"/>
                      </a:lnTo>
                      <a:lnTo>
                        <a:pt x="5494" y="829"/>
                      </a:lnTo>
                      <a:lnTo>
                        <a:pt x="5566" y="852"/>
                      </a:lnTo>
                      <a:lnTo>
                        <a:pt x="5637" y="875"/>
                      </a:lnTo>
                      <a:lnTo>
                        <a:pt x="5707" y="899"/>
                      </a:lnTo>
                      <a:lnTo>
                        <a:pt x="5778" y="922"/>
                      </a:lnTo>
                      <a:lnTo>
                        <a:pt x="5847" y="946"/>
                      </a:lnTo>
                      <a:lnTo>
                        <a:pt x="5915" y="970"/>
                      </a:lnTo>
                      <a:lnTo>
                        <a:pt x="5982" y="995"/>
                      </a:lnTo>
                      <a:lnTo>
                        <a:pt x="6048" y="1020"/>
                      </a:lnTo>
                      <a:lnTo>
                        <a:pt x="6113" y="1044"/>
                      </a:lnTo>
                      <a:lnTo>
                        <a:pt x="6177" y="1069"/>
                      </a:lnTo>
                      <a:lnTo>
                        <a:pt x="6241" y="1095"/>
                      </a:lnTo>
                      <a:lnTo>
                        <a:pt x="6304" y="1121"/>
                      </a:lnTo>
                      <a:lnTo>
                        <a:pt x="6365" y="1147"/>
                      </a:lnTo>
                      <a:lnTo>
                        <a:pt x="6426" y="1173"/>
                      </a:lnTo>
                      <a:lnTo>
                        <a:pt x="6487" y="1200"/>
                      </a:lnTo>
                      <a:lnTo>
                        <a:pt x="6545" y="1227"/>
                      </a:lnTo>
                      <a:lnTo>
                        <a:pt x="6603" y="1254"/>
                      </a:lnTo>
                      <a:lnTo>
                        <a:pt x="6661" y="1280"/>
                      </a:lnTo>
                      <a:lnTo>
                        <a:pt x="6716" y="1308"/>
                      </a:lnTo>
                      <a:lnTo>
                        <a:pt x="6772" y="1336"/>
                      </a:lnTo>
                      <a:lnTo>
                        <a:pt x="6827" y="1364"/>
                      </a:lnTo>
                      <a:lnTo>
                        <a:pt x="6879" y="1392"/>
                      </a:lnTo>
                      <a:lnTo>
                        <a:pt x="6932" y="1420"/>
                      </a:lnTo>
                      <a:lnTo>
                        <a:pt x="6983" y="1449"/>
                      </a:lnTo>
                      <a:lnTo>
                        <a:pt x="7034" y="1478"/>
                      </a:lnTo>
                      <a:lnTo>
                        <a:pt x="7083" y="1507"/>
                      </a:lnTo>
                      <a:lnTo>
                        <a:pt x="7132" y="1536"/>
                      </a:lnTo>
                      <a:lnTo>
                        <a:pt x="7178" y="1565"/>
                      </a:lnTo>
                      <a:lnTo>
                        <a:pt x="7225" y="1595"/>
                      </a:lnTo>
                      <a:lnTo>
                        <a:pt x="7270" y="1625"/>
                      </a:lnTo>
                      <a:lnTo>
                        <a:pt x="7314" y="1655"/>
                      </a:lnTo>
                      <a:lnTo>
                        <a:pt x="7358" y="1685"/>
                      </a:lnTo>
                      <a:lnTo>
                        <a:pt x="7400" y="1716"/>
                      </a:lnTo>
                      <a:lnTo>
                        <a:pt x="7440" y="1746"/>
                      </a:lnTo>
                      <a:lnTo>
                        <a:pt x="7480" y="1777"/>
                      </a:lnTo>
                      <a:lnTo>
                        <a:pt x="7519" y="1808"/>
                      </a:lnTo>
                      <a:lnTo>
                        <a:pt x="7557" y="1839"/>
                      </a:lnTo>
                      <a:lnTo>
                        <a:pt x="7594" y="1870"/>
                      </a:lnTo>
                      <a:lnTo>
                        <a:pt x="7629" y="1902"/>
                      </a:lnTo>
                      <a:lnTo>
                        <a:pt x="7664" y="1934"/>
                      </a:lnTo>
                      <a:lnTo>
                        <a:pt x="7697" y="1966"/>
                      </a:lnTo>
                      <a:lnTo>
                        <a:pt x="7729" y="1998"/>
                      </a:lnTo>
                      <a:lnTo>
                        <a:pt x="7760" y="2030"/>
                      </a:lnTo>
                      <a:lnTo>
                        <a:pt x="7789" y="2062"/>
                      </a:lnTo>
                      <a:lnTo>
                        <a:pt x="7818" y="2094"/>
                      </a:lnTo>
                      <a:lnTo>
                        <a:pt x="7845" y="2126"/>
                      </a:lnTo>
                      <a:lnTo>
                        <a:pt x="7872" y="2159"/>
                      </a:lnTo>
                      <a:lnTo>
                        <a:pt x="7897" y="2191"/>
                      </a:lnTo>
                      <a:lnTo>
                        <a:pt x="7920" y="2224"/>
                      </a:lnTo>
                      <a:lnTo>
                        <a:pt x="7943" y="2258"/>
                      </a:lnTo>
                      <a:lnTo>
                        <a:pt x="7966" y="2290"/>
                      </a:lnTo>
                      <a:lnTo>
                        <a:pt x="7985" y="2323"/>
                      </a:lnTo>
                      <a:lnTo>
                        <a:pt x="8005" y="2356"/>
                      </a:lnTo>
                      <a:lnTo>
                        <a:pt x="8022" y="2390"/>
                      </a:lnTo>
                      <a:lnTo>
                        <a:pt x="8039" y="2423"/>
                      </a:lnTo>
                      <a:lnTo>
                        <a:pt x="8055" y="2456"/>
                      </a:lnTo>
                      <a:lnTo>
                        <a:pt x="8069" y="2489"/>
                      </a:lnTo>
                      <a:lnTo>
                        <a:pt x="8082" y="2524"/>
                      </a:lnTo>
                      <a:lnTo>
                        <a:pt x="8095" y="2558"/>
                      </a:lnTo>
                      <a:lnTo>
                        <a:pt x="8105" y="2591"/>
                      </a:lnTo>
                      <a:lnTo>
                        <a:pt x="8114" y="2625"/>
                      </a:lnTo>
                      <a:lnTo>
                        <a:pt x="8122" y="2659"/>
                      </a:lnTo>
                      <a:lnTo>
                        <a:pt x="8130" y="2693"/>
                      </a:lnTo>
                      <a:lnTo>
                        <a:pt x="8135" y="2726"/>
                      </a:lnTo>
                      <a:lnTo>
                        <a:pt x="8139" y="2762"/>
                      </a:lnTo>
                      <a:lnTo>
                        <a:pt x="8142" y="2796"/>
                      </a:lnTo>
                      <a:lnTo>
                        <a:pt x="8144" y="2830"/>
                      </a:lnTo>
                      <a:lnTo>
                        <a:pt x="8145" y="2864"/>
                      </a:lnTo>
                      <a:lnTo>
                        <a:pt x="8245"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28" name="Freeform 123"/>
                <p:cNvSpPr>
                  <a:spLocks/>
                </p:cNvSpPr>
                <p:nvPr>
                  <p:custDataLst>
                    <p:tags r:id="rId171"/>
                  </p:custDataLst>
                </p:nvPr>
              </p:nvSpPr>
              <p:spPr bwMode="auto">
                <a:xfrm>
                  <a:off x="370" y="3472"/>
                  <a:ext cx="714" cy="160"/>
                </a:xfrm>
                <a:custGeom>
                  <a:avLst/>
                  <a:gdLst>
                    <a:gd name="T0" fmla="*/ 0 w 16419"/>
                    <a:gd name="T1" fmla="*/ 0 h 4020"/>
                    <a:gd name="T2" fmla="*/ 0 w 16419"/>
                    <a:gd name="T3" fmla="*/ 4020 h 4020"/>
                    <a:gd name="T4" fmla="*/ 16415 w 16419"/>
                    <a:gd name="T5" fmla="*/ 4020 h 4020"/>
                    <a:gd name="T6" fmla="*/ 16419 w 16419"/>
                    <a:gd name="T7" fmla="*/ 2 h 4020"/>
                    <a:gd name="T8" fmla="*/ 0 w 16419"/>
                    <a:gd name="T9" fmla="*/ 0 h 4020"/>
                  </a:gdLst>
                  <a:ahLst/>
                  <a:cxnLst>
                    <a:cxn ang="0">
                      <a:pos x="T0" y="T1"/>
                    </a:cxn>
                    <a:cxn ang="0">
                      <a:pos x="T2" y="T3"/>
                    </a:cxn>
                    <a:cxn ang="0">
                      <a:pos x="T4" y="T5"/>
                    </a:cxn>
                    <a:cxn ang="0">
                      <a:pos x="T6" y="T7"/>
                    </a:cxn>
                    <a:cxn ang="0">
                      <a:pos x="T8" y="T9"/>
                    </a:cxn>
                  </a:cxnLst>
                  <a:rect l="0" t="0" r="r" b="b"/>
                  <a:pathLst>
                    <a:path w="16419" h="4020">
                      <a:moveTo>
                        <a:pt x="0" y="0"/>
                      </a:moveTo>
                      <a:lnTo>
                        <a:pt x="0" y="4020"/>
                      </a:lnTo>
                      <a:lnTo>
                        <a:pt x="16415" y="4020"/>
                      </a:lnTo>
                      <a:lnTo>
                        <a:pt x="16419" y="2"/>
                      </a:lnTo>
                      <a:lnTo>
                        <a:pt x="0" y="0"/>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29" name="Freeform 124"/>
                <p:cNvSpPr>
                  <a:spLocks/>
                </p:cNvSpPr>
                <p:nvPr>
                  <p:custDataLst>
                    <p:tags r:id="rId172"/>
                  </p:custDataLst>
                </p:nvPr>
              </p:nvSpPr>
              <p:spPr bwMode="auto">
                <a:xfrm>
                  <a:off x="371" y="3356"/>
                  <a:ext cx="713" cy="225"/>
                </a:xfrm>
                <a:custGeom>
                  <a:avLst/>
                  <a:gdLst>
                    <a:gd name="T0" fmla="*/ 16347 w 16389"/>
                    <a:gd name="T1" fmla="*/ 3102 h 5628"/>
                    <a:gd name="T2" fmla="*/ 16132 w 16389"/>
                    <a:gd name="T3" fmla="*/ 3517 h 5628"/>
                    <a:gd name="T4" fmla="*/ 15745 w 16389"/>
                    <a:gd name="T5" fmla="*/ 3909 h 5628"/>
                    <a:gd name="T6" fmla="*/ 15203 w 16389"/>
                    <a:gd name="T7" fmla="*/ 4272 h 5628"/>
                    <a:gd name="T8" fmla="*/ 14518 w 16389"/>
                    <a:gd name="T9" fmla="*/ 4604 h 5628"/>
                    <a:gd name="T10" fmla="*/ 13704 w 16389"/>
                    <a:gd name="T11" fmla="*/ 4896 h 5628"/>
                    <a:gd name="T12" fmla="*/ 12776 w 16389"/>
                    <a:gd name="T13" fmla="*/ 5147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7 h 5628"/>
                    <a:gd name="T30" fmla="*/ 2685 w 16389"/>
                    <a:gd name="T31" fmla="*/ 4896 h 5628"/>
                    <a:gd name="T32" fmla="*/ 1871 w 16389"/>
                    <a:gd name="T33" fmla="*/ 4604 h 5628"/>
                    <a:gd name="T34" fmla="*/ 1186 w 16389"/>
                    <a:gd name="T35" fmla="*/ 4272 h 5628"/>
                    <a:gd name="T36" fmla="*/ 644 w 16389"/>
                    <a:gd name="T37" fmla="*/ 3909 h 5628"/>
                    <a:gd name="T38" fmla="*/ 257 w 16389"/>
                    <a:gd name="T39" fmla="*/ 3517 h 5628"/>
                    <a:gd name="T40" fmla="*/ 42 w 16389"/>
                    <a:gd name="T41" fmla="*/ 3102 h 5628"/>
                    <a:gd name="T42" fmla="*/ 10 w 16389"/>
                    <a:gd name="T43" fmla="*/ 2669 h 5628"/>
                    <a:gd name="T44" fmla="*/ 165 w 16389"/>
                    <a:gd name="T45" fmla="*/ 2247 h 5628"/>
                    <a:gd name="T46" fmla="*/ 496 w 16389"/>
                    <a:gd name="T47" fmla="*/ 1846 h 5628"/>
                    <a:gd name="T48" fmla="*/ 989 w 16389"/>
                    <a:gd name="T49" fmla="*/ 1473 h 5628"/>
                    <a:gd name="T50" fmla="*/ 1628 w 16389"/>
                    <a:gd name="T51" fmla="*/ 1130 h 5628"/>
                    <a:gd name="T52" fmla="*/ 2400 w 16389"/>
                    <a:gd name="T53" fmla="*/ 824 h 5628"/>
                    <a:gd name="T54" fmla="*/ 3292 w 16389"/>
                    <a:gd name="T55" fmla="*/ 559 h 5628"/>
                    <a:gd name="T56" fmla="*/ 4289 w 16389"/>
                    <a:gd name="T57" fmla="*/ 339 h 5628"/>
                    <a:gd name="T58" fmla="*/ 5378 w 16389"/>
                    <a:gd name="T59" fmla="*/ 170 h 5628"/>
                    <a:gd name="T60" fmla="*/ 6543 w 16389"/>
                    <a:gd name="T61" fmla="*/ 57 h 5628"/>
                    <a:gd name="T62" fmla="*/ 7773 w 16389"/>
                    <a:gd name="T63" fmla="*/ 3 h 5628"/>
                    <a:gd name="T64" fmla="*/ 9032 w 16389"/>
                    <a:gd name="T65" fmla="*/ 14 h 5628"/>
                    <a:gd name="T66" fmla="*/ 10241 w 16389"/>
                    <a:gd name="T67" fmla="*/ 88 h 5628"/>
                    <a:gd name="T68" fmla="*/ 11383 w 16389"/>
                    <a:gd name="T69" fmla="*/ 220 h 5628"/>
                    <a:gd name="T70" fmla="*/ 12443 w 16389"/>
                    <a:gd name="T71" fmla="*/ 406 h 5628"/>
                    <a:gd name="T72" fmla="*/ 13407 w 16389"/>
                    <a:gd name="T73" fmla="*/ 642 h 5628"/>
                    <a:gd name="T74" fmla="*/ 14260 w 16389"/>
                    <a:gd name="T75" fmla="*/ 922 h 5628"/>
                    <a:gd name="T76" fmla="*/ 14990 w 16389"/>
                    <a:gd name="T77" fmla="*/ 1241 h 5628"/>
                    <a:gd name="T78" fmla="*/ 15581 w 16389"/>
                    <a:gd name="T79" fmla="*/ 1594 h 5628"/>
                    <a:gd name="T80" fmla="*/ 16022 w 16389"/>
                    <a:gd name="T81" fmla="*/ 1977 h 5628"/>
                    <a:gd name="T82" fmla="*/ 16296 w 16389"/>
                    <a:gd name="T83" fmla="*/ 2385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2"/>
                      </a:lnTo>
                      <a:lnTo>
                        <a:pt x="16224" y="3381"/>
                      </a:lnTo>
                      <a:lnTo>
                        <a:pt x="16132" y="3517"/>
                      </a:lnTo>
                      <a:lnTo>
                        <a:pt x="16022" y="3650"/>
                      </a:lnTo>
                      <a:lnTo>
                        <a:pt x="15893" y="3781"/>
                      </a:lnTo>
                      <a:lnTo>
                        <a:pt x="15745" y="3909"/>
                      </a:lnTo>
                      <a:lnTo>
                        <a:pt x="15581" y="4033"/>
                      </a:lnTo>
                      <a:lnTo>
                        <a:pt x="15400" y="4155"/>
                      </a:lnTo>
                      <a:lnTo>
                        <a:pt x="15203" y="4272"/>
                      </a:lnTo>
                      <a:lnTo>
                        <a:pt x="14990" y="4387"/>
                      </a:lnTo>
                      <a:lnTo>
                        <a:pt x="14761" y="4497"/>
                      </a:lnTo>
                      <a:lnTo>
                        <a:pt x="14518" y="4604"/>
                      </a:lnTo>
                      <a:lnTo>
                        <a:pt x="14260" y="4706"/>
                      </a:lnTo>
                      <a:lnTo>
                        <a:pt x="13989" y="4803"/>
                      </a:lnTo>
                      <a:lnTo>
                        <a:pt x="13704" y="4896"/>
                      </a:lnTo>
                      <a:lnTo>
                        <a:pt x="13407" y="4985"/>
                      </a:lnTo>
                      <a:lnTo>
                        <a:pt x="13096" y="5069"/>
                      </a:lnTo>
                      <a:lnTo>
                        <a:pt x="12776" y="5147"/>
                      </a:lnTo>
                      <a:lnTo>
                        <a:pt x="12443" y="5220"/>
                      </a:lnTo>
                      <a:lnTo>
                        <a:pt x="12100" y="5289"/>
                      </a:lnTo>
                      <a:lnTo>
                        <a:pt x="11746" y="5351"/>
                      </a:lnTo>
                      <a:lnTo>
                        <a:pt x="11383" y="5407"/>
                      </a:lnTo>
                      <a:lnTo>
                        <a:pt x="11011" y="5457"/>
                      </a:lnTo>
                      <a:lnTo>
                        <a:pt x="10631" y="5502"/>
                      </a:lnTo>
                      <a:lnTo>
                        <a:pt x="10241" y="5539"/>
                      </a:lnTo>
                      <a:lnTo>
                        <a:pt x="9846" y="5571"/>
                      </a:lnTo>
                      <a:lnTo>
                        <a:pt x="9442" y="5596"/>
                      </a:lnTo>
                      <a:lnTo>
                        <a:pt x="9032" y="5614"/>
                      </a:lnTo>
                      <a:lnTo>
                        <a:pt x="8616" y="5624"/>
                      </a:lnTo>
                      <a:lnTo>
                        <a:pt x="8195" y="5628"/>
                      </a:lnTo>
                      <a:lnTo>
                        <a:pt x="7773" y="5624"/>
                      </a:lnTo>
                      <a:lnTo>
                        <a:pt x="7357" y="5614"/>
                      </a:lnTo>
                      <a:lnTo>
                        <a:pt x="6947" y="5596"/>
                      </a:lnTo>
                      <a:lnTo>
                        <a:pt x="6543" y="5571"/>
                      </a:lnTo>
                      <a:lnTo>
                        <a:pt x="6148" y="5539"/>
                      </a:lnTo>
                      <a:lnTo>
                        <a:pt x="5758" y="5502"/>
                      </a:lnTo>
                      <a:lnTo>
                        <a:pt x="5378" y="5457"/>
                      </a:lnTo>
                      <a:lnTo>
                        <a:pt x="5006" y="5407"/>
                      </a:lnTo>
                      <a:lnTo>
                        <a:pt x="4643" y="5351"/>
                      </a:lnTo>
                      <a:lnTo>
                        <a:pt x="4289" y="5289"/>
                      </a:lnTo>
                      <a:lnTo>
                        <a:pt x="3946" y="5220"/>
                      </a:lnTo>
                      <a:lnTo>
                        <a:pt x="3613" y="5147"/>
                      </a:lnTo>
                      <a:lnTo>
                        <a:pt x="3292" y="5069"/>
                      </a:lnTo>
                      <a:lnTo>
                        <a:pt x="2982" y="4985"/>
                      </a:lnTo>
                      <a:lnTo>
                        <a:pt x="2685" y="4896"/>
                      </a:lnTo>
                      <a:lnTo>
                        <a:pt x="2400" y="4803"/>
                      </a:lnTo>
                      <a:lnTo>
                        <a:pt x="2129" y="4706"/>
                      </a:lnTo>
                      <a:lnTo>
                        <a:pt x="1871" y="4604"/>
                      </a:lnTo>
                      <a:lnTo>
                        <a:pt x="1628" y="4497"/>
                      </a:lnTo>
                      <a:lnTo>
                        <a:pt x="1399" y="4387"/>
                      </a:lnTo>
                      <a:lnTo>
                        <a:pt x="1186" y="4272"/>
                      </a:lnTo>
                      <a:lnTo>
                        <a:pt x="989" y="4155"/>
                      </a:lnTo>
                      <a:lnTo>
                        <a:pt x="808" y="4033"/>
                      </a:lnTo>
                      <a:lnTo>
                        <a:pt x="644" y="3909"/>
                      </a:lnTo>
                      <a:lnTo>
                        <a:pt x="496" y="3781"/>
                      </a:lnTo>
                      <a:lnTo>
                        <a:pt x="367" y="3650"/>
                      </a:lnTo>
                      <a:lnTo>
                        <a:pt x="257" y="3517"/>
                      </a:lnTo>
                      <a:lnTo>
                        <a:pt x="165" y="3381"/>
                      </a:lnTo>
                      <a:lnTo>
                        <a:pt x="93" y="3242"/>
                      </a:lnTo>
                      <a:lnTo>
                        <a:pt x="42" y="3102"/>
                      </a:lnTo>
                      <a:lnTo>
                        <a:pt x="10" y="2959"/>
                      </a:lnTo>
                      <a:lnTo>
                        <a:pt x="0" y="2814"/>
                      </a:lnTo>
                      <a:lnTo>
                        <a:pt x="10" y="2669"/>
                      </a:lnTo>
                      <a:lnTo>
                        <a:pt x="42" y="2526"/>
                      </a:lnTo>
                      <a:lnTo>
                        <a:pt x="93" y="2385"/>
                      </a:lnTo>
                      <a:lnTo>
                        <a:pt x="165" y="2247"/>
                      </a:lnTo>
                      <a:lnTo>
                        <a:pt x="257" y="2111"/>
                      </a:lnTo>
                      <a:lnTo>
                        <a:pt x="367" y="1977"/>
                      </a:lnTo>
                      <a:lnTo>
                        <a:pt x="496" y="1846"/>
                      </a:lnTo>
                      <a:lnTo>
                        <a:pt x="644" y="1719"/>
                      </a:lnTo>
                      <a:lnTo>
                        <a:pt x="808" y="1594"/>
                      </a:lnTo>
                      <a:lnTo>
                        <a:pt x="989" y="1473"/>
                      </a:lnTo>
                      <a:lnTo>
                        <a:pt x="1186" y="1355"/>
                      </a:lnTo>
                      <a:lnTo>
                        <a:pt x="1399" y="1241"/>
                      </a:lnTo>
                      <a:lnTo>
                        <a:pt x="1628" y="1130"/>
                      </a:lnTo>
                      <a:lnTo>
                        <a:pt x="1871" y="1023"/>
                      </a:lnTo>
                      <a:lnTo>
                        <a:pt x="2129" y="922"/>
                      </a:lnTo>
                      <a:lnTo>
                        <a:pt x="2400" y="824"/>
                      </a:lnTo>
                      <a:lnTo>
                        <a:pt x="2685" y="730"/>
                      </a:lnTo>
                      <a:lnTo>
                        <a:pt x="2982" y="642"/>
                      </a:lnTo>
                      <a:lnTo>
                        <a:pt x="3292" y="559"/>
                      </a:lnTo>
                      <a:lnTo>
                        <a:pt x="3613" y="480"/>
                      </a:lnTo>
                      <a:lnTo>
                        <a:pt x="3946" y="406"/>
                      </a:lnTo>
                      <a:lnTo>
                        <a:pt x="4289" y="339"/>
                      </a:lnTo>
                      <a:lnTo>
                        <a:pt x="4643" y="277"/>
                      </a:lnTo>
                      <a:lnTo>
                        <a:pt x="5006" y="220"/>
                      </a:lnTo>
                      <a:lnTo>
                        <a:pt x="5378" y="170"/>
                      </a:lnTo>
                      <a:lnTo>
                        <a:pt x="5758" y="126"/>
                      </a:lnTo>
                      <a:lnTo>
                        <a:pt x="6148" y="88"/>
                      </a:lnTo>
                      <a:lnTo>
                        <a:pt x="6543" y="57"/>
                      </a:lnTo>
                      <a:lnTo>
                        <a:pt x="6947" y="32"/>
                      </a:lnTo>
                      <a:lnTo>
                        <a:pt x="7357" y="14"/>
                      </a:lnTo>
                      <a:lnTo>
                        <a:pt x="7773" y="3"/>
                      </a:lnTo>
                      <a:lnTo>
                        <a:pt x="8195" y="0"/>
                      </a:lnTo>
                      <a:lnTo>
                        <a:pt x="8616" y="3"/>
                      </a:lnTo>
                      <a:lnTo>
                        <a:pt x="9032" y="14"/>
                      </a:lnTo>
                      <a:lnTo>
                        <a:pt x="9442" y="32"/>
                      </a:lnTo>
                      <a:lnTo>
                        <a:pt x="9846" y="57"/>
                      </a:lnTo>
                      <a:lnTo>
                        <a:pt x="10241" y="88"/>
                      </a:lnTo>
                      <a:lnTo>
                        <a:pt x="10631" y="126"/>
                      </a:lnTo>
                      <a:lnTo>
                        <a:pt x="11011" y="170"/>
                      </a:lnTo>
                      <a:lnTo>
                        <a:pt x="11383" y="220"/>
                      </a:lnTo>
                      <a:lnTo>
                        <a:pt x="11746" y="277"/>
                      </a:lnTo>
                      <a:lnTo>
                        <a:pt x="12100" y="339"/>
                      </a:lnTo>
                      <a:lnTo>
                        <a:pt x="12443" y="406"/>
                      </a:lnTo>
                      <a:lnTo>
                        <a:pt x="12776" y="480"/>
                      </a:lnTo>
                      <a:lnTo>
                        <a:pt x="13096" y="559"/>
                      </a:lnTo>
                      <a:lnTo>
                        <a:pt x="13407" y="642"/>
                      </a:lnTo>
                      <a:lnTo>
                        <a:pt x="13704" y="730"/>
                      </a:lnTo>
                      <a:lnTo>
                        <a:pt x="13989" y="824"/>
                      </a:lnTo>
                      <a:lnTo>
                        <a:pt x="14260" y="922"/>
                      </a:lnTo>
                      <a:lnTo>
                        <a:pt x="14518" y="1023"/>
                      </a:lnTo>
                      <a:lnTo>
                        <a:pt x="14761" y="1130"/>
                      </a:lnTo>
                      <a:lnTo>
                        <a:pt x="14990" y="1241"/>
                      </a:lnTo>
                      <a:lnTo>
                        <a:pt x="15203" y="1355"/>
                      </a:lnTo>
                      <a:lnTo>
                        <a:pt x="15400" y="1473"/>
                      </a:lnTo>
                      <a:lnTo>
                        <a:pt x="15581" y="1594"/>
                      </a:lnTo>
                      <a:lnTo>
                        <a:pt x="15745" y="1719"/>
                      </a:lnTo>
                      <a:lnTo>
                        <a:pt x="15893" y="1846"/>
                      </a:lnTo>
                      <a:lnTo>
                        <a:pt x="16022" y="1977"/>
                      </a:lnTo>
                      <a:lnTo>
                        <a:pt x="16132" y="2111"/>
                      </a:lnTo>
                      <a:lnTo>
                        <a:pt x="16224" y="2247"/>
                      </a:lnTo>
                      <a:lnTo>
                        <a:pt x="16296" y="2385"/>
                      </a:lnTo>
                      <a:lnTo>
                        <a:pt x="16347" y="2526"/>
                      </a:lnTo>
                      <a:lnTo>
                        <a:pt x="16379" y="2669"/>
                      </a:lnTo>
                      <a:lnTo>
                        <a:pt x="16389" y="2814"/>
                      </a:lnTo>
                      <a:close/>
                    </a:path>
                  </a:pathLst>
                </a:custGeom>
                <a:solidFill>
                  <a:srgbClr val="B8CAD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30" name="Freeform 125"/>
                <p:cNvSpPr>
                  <a:spLocks/>
                </p:cNvSpPr>
                <p:nvPr>
                  <p:custDataLst>
                    <p:tags r:id="rId173"/>
                  </p:custDataLst>
                </p:nvPr>
              </p:nvSpPr>
              <p:spPr bwMode="auto">
                <a:xfrm>
                  <a:off x="725" y="3469"/>
                  <a:ext cx="361" cy="114"/>
                </a:xfrm>
                <a:custGeom>
                  <a:avLst/>
                  <a:gdLst>
                    <a:gd name="T0" fmla="*/ 472 w 8295"/>
                    <a:gd name="T1" fmla="*/ 2861 h 2864"/>
                    <a:gd name="T2" fmla="*/ 1300 w 8295"/>
                    <a:gd name="T3" fmla="*/ 2832 h 2864"/>
                    <a:gd name="T4" fmla="*/ 2102 w 8295"/>
                    <a:gd name="T5" fmla="*/ 2776 h 2864"/>
                    <a:gd name="T6" fmla="*/ 2873 w 8295"/>
                    <a:gd name="T7" fmla="*/ 2693 h 2864"/>
                    <a:gd name="T8" fmla="*/ 3609 w 8295"/>
                    <a:gd name="T9" fmla="*/ 2587 h 2864"/>
                    <a:gd name="T10" fmla="*/ 4308 w 8295"/>
                    <a:gd name="T11" fmla="*/ 2456 h 2864"/>
                    <a:gd name="T12" fmla="*/ 4964 w 8295"/>
                    <a:gd name="T13" fmla="*/ 2304 h 2864"/>
                    <a:gd name="T14" fmla="*/ 5426 w 8295"/>
                    <a:gd name="T15" fmla="*/ 2176 h 2864"/>
                    <a:gd name="T16" fmla="*/ 5718 w 8295"/>
                    <a:gd name="T17" fmla="*/ 2085 h 2864"/>
                    <a:gd name="T18" fmla="*/ 5998 w 8295"/>
                    <a:gd name="T19" fmla="*/ 1988 h 2864"/>
                    <a:gd name="T20" fmla="*/ 6264 w 8295"/>
                    <a:gd name="T21" fmla="*/ 1888 h 2864"/>
                    <a:gd name="T22" fmla="*/ 6516 w 8295"/>
                    <a:gd name="T23" fmla="*/ 1783 h 2864"/>
                    <a:gd name="T24" fmla="*/ 6754 w 8295"/>
                    <a:gd name="T25" fmla="*/ 1674 h 2864"/>
                    <a:gd name="T26" fmla="*/ 6977 w 8295"/>
                    <a:gd name="T27" fmla="*/ 1561 h 2864"/>
                    <a:gd name="T28" fmla="*/ 7184 w 8295"/>
                    <a:gd name="T29" fmla="*/ 1444 h 2864"/>
                    <a:gd name="T30" fmla="*/ 7376 w 8295"/>
                    <a:gd name="T31" fmla="*/ 1323 h 2864"/>
                    <a:gd name="T32" fmla="*/ 7551 w 8295"/>
                    <a:gd name="T33" fmla="*/ 1198 h 2864"/>
                    <a:gd name="T34" fmla="*/ 7709 w 8295"/>
                    <a:gd name="T35" fmla="*/ 1069 h 2864"/>
                    <a:gd name="T36" fmla="*/ 7850 w 8295"/>
                    <a:gd name="T37" fmla="*/ 938 h 2864"/>
                    <a:gd name="T38" fmla="*/ 7972 w 8295"/>
                    <a:gd name="T39" fmla="*/ 802 h 2864"/>
                    <a:gd name="T40" fmla="*/ 8076 w 8295"/>
                    <a:gd name="T41" fmla="*/ 663 h 2864"/>
                    <a:gd name="T42" fmla="*/ 8161 w 8295"/>
                    <a:gd name="T43" fmla="*/ 521 h 2864"/>
                    <a:gd name="T44" fmla="*/ 8226 w 8295"/>
                    <a:gd name="T45" fmla="*/ 376 h 2864"/>
                    <a:gd name="T46" fmla="*/ 8269 w 8295"/>
                    <a:gd name="T47" fmla="*/ 227 h 2864"/>
                    <a:gd name="T48" fmla="*/ 8292 w 8295"/>
                    <a:gd name="T49" fmla="*/ 76 h 2864"/>
                    <a:gd name="T50" fmla="*/ 8194 w 8295"/>
                    <a:gd name="T51" fmla="*/ 34 h 2864"/>
                    <a:gd name="T52" fmla="*/ 8180 w 8295"/>
                    <a:gd name="T53" fmla="*/ 172 h 2864"/>
                    <a:gd name="T54" fmla="*/ 8145 w 8295"/>
                    <a:gd name="T55" fmla="*/ 307 h 2864"/>
                    <a:gd name="T56" fmla="*/ 8089 w 8295"/>
                    <a:gd name="T57" fmla="*/ 441 h 2864"/>
                    <a:gd name="T58" fmla="*/ 8016 w 8295"/>
                    <a:gd name="T59" fmla="*/ 574 h 2864"/>
                    <a:gd name="T60" fmla="*/ 7922 w 8295"/>
                    <a:gd name="T61" fmla="*/ 706 h 2864"/>
                    <a:gd name="T62" fmla="*/ 7810 w 8295"/>
                    <a:gd name="T63" fmla="*/ 835 h 2864"/>
                    <a:gd name="T64" fmla="*/ 7679 w 8295"/>
                    <a:gd name="T65" fmla="*/ 963 h 2864"/>
                    <a:gd name="T66" fmla="*/ 7530 w 8295"/>
                    <a:gd name="T67" fmla="*/ 1087 h 2864"/>
                    <a:gd name="T68" fmla="*/ 7364 w 8295"/>
                    <a:gd name="T69" fmla="*/ 1209 h 2864"/>
                    <a:gd name="T70" fmla="*/ 7182 w 8295"/>
                    <a:gd name="T71" fmla="*/ 1328 h 2864"/>
                    <a:gd name="T72" fmla="*/ 6982 w 8295"/>
                    <a:gd name="T73" fmla="*/ 1444 h 2864"/>
                    <a:gd name="T74" fmla="*/ 6766 w 8295"/>
                    <a:gd name="T75" fmla="*/ 1556 h 2864"/>
                    <a:gd name="T76" fmla="*/ 6537 w 8295"/>
                    <a:gd name="T77" fmla="*/ 1664 h 2864"/>
                    <a:gd name="T78" fmla="*/ 6290 w 8295"/>
                    <a:gd name="T79" fmla="*/ 1769 h 2864"/>
                    <a:gd name="T80" fmla="*/ 6032 w 8295"/>
                    <a:gd name="T81" fmla="*/ 1869 h 2864"/>
                    <a:gd name="T82" fmla="*/ 5757 w 8295"/>
                    <a:gd name="T83" fmla="*/ 1965 h 2864"/>
                    <a:gd name="T84" fmla="*/ 5471 w 8295"/>
                    <a:gd name="T85" fmla="*/ 2058 h 2864"/>
                    <a:gd name="T86" fmla="*/ 5096 w 8295"/>
                    <a:gd name="T87" fmla="*/ 2165 h 2864"/>
                    <a:gd name="T88" fmla="*/ 4455 w 8295"/>
                    <a:gd name="T89" fmla="*/ 2322 h 2864"/>
                    <a:gd name="T90" fmla="*/ 3771 w 8295"/>
                    <a:gd name="T91" fmla="*/ 2457 h 2864"/>
                    <a:gd name="T92" fmla="*/ 3047 w 8295"/>
                    <a:gd name="T93" fmla="*/ 2569 h 2864"/>
                    <a:gd name="T94" fmla="*/ 2287 w 8295"/>
                    <a:gd name="T95" fmla="*/ 2658 h 2864"/>
                    <a:gd name="T96" fmla="*/ 1497 w 8295"/>
                    <a:gd name="T97" fmla="*/ 2720 h 2864"/>
                    <a:gd name="T98" fmla="*/ 678 w 8295"/>
                    <a:gd name="T99" fmla="*/ 2756 h 2864"/>
                    <a:gd name="T100" fmla="*/ 50 w 8295"/>
                    <a:gd name="T101" fmla="*/ 2764 h 2864"/>
                    <a:gd name="T102" fmla="*/ 33 w 8295"/>
                    <a:gd name="T103" fmla="*/ 2767 h 2864"/>
                    <a:gd name="T104" fmla="*/ 15 w 8295"/>
                    <a:gd name="T105" fmla="*/ 2776 h 2864"/>
                    <a:gd name="T106" fmla="*/ 0 w 8295"/>
                    <a:gd name="T107" fmla="*/ 2805 h 2864"/>
                    <a:gd name="T108" fmla="*/ 6 w 8295"/>
                    <a:gd name="T109" fmla="*/ 2841 h 2864"/>
                    <a:gd name="T110" fmla="*/ 23 w 8295"/>
                    <a:gd name="T111" fmla="*/ 2858 h 2864"/>
                    <a:gd name="T112" fmla="*/ 43 w 8295"/>
                    <a:gd name="T113" fmla="*/ 2864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4">
                      <a:moveTo>
                        <a:pt x="50" y="2864"/>
                      </a:moveTo>
                      <a:lnTo>
                        <a:pt x="50" y="2864"/>
                      </a:lnTo>
                      <a:lnTo>
                        <a:pt x="262" y="2864"/>
                      </a:lnTo>
                      <a:lnTo>
                        <a:pt x="472" y="2861"/>
                      </a:lnTo>
                      <a:lnTo>
                        <a:pt x="681" y="2856"/>
                      </a:lnTo>
                      <a:lnTo>
                        <a:pt x="888" y="2849"/>
                      </a:lnTo>
                      <a:lnTo>
                        <a:pt x="1095" y="2841"/>
                      </a:lnTo>
                      <a:lnTo>
                        <a:pt x="1300" y="2832"/>
                      </a:lnTo>
                      <a:lnTo>
                        <a:pt x="1503" y="2820"/>
                      </a:lnTo>
                      <a:lnTo>
                        <a:pt x="1704" y="2807"/>
                      </a:lnTo>
                      <a:lnTo>
                        <a:pt x="1904" y="2792"/>
                      </a:lnTo>
                      <a:lnTo>
                        <a:pt x="2102" y="2776"/>
                      </a:lnTo>
                      <a:lnTo>
                        <a:pt x="2296" y="2757"/>
                      </a:lnTo>
                      <a:lnTo>
                        <a:pt x="2491" y="2738"/>
                      </a:lnTo>
                      <a:lnTo>
                        <a:pt x="2683" y="2716"/>
                      </a:lnTo>
                      <a:lnTo>
                        <a:pt x="2873" y="2693"/>
                      </a:lnTo>
                      <a:lnTo>
                        <a:pt x="3060" y="2668"/>
                      </a:lnTo>
                      <a:lnTo>
                        <a:pt x="3246" y="2642"/>
                      </a:lnTo>
                      <a:lnTo>
                        <a:pt x="3429" y="2615"/>
                      </a:lnTo>
                      <a:lnTo>
                        <a:pt x="3609" y="2587"/>
                      </a:lnTo>
                      <a:lnTo>
                        <a:pt x="3788" y="2555"/>
                      </a:lnTo>
                      <a:lnTo>
                        <a:pt x="3964" y="2523"/>
                      </a:lnTo>
                      <a:lnTo>
                        <a:pt x="4137" y="2490"/>
                      </a:lnTo>
                      <a:lnTo>
                        <a:pt x="4308" y="2456"/>
                      </a:lnTo>
                      <a:lnTo>
                        <a:pt x="4476" y="2420"/>
                      </a:lnTo>
                      <a:lnTo>
                        <a:pt x="4642" y="2383"/>
                      </a:lnTo>
                      <a:lnTo>
                        <a:pt x="4804" y="2343"/>
                      </a:lnTo>
                      <a:lnTo>
                        <a:pt x="4964" y="2304"/>
                      </a:lnTo>
                      <a:lnTo>
                        <a:pt x="5122" y="2263"/>
                      </a:lnTo>
                      <a:lnTo>
                        <a:pt x="5275" y="2219"/>
                      </a:lnTo>
                      <a:lnTo>
                        <a:pt x="5351" y="2197"/>
                      </a:lnTo>
                      <a:lnTo>
                        <a:pt x="5426" y="2176"/>
                      </a:lnTo>
                      <a:lnTo>
                        <a:pt x="5500" y="2153"/>
                      </a:lnTo>
                      <a:lnTo>
                        <a:pt x="5574" y="2131"/>
                      </a:lnTo>
                      <a:lnTo>
                        <a:pt x="5646" y="2107"/>
                      </a:lnTo>
                      <a:lnTo>
                        <a:pt x="5718" y="2085"/>
                      </a:lnTo>
                      <a:lnTo>
                        <a:pt x="5789" y="2061"/>
                      </a:lnTo>
                      <a:lnTo>
                        <a:pt x="5859" y="2037"/>
                      </a:lnTo>
                      <a:lnTo>
                        <a:pt x="5930" y="2013"/>
                      </a:lnTo>
                      <a:lnTo>
                        <a:pt x="5998" y="1988"/>
                      </a:lnTo>
                      <a:lnTo>
                        <a:pt x="6066" y="1963"/>
                      </a:lnTo>
                      <a:lnTo>
                        <a:pt x="6133" y="1939"/>
                      </a:lnTo>
                      <a:lnTo>
                        <a:pt x="6199" y="1914"/>
                      </a:lnTo>
                      <a:lnTo>
                        <a:pt x="6264" y="1888"/>
                      </a:lnTo>
                      <a:lnTo>
                        <a:pt x="6328" y="1862"/>
                      </a:lnTo>
                      <a:lnTo>
                        <a:pt x="6391" y="1836"/>
                      </a:lnTo>
                      <a:lnTo>
                        <a:pt x="6454" y="1809"/>
                      </a:lnTo>
                      <a:lnTo>
                        <a:pt x="6516" y="1783"/>
                      </a:lnTo>
                      <a:lnTo>
                        <a:pt x="6577" y="1756"/>
                      </a:lnTo>
                      <a:lnTo>
                        <a:pt x="6637" y="1728"/>
                      </a:lnTo>
                      <a:lnTo>
                        <a:pt x="6695" y="1702"/>
                      </a:lnTo>
                      <a:lnTo>
                        <a:pt x="6754" y="1674"/>
                      </a:lnTo>
                      <a:lnTo>
                        <a:pt x="6811" y="1646"/>
                      </a:lnTo>
                      <a:lnTo>
                        <a:pt x="6867" y="1618"/>
                      </a:lnTo>
                      <a:lnTo>
                        <a:pt x="6922" y="1590"/>
                      </a:lnTo>
                      <a:lnTo>
                        <a:pt x="6977" y="1561"/>
                      </a:lnTo>
                      <a:lnTo>
                        <a:pt x="7030" y="1532"/>
                      </a:lnTo>
                      <a:lnTo>
                        <a:pt x="7082" y="1503"/>
                      </a:lnTo>
                      <a:lnTo>
                        <a:pt x="7133" y="1473"/>
                      </a:lnTo>
                      <a:lnTo>
                        <a:pt x="7184" y="1444"/>
                      </a:lnTo>
                      <a:lnTo>
                        <a:pt x="7233" y="1414"/>
                      </a:lnTo>
                      <a:lnTo>
                        <a:pt x="7282" y="1384"/>
                      </a:lnTo>
                      <a:lnTo>
                        <a:pt x="7329" y="1353"/>
                      </a:lnTo>
                      <a:lnTo>
                        <a:pt x="7376" y="1323"/>
                      </a:lnTo>
                      <a:lnTo>
                        <a:pt x="7421" y="1292"/>
                      </a:lnTo>
                      <a:lnTo>
                        <a:pt x="7465" y="1261"/>
                      </a:lnTo>
                      <a:lnTo>
                        <a:pt x="7509" y="1230"/>
                      </a:lnTo>
                      <a:lnTo>
                        <a:pt x="7551" y="1198"/>
                      </a:lnTo>
                      <a:lnTo>
                        <a:pt x="7592" y="1165"/>
                      </a:lnTo>
                      <a:lnTo>
                        <a:pt x="7632" y="1134"/>
                      </a:lnTo>
                      <a:lnTo>
                        <a:pt x="7670" y="1102"/>
                      </a:lnTo>
                      <a:lnTo>
                        <a:pt x="7709" y="1069"/>
                      </a:lnTo>
                      <a:lnTo>
                        <a:pt x="7746" y="1037"/>
                      </a:lnTo>
                      <a:lnTo>
                        <a:pt x="7782" y="1004"/>
                      </a:lnTo>
                      <a:lnTo>
                        <a:pt x="7816" y="971"/>
                      </a:lnTo>
                      <a:lnTo>
                        <a:pt x="7850" y="938"/>
                      </a:lnTo>
                      <a:lnTo>
                        <a:pt x="7882" y="904"/>
                      </a:lnTo>
                      <a:lnTo>
                        <a:pt x="7914" y="870"/>
                      </a:lnTo>
                      <a:lnTo>
                        <a:pt x="7944" y="836"/>
                      </a:lnTo>
                      <a:lnTo>
                        <a:pt x="7972" y="802"/>
                      </a:lnTo>
                      <a:lnTo>
                        <a:pt x="8000" y="768"/>
                      </a:lnTo>
                      <a:lnTo>
                        <a:pt x="8027" y="733"/>
                      </a:lnTo>
                      <a:lnTo>
                        <a:pt x="8052" y="699"/>
                      </a:lnTo>
                      <a:lnTo>
                        <a:pt x="8076" y="663"/>
                      </a:lnTo>
                      <a:lnTo>
                        <a:pt x="8099" y="628"/>
                      </a:lnTo>
                      <a:lnTo>
                        <a:pt x="8121" y="592"/>
                      </a:lnTo>
                      <a:lnTo>
                        <a:pt x="8141" y="557"/>
                      </a:lnTo>
                      <a:lnTo>
                        <a:pt x="8161" y="521"/>
                      </a:lnTo>
                      <a:lnTo>
                        <a:pt x="8180" y="484"/>
                      </a:lnTo>
                      <a:lnTo>
                        <a:pt x="8196" y="448"/>
                      </a:lnTo>
                      <a:lnTo>
                        <a:pt x="8212" y="412"/>
                      </a:lnTo>
                      <a:lnTo>
                        <a:pt x="8226" y="376"/>
                      </a:lnTo>
                      <a:lnTo>
                        <a:pt x="8238" y="338"/>
                      </a:lnTo>
                      <a:lnTo>
                        <a:pt x="8251" y="301"/>
                      </a:lnTo>
                      <a:lnTo>
                        <a:pt x="8261" y="265"/>
                      </a:lnTo>
                      <a:lnTo>
                        <a:pt x="8269" y="227"/>
                      </a:lnTo>
                      <a:lnTo>
                        <a:pt x="8277" y="189"/>
                      </a:lnTo>
                      <a:lnTo>
                        <a:pt x="8284" y="152"/>
                      </a:lnTo>
                      <a:lnTo>
                        <a:pt x="8289" y="114"/>
                      </a:lnTo>
                      <a:lnTo>
                        <a:pt x="8292" y="76"/>
                      </a:lnTo>
                      <a:lnTo>
                        <a:pt x="8294" y="38"/>
                      </a:lnTo>
                      <a:lnTo>
                        <a:pt x="8295" y="0"/>
                      </a:lnTo>
                      <a:lnTo>
                        <a:pt x="8195" y="0"/>
                      </a:lnTo>
                      <a:lnTo>
                        <a:pt x="8194" y="34"/>
                      </a:lnTo>
                      <a:lnTo>
                        <a:pt x="8192" y="69"/>
                      </a:lnTo>
                      <a:lnTo>
                        <a:pt x="8189" y="103"/>
                      </a:lnTo>
                      <a:lnTo>
                        <a:pt x="8185" y="138"/>
                      </a:lnTo>
                      <a:lnTo>
                        <a:pt x="8180" y="172"/>
                      </a:lnTo>
                      <a:lnTo>
                        <a:pt x="8172" y="205"/>
                      </a:lnTo>
                      <a:lnTo>
                        <a:pt x="8164" y="239"/>
                      </a:lnTo>
                      <a:lnTo>
                        <a:pt x="8155" y="273"/>
                      </a:lnTo>
                      <a:lnTo>
                        <a:pt x="8145" y="307"/>
                      </a:lnTo>
                      <a:lnTo>
                        <a:pt x="8132" y="340"/>
                      </a:lnTo>
                      <a:lnTo>
                        <a:pt x="8119" y="375"/>
                      </a:lnTo>
                      <a:lnTo>
                        <a:pt x="8105" y="408"/>
                      </a:lnTo>
                      <a:lnTo>
                        <a:pt x="8089" y="441"/>
                      </a:lnTo>
                      <a:lnTo>
                        <a:pt x="8072" y="475"/>
                      </a:lnTo>
                      <a:lnTo>
                        <a:pt x="8055" y="508"/>
                      </a:lnTo>
                      <a:lnTo>
                        <a:pt x="8035" y="541"/>
                      </a:lnTo>
                      <a:lnTo>
                        <a:pt x="8016" y="574"/>
                      </a:lnTo>
                      <a:lnTo>
                        <a:pt x="7993" y="608"/>
                      </a:lnTo>
                      <a:lnTo>
                        <a:pt x="7970" y="640"/>
                      </a:lnTo>
                      <a:lnTo>
                        <a:pt x="7947" y="673"/>
                      </a:lnTo>
                      <a:lnTo>
                        <a:pt x="7922" y="706"/>
                      </a:lnTo>
                      <a:lnTo>
                        <a:pt x="7895" y="738"/>
                      </a:lnTo>
                      <a:lnTo>
                        <a:pt x="7868" y="770"/>
                      </a:lnTo>
                      <a:lnTo>
                        <a:pt x="7839" y="803"/>
                      </a:lnTo>
                      <a:lnTo>
                        <a:pt x="7810" y="835"/>
                      </a:lnTo>
                      <a:lnTo>
                        <a:pt x="7779" y="867"/>
                      </a:lnTo>
                      <a:lnTo>
                        <a:pt x="7747" y="898"/>
                      </a:lnTo>
                      <a:lnTo>
                        <a:pt x="7714" y="930"/>
                      </a:lnTo>
                      <a:lnTo>
                        <a:pt x="7679" y="963"/>
                      </a:lnTo>
                      <a:lnTo>
                        <a:pt x="7644" y="994"/>
                      </a:lnTo>
                      <a:lnTo>
                        <a:pt x="7607" y="1025"/>
                      </a:lnTo>
                      <a:lnTo>
                        <a:pt x="7569" y="1056"/>
                      </a:lnTo>
                      <a:lnTo>
                        <a:pt x="7530" y="1087"/>
                      </a:lnTo>
                      <a:lnTo>
                        <a:pt x="7490" y="1118"/>
                      </a:lnTo>
                      <a:lnTo>
                        <a:pt x="7450" y="1148"/>
                      </a:lnTo>
                      <a:lnTo>
                        <a:pt x="7408" y="1179"/>
                      </a:lnTo>
                      <a:lnTo>
                        <a:pt x="7364" y="1209"/>
                      </a:lnTo>
                      <a:lnTo>
                        <a:pt x="7320" y="1239"/>
                      </a:lnTo>
                      <a:lnTo>
                        <a:pt x="7275" y="1269"/>
                      </a:lnTo>
                      <a:lnTo>
                        <a:pt x="7228" y="1299"/>
                      </a:lnTo>
                      <a:lnTo>
                        <a:pt x="7182" y="1328"/>
                      </a:lnTo>
                      <a:lnTo>
                        <a:pt x="7133" y="1357"/>
                      </a:lnTo>
                      <a:lnTo>
                        <a:pt x="7084" y="1386"/>
                      </a:lnTo>
                      <a:lnTo>
                        <a:pt x="7033" y="1415"/>
                      </a:lnTo>
                      <a:lnTo>
                        <a:pt x="6982" y="1444"/>
                      </a:lnTo>
                      <a:lnTo>
                        <a:pt x="6929" y="1472"/>
                      </a:lnTo>
                      <a:lnTo>
                        <a:pt x="6877" y="1501"/>
                      </a:lnTo>
                      <a:lnTo>
                        <a:pt x="6822" y="1529"/>
                      </a:lnTo>
                      <a:lnTo>
                        <a:pt x="6766" y="1556"/>
                      </a:lnTo>
                      <a:lnTo>
                        <a:pt x="6711" y="1584"/>
                      </a:lnTo>
                      <a:lnTo>
                        <a:pt x="6653" y="1610"/>
                      </a:lnTo>
                      <a:lnTo>
                        <a:pt x="6595" y="1637"/>
                      </a:lnTo>
                      <a:lnTo>
                        <a:pt x="6537" y="1664"/>
                      </a:lnTo>
                      <a:lnTo>
                        <a:pt x="6476" y="1691"/>
                      </a:lnTo>
                      <a:lnTo>
                        <a:pt x="6415" y="1717"/>
                      </a:lnTo>
                      <a:lnTo>
                        <a:pt x="6354" y="1743"/>
                      </a:lnTo>
                      <a:lnTo>
                        <a:pt x="6290" y="1769"/>
                      </a:lnTo>
                      <a:lnTo>
                        <a:pt x="6227" y="1795"/>
                      </a:lnTo>
                      <a:lnTo>
                        <a:pt x="6163" y="1820"/>
                      </a:lnTo>
                      <a:lnTo>
                        <a:pt x="6098" y="1845"/>
                      </a:lnTo>
                      <a:lnTo>
                        <a:pt x="6032" y="1869"/>
                      </a:lnTo>
                      <a:lnTo>
                        <a:pt x="5965" y="1894"/>
                      </a:lnTo>
                      <a:lnTo>
                        <a:pt x="5897" y="1918"/>
                      </a:lnTo>
                      <a:lnTo>
                        <a:pt x="5828" y="1942"/>
                      </a:lnTo>
                      <a:lnTo>
                        <a:pt x="5757" y="1965"/>
                      </a:lnTo>
                      <a:lnTo>
                        <a:pt x="5687" y="1989"/>
                      </a:lnTo>
                      <a:lnTo>
                        <a:pt x="5616" y="2012"/>
                      </a:lnTo>
                      <a:lnTo>
                        <a:pt x="5544" y="2035"/>
                      </a:lnTo>
                      <a:lnTo>
                        <a:pt x="5471" y="2058"/>
                      </a:lnTo>
                      <a:lnTo>
                        <a:pt x="5398" y="2079"/>
                      </a:lnTo>
                      <a:lnTo>
                        <a:pt x="5324" y="2101"/>
                      </a:lnTo>
                      <a:lnTo>
                        <a:pt x="5248" y="2123"/>
                      </a:lnTo>
                      <a:lnTo>
                        <a:pt x="5096" y="2165"/>
                      </a:lnTo>
                      <a:lnTo>
                        <a:pt x="4940" y="2207"/>
                      </a:lnTo>
                      <a:lnTo>
                        <a:pt x="4781" y="2246"/>
                      </a:lnTo>
                      <a:lnTo>
                        <a:pt x="4620" y="2284"/>
                      </a:lnTo>
                      <a:lnTo>
                        <a:pt x="4455" y="2322"/>
                      </a:lnTo>
                      <a:lnTo>
                        <a:pt x="4288" y="2358"/>
                      </a:lnTo>
                      <a:lnTo>
                        <a:pt x="4119" y="2392"/>
                      </a:lnTo>
                      <a:lnTo>
                        <a:pt x="3945" y="2425"/>
                      </a:lnTo>
                      <a:lnTo>
                        <a:pt x="3771" y="2457"/>
                      </a:lnTo>
                      <a:lnTo>
                        <a:pt x="3593" y="2487"/>
                      </a:lnTo>
                      <a:lnTo>
                        <a:pt x="3414" y="2516"/>
                      </a:lnTo>
                      <a:lnTo>
                        <a:pt x="3231" y="2543"/>
                      </a:lnTo>
                      <a:lnTo>
                        <a:pt x="3047" y="2569"/>
                      </a:lnTo>
                      <a:lnTo>
                        <a:pt x="2860" y="2594"/>
                      </a:lnTo>
                      <a:lnTo>
                        <a:pt x="2672" y="2617"/>
                      </a:lnTo>
                      <a:lnTo>
                        <a:pt x="2481" y="2637"/>
                      </a:lnTo>
                      <a:lnTo>
                        <a:pt x="2287" y="2658"/>
                      </a:lnTo>
                      <a:lnTo>
                        <a:pt x="2092" y="2676"/>
                      </a:lnTo>
                      <a:lnTo>
                        <a:pt x="1895" y="2692"/>
                      </a:lnTo>
                      <a:lnTo>
                        <a:pt x="1698" y="2707"/>
                      </a:lnTo>
                      <a:lnTo>
                        <a:pt x="1497" y="2720"/>
                      </a:lnTo>
                      <a:lnTo>
                        <a:pt x="1295" y="2731"/>
                      </a:lnTo>
                      <a:lnTo>
                        <a:pt x="1090" y="2742"/>
                      </a:lnTo>
                      <a:lnTo>
                        <a:pt x="885" y="2750"/>
                      </a:lnTo>
                      <a:lnTo>
                        <a:pt x="678" y="2756"/>
                      </a:lnTo>
                      <a:lnTo>
                        <a:pt x="470" y="2760"/>
                      </a:lnTo>
                      <a:lnTo>
                        <a:pt x="261" y="2762"/>
                      </a:lnTo>
                      <a:lnTo>
                        <a:pt x="50" y="2764"/>
                      </a:lnTo>
                      <a:lnTo>
                        <a:pt x="50" y="2764"/>
                      </a:lnTo>
                      <a:lnTo>
                        <a:pt x="50" y="2764"/>
                      </a:lnTo>
                      <a:lnTo>
                        <a:pt x="43" y="2765"/>
                      </a:lnTo>
                      <a:lnTo>
                        <a:pt x="38" y="2765"/>
                      </a:lnTo>
                      <a:lnTo>
                        <a:pt x="33" y="2767"/>
                      </a:lnTo>
                      <a:lnTo>
                        <a:pt x="28" y="2769"/>
                      </a:lnTo>
                      <a:lnTo>
                        <a:pt x="23" y="2771"/>
                      </a:lnTo>
                      <a:lnTo>
                        <a:pt x="19" y="2773"/>
                      </a:lnTo>
                      <a:lnTo>
                        <a:pt x="15" y="2776"/>
                      </a:lnTo>
                      <a:lnTo>
                        <a:pt x="12" y="2780"/>
                      </a:lnTo>
                      <a:lnTo>
                        <a:pt x="6" y="2787"/>
                      </a:lnTo>
                      <a:lnTo>
                        <a:pt x="3" y="2796"/>
                      </a:lnTo>
                      <a:lnTo>
                        <a:pt x="0" y="2805"/>
                      </a:lnTo>
                      <a:lnTo>
                        <a:pt x="0" y="2814"/>
                      </a:lnTo>
                      <a:lnTo>
                        <a:pt x="0" y="2824"/>
                      </a:lnTo>
                      <a:lnTo>
                        <a:pt x="3" y="2833"/>
                      </a:lnTo>
                      <a:lnTo>
                        <a:pt x="6" y="2841"/>
                      </a:lnTo>
                      <a:lnTo>
                        <a:pt x="12" y="2848"/>
                      </a:lnTo>
                      <a:lnTo>
                        <a:pt x="15" y="2853"/>
                      </a:lnTo>
                      <a:lnTo>
                        <a:pt x="19" y="2856"/>
                      </a:lnTo>
                      <a:lnTo>
                        <a:pt x="23" y="2858"/>
                      </a:lnTo>
                      <a:lnTo>
                        <a:pt x="28" y="2860"/>
                      </a:lnTo>
                      <a:lnTo>
                        <a:pt x="33" y="2862"/>
                      </a:lnTo>
                      <a:lnTo>
                        <a:pt x="38" y="2863"/>
                      </a:lnTo>
                      <a:lnTo>
                        <a:pt x="43" y="2864"/>
                      </a:lnTo>
                      <a:lnTo>
                        <a:pt x="50"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31" name="Freeform 126"/>
                <p:cNvSpPr>
                  <a:spLocks/>
                </p:cNvSpPr>
                <p:nvPr>
                  <p:custDataLst>
                    <p:tags r:id="rId174"/>
                  </p:custDataLst>
                </p:nvPr>
              </p:nvSpPr>
              <p:spPr bwMode="auto">
                <a:xfrm>
                  <a:off x="369" y="3467"/>
                  <a:ext cx="359" cy="116"/>
                </a:xfrm>
                <a:custGeom>
                  <a:avLst/>
                  <a:gdLst>
                    <a:gd name="T0" fmla="*/ 3 w 8246"/>
                    <a:gd name="T1" fmla="*/ 127 h 2915"/>
                    <a:gd name="T2" fmla="*/ 25 w 8246"/>
                    <a:gd name="T3" fmla="*/ 278 h 2915"/>
                    <a:gd name="T4" fmla="*/ 69 w 8246"/>
                    <a:gd name="T5" fmla="*/ 427 h 2915"/>
                    <a:gd name="T6" fmla="*/ 134 w 8246"/>
                    <a:gd name="T7" fmla="*/ 572 h 2915"/>
                    <a:gd name="T8" fmla="*/ 219 w 8246"/>
                    <a:gd name="T9" fmla="*/ 714 h 2915"/>
                    <a:gd name="T10" fmla="*/ 323 w 8246"/>
                    <a:gd name="T11" fmla="*/ 853 h 2915"/>
                    <a:gd name="T12" fmla="*/ 445 w 8246"/>
                    <a:gd name="T13" fmla="*/ 989 h 2915"/>
                    <a:gd name="T14" fmla="*/ 586 w 8246"/>
                    <a:gd name="T15" fmla="*/ 1120 h 2915"/>
                    <a:gd name="T16" fmla="*/ 744 w 8246"/>
                    <a:gd name="T17" fmla="*/ 1249 h 2915"/>
                    <a:gd name="T18" fmla="*/ 919 w 8246"/>
                    <a:gd name="T19" fmla="*/ 1374 h 2915"/>
                    <a:gd name="T20" fmla="*/ 1111 w 8246"/>
                    <a:gd name="T21" fmla="*/ 1495 h 2915"/>
                    <a:gd name="T22" fmla="*/ 1318 w 8246"/>
                    <a:gd name="T23" fmla="*/ 1612 h 2915"/>
                    <a:gd name="T24" fmla="*/ 1541 w 8246"/>
                    <a:gd name="T25" fmla="*/ 1725 h 2915"/>
                    <a:gd name="T26" fmla="*/ 1779 w 8246"/>
                    <a:gd name="T27" fmla="*/ 1834 h 2915"/>
                    <a:gd name="T28" fmla="*/ 2030 w 8246"/>
                    <a:gd name="T29" fmla="*/ 1939 h 2915"/>
                    <a:gd name="T30" fmla="*/ 2297 w 8246"/>
                    <a:gd name="T31" fmla="*/ 2039 h 2915"/>
                    <a:gd name="T32" fmla="*/ 2577 w 8246"/>
                    <a:gd name="T33" fmla="*/ 2136 h 2915"/>
                    <a:gd name="T34" fmla="*/ 2869 w 8246"/>
                    <a:gd name="T35" fmla="*/ 2227 h 2915"/>
                    <a:gd name="T36" fmla="*/ 3331 w 8246"/>
                    <a:gd name="T37" fmla="*/ 2355 h 2915"/>
                    <a:gd name="T38" fmla="*/ 3987 w 8246"/>
                    <a:gd name="T39" fmla="*/ 2507 h 2915"/>
                    <a:gd name="T40" fmla="*/ 4686 w 8246"/>
                    <a:gd name="T41" fmla="*/ 2638 h 2915"/>
                    <a:gd name="T42" fmla="*/ 5422 w 8246"/>
                    <a:gd name="T43" fmla="*/ 2744 h 2915"/>
                    <a:gd name="T44" fmla="*/ 6193 w 8246"/>
                    <a:gd name="T45" fmla="*/ 2827 h 2915"/>
                    <a:gd name="T46" fmla="*/ 6995 w 8246"/>
                    <a:gd name="T47" fmla="*/ 2883 h 2915"/>
                    <a:gd name="T48" fmla="*/ 7823 w 8246"/>
                    <a:gd name="T49" fmla="*/ 2912 h 2915"/>
                    <a:gd name="T50" fmla="*/ 8034 w 8246"/>
                    <a:gd name="T51" fmla="*/ 2813 h 2915"/>
                    <a:gd name="T52" fmla="*/ 7205 w 8246"/>
                    <a:gd name="T53" fmla="*/ 2793 h 2915"/>
                    <a:gd name="T54" fmla="*/ 6400 w 8246"/>
                    <a:gd name="T55" fmla="*/ 2743 h 2915"/>
                    <a:gd name="T56" fmla="*/ 5623 w 8246"/>
                    <a:gd name="T57" fmla="*/ 2668 h 2915"/>
                    <a:gd name="T58" fmla="*/ 4881 w 8246"/>
                    <a:gd name="T59" fmla="*/ 2567 h 2915"/>
                    <a:gd name="T60" fmla="*/ 4176 w 8246"/>
                    <a:gd name="T61" fmla="*/ 2443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1 h 2915"/>
                    <a:gd name="T76" fmla="*/ 1418 w 8246"/>
                    <a:gd name="T77" fmla="*/ 1552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9 h 2915"/>
                    <a:gd name="T94" fmla="*/ 175 w 8246"/>
                    <a:gd name="T95" fmla="*/ 426 h 2915"/>
                    <a:gd name="T96" fmla="*/ 131 w 8246"/>
                    <a:gd name="T97" fmla="*/ 290 h 2915"/>
                    <a:gd name="T98" fmla="*/ 106 w 8246"/>
                    <a:gd name="T99" fmla="*/ 154 h 2915"/>
                    <a:gd name="T100" fmla="*/ 100 w 8246"/>
                    <a:gd name="T101" fmla="*/ 51 h 2915"/>
                    <a:gd name="T102" fmla="*/ 98 w 8246"/>
                    <a:gd name="T103" fmla="*/ 33 h 2915"/>
                    <a:gd name="T104" fmla="*/ 88 w 8246"/>
                    <a:gd name="T105" fmla="*/ 17 h 2915"/>
                    <a:gd name="T106" fmla="*/ 60 w 8246"/>
                    <a:gd name="T107" fmla="*/ 1 h 2915"/>
                    <a:gd name="T108" fmla="*/ 23 w 8246"/>
                    <a:gd name="T109" fmla="*/ 7 h 2915"/>
                    <a:gd name="T110" fmla="*/ 6 w 8246"/>
                    <a:gd name="T111" fmla="*/ 24 h 2915"/>
                    <a:gd name="T112" fmla="*/ 0 w 8246"/>
                    <a:gd name="T113" fmla="*/ 45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1"/>
                      </a:moveTo>
                      <a:lnTo>
                        <a:pt x="0" y="51"/>
                      </a:lnTo>
                      <a:lnTo>
                        <a:pt x="1" y="89"/>
                      </a:lnTo>
                      <a:lnTo>
                        <a:pt x="3" y="127"/>
                      </a:lnTo>
                      <a:lnTo>
                        <a:pt x="6" y="165"/>
                      </a:lnTo>
                      <a:lnTo>
                        <a:pt x="11" y="203"/>
                      </a:lnTo>
                      <a:lnTo>
                        <a:pt x="18" y="240"/>
                      </a:lnTo>
                      <a:lnTo>
                        <a:pt x="25" y="278"/>
                      </a:lnTo>
                      <a:lnTo>
                        <a:pt x="34" y="316"/>
                      </a:lnTo>
                      <a:lnTo>
                        <a:pt x="44" y="352"/>
                      </a:lnTo>
                      <a:lnTo>
                        <a:pt x="56" y="389"/>
                      </a:lnTo>
                      <a:lnTo>
                        <a:pt x="69" y="427"/>
                      </a:lnTo>
                      <a:lnTo>
                        <a:pt x="83" y="463"/>
                      </a:lnTo>
                      <a:lnTo>
                        <a:pt x="99" y="499"/>
                      </a:lnTo>
                      <a:lnTo>
                        <a:pt x="115" y="535"/>
                      </a:lnTo>
                      <a:lnTo>
                        <a:pt x="134" y="572"/>
                      </a:lnTo>
                      <a:lnTo>
                        <a:pt x="154" y="608"/>
                      </a:lnTo>
                      <a:lnTo>
                        <a:pt x="174" y="643"/>
                      </a:lnTo>
                      <a:lnTo>
                        <a:pt x="196" y="679"/>
                      </a:lnTo>
                      <a:lnTo>
                        <a:pt x="219" y="714"/>
                      </a:lnTo>
                      <a:lnTo>
                        <a:pt x="243" y="750"/>
                      </a:lnTo>
                      <a:lnTo>
                        <a:pt x="268" y="784"/>
                      </a:lnTo>
                      <a:lnTo>
                        <a:pt x="295" y="819"/>
                      </a:lnTo>
                      <a:lnTo>
                        <a:pt x="323" y="853"/>
                      </a:lnTo>
                      <a:lnTo>
                        <a:pt x="351" y="887"/>
                      </a:lnTo>
                      <a:lnTo>
                        <a:pt x="381" y="921"/>
                      </a:lnTo>
                      <a:lnTo>
                        <a:pt x="413" y="955"/>
                      </a:lnTo>
                      <a:lnTo>
                        <a:pt x="445" y="989"/>
                      </a:lnTo>
                      <a:lnTo>
                        <a:pt x="479" y="1022"/>
                      </a:lnTo>
                      <a:lnTo>
                        <a:pt x="513" y="1055"/>
                      </a:lnTo>
                      <a:lnTo>
                        <a:pt x="549" y="1088"/>
                      </a:lnTo>
                      <a:lnTo>
                        <a:pt x="586" y="1120"/>
                      </a:lnTo>
                      <a:lnTo>
                        <a:pt x="624" y="1153"/>
                      </a:lnTo>
                      <a:lnTo>
                        <a:pt x="663" y="1185"/>
                      </a:lnTo>
                      <a:lnTo>
                        <a:pt x="703" y="1216"/>
                      </a:lnTo>
                      <a:lnTo>
                        <a:pt x="744" y="1249"/>
                      </a:lnTo>
                      <a:lnTo>
                        <a:pt x="786" y="1281"/>
                      </a:lnTo>
                      <a:lnTo>
                        <a:pt x="830" y="1312"/>
                      </a:lnTo>
                      <a:lnTo>
                        <a:pt x="874" y="1343"/>
                      </a:lnTo>
                      <a:lnTo>
                        <a:pt x="919" y="1374"/>
                      </a:lnTo>
                      <a:lnTo>
                        <a:pt x="966" y="1404"/>
                      </a:lnTo>
                      <a:lnTo>
                        <a:pt x="1013" y="1435"/>
                      </a:lnTo>
                      <a:lnTo>
                        <a:pt x="1062" y="1465"/>
                      </a:lnTo>
                      <a:lnTo>
                        <a:pt x="1111" y="1495"/>
                      </a:lnTo>
                      <a:lnTo>
                        <a:pt x="1162" y="1524"/>
                      </a:lnTo>
                      <a:lnTo>
                        <a:pt x="1212" y="1554"/>
                      </a:lnTo>
                      <a:lnTo>
                        <a:pt x="1265" y="1583"/>
                      </a:lnTo>
                      <a:lnTo>
                        <a:pt x="1318" y="1612"/>
                      </a:lnTo>
                      <a:lnTo>
                        <a:pt x="1373" y="1641"/>
                      </a:lnTo>
                      <a:lnTo>
                        <a:pt x="1428" y="1669"/>
                      </a:lnTo>
                      <a:lnTo>
                        <a:pt x="1484" y="1697"/>
                      </a:lnTo>
                      <a:lnTo>
                        <a:pt x="1541" y="1725"/>
                      </a:lnTo>
                      <a:lnTo>
                        <a:pt x="1600" y="1753"/>
                      </a:lnTo>
                      <a:lnTo>
                        <a:pt x="1658" y="1779"/>
                      </a:lnTo>
                      <a:lnTo>
                        <a:pt x="1718" y="1807"/>
                      </a:lnTo>
                      <a:lnTo>
                        <a:pt x="1779" y="1834"/>
                      </a:lnTo>
                      <a:lnTo>
                        <a:pt x="1841" y="1860"/>
                      </a:lnTo>
                      <a:lnTo>
                        <a:pt x="1904" y="1887"/>
                      </a:lnTo>
                      <a:lnTo>
                        <a:pt x="1967" y="1913"/>
                      </a:lnTo>
                      <a:lnTo>
                        <a:pt x="2030" y="1939"/>
                      </a:lnTo>
                      <a:lnTo>
                        <a:pt x="2096" y="1965"/>
                      </a:lnTo>
                      <a:lnTo>
                        <a:pt x="2162" y="1990"/>
                      </a:lnTo>
                      <a:lnTo>
                        <a:pt x="2229" y="2014"/>
                      </a:lnTo>
                      <a:lnTo>
                        <a:pt x="2297" y="2039"/>
                      </a:lnTo>
                      <a:lnTo>
                        <a:pt x="2365" y="2064"/>
                      </a:lnTo>
                      <a:lnTo>
                        <a:pt x="2436" y="2088"/>
                      </a:lnTo>
                      <a:lnTo>
                        <a:pt x="2506" y="2112"/>
                      </a:lnTo>
                      <a:lnTo>
                        <a:pt x="2577" y="2136"/>
                      </a:lnTo>
                      <a:lnTo>
                        <a:pt x="2649" y="2158"/>
                      </a:lnTo>
                      <a:lnTo>
                        <a:pt x="2721" y="2182"/>
                      </a:lnTo>
                      <a:lnTo>
                        <a:pt x="2794" y="2204"/>
                      </a:lnTo>
                      <a:lnTo>
                        <a:pt x="2869" y="2227"/>
                      </a:lnTo>
                      <a:lnTo>
                        <a:pt x="2944" y="2248"/>
                      </a:lnTo>
                      <a:lnTo>
                        <a:pt x="3020" y="2270"/>
                      </a:lnTo>
                      <a:lnTo>
                        <a:pt x="3173" y="2314"/>
                      </a:lnTo>
                      <a:lnTo>
                        <a:pt x="3331" y="2355"/>
                      </a:lnTo>
                      <a:lnTo>
                        <a:pt x="3491" y="2394"/>
                      </a:lnTo>
                      <a:lnTo>
                        <a:pt x="3653" y="2434"/>
                      </a:lnTo>
                      <a:lnTo>
                        <a:pt x="3819" y="2471"/>
                      </a:lnTo>
                      <a:lnTo>
                        <a:pt x="3987" y="2507"/>
                      </a:lnTo>
                      <a:lnTo>
                        <a:pt x="4158" y="2541"/>
                      </a:lnTo>
                      <a:lnTo>
                        <a:pt x="4331" y="2574"/>
                      </a:lnTo>
                      <a:lnTo>
                        <a:pt x="4507" y="2606"/>
                      </a:lnTo>
                      <a:lnTo>
                        <a:pt x="4686" y="2638"/>
                      </a:lnTo>
                      <a:lnTo>
                        <a:pt x="4866" y="2666"/>
                      </a:lnTo>
                      <a:lnTo>
                        <a:pt x="5049" y="2693"/>
                      </a:lnTo>
                      <a:lnTo>
                        <a:pt x="5235" y="2719"/>
                      </a:lnTo>
                      <a:lnTo>
                        <a:pt x="5422" y="2744"/>
                      </a:lnTo>
                      <a:lnTo>
                        <a:pt x="5612" y="2767"/>
                      </a:lnTo>
                      <a:lnTo>
                        <a:pt x="5804" y="2789"/>
                      </a:lnTo>
                      <a:lnTo>
                        <a:pt x="5998" y="2808"/>
                      </a:lnTo>
                      <a:lnTo>
                        <a:pt x="6193" y="2827"/>
                      </a:lnTo>
                      <a:lnTo>
                        <a:pt x="6391" y="2843"/>
                      </a:lnTo>
                      <a:lnTo>
                        <a:pt x="6591" y="2858"/>
                      </a:lnTo>
                      <a:lnTo>
                        <a:pt x="6792" y="2871"/>
                      </a:lnTo>
                      <a:lnTo>
                        <a:pt x="6995" y="2883"/>
                      </a:lnTo>
                      <a:lnTo>
                        <a:pt x="7200" y="2892"/>
                      </a:lnTo>
                      <a:lnTo>
                        <a:pt x="7407" y="2900"/>
                      </a:lnTo>
                      <a:lnTo>
                        <a:pt x="7614" y="2907"/>
                      </a:lnTo>
                      <a:lnTo>
                        <a:pt x="7823" y="2912"/>
                      </a:lnTo>
                      <a:lnTo>
                        <a:pt x="8034" y="2915"/>
                      </a:lnTo>
                      <a:lnTo>
                        <a:pt x="8246" y="2915"/>
                      </a:lnTo>
                      <a:lnTo>
                        <a:pt x="8246" y="2815"/>
                      </a:lnTo>
                      <a:lnTo>
                        <a:pt x="8034" y="2813"/>
                      </a:lnTo>
                      <a:lnTo>
                        <a:pt x="7825" y="2811"/>
                      </a:lnTo>
                      <a:lnTo>
                        <a:pt x="7617" y="2807"/>
                      </a:lnTo>
                      <a:lnTo>
                        <a:pt x="7410" y="2801"/>
                      </a:lnTo>
                      <a:lnTo>
                        <a:pt x="7205" y="2793"/>
                      </a:lnTo>
                      <a:lnTo>
                        <a:pt x="7000" y="2782"/>
                      </a:lnTo>
                      <a:lnTo>
                        <a:pt x="6798" y="2771"/>
                      </a:lnTo>
                      <a:lnTo>
                        <a:pt x="6597" y="2758"/>
                      </a:lnTo>
                      <a:lnTo>
                        <a:pt x="6400" y="2743"/>
                      </a:lnTo>
                      <a:lnTo>
                        <a:pt x="6203" y="2727"/>
                      </a:lnTo>
                      <a:lnTo>
                        <a:pt x="6008" y="2709"/>
                      </a:lnTo>
                      <a:lnTo>
                        <a:pt x="5814" y="2688"/>
                      </a:lnTo>
                      <a:lnTo>
                        <a:pt x="5623" y="2668"/>
                      </a:lnTo>
                      <a:lnTo>
                        <a:pt x="5435" y="2645"/>
                      </a:lnTo>
                      <a:lnTo>
                        <a:pt x="5248" y="2620"/>
                      </a:lnTo>
                      <a:lnTo>
                        <a:pt x="5064" y="2594"/>
                      </a:lnTo>
                      <a:lnTo>
                        <a:pt x="4881" y="2567"/>
                      </a:lnTo>
                      <a:lnTo>
                        <a:pt x="4702" y="2538"/>
                      </a:lnTo>
                      <a:lnTo>
                        <a:pt x="4524" y="2508"/>
                      </a:lnTo>
                      <a:lnTo>
                        <a:pt x="4350" y="2476"/>
                      </a:lnTo>
                      <a:lnTo>
                        <a:pt x="4176" y="2443"/>
                      </a:lnTo>
                      <a:lnTo>
                        <a:pt x="4007" y="2409"/>
                      </a:lnTo>
                      <a:lnTo>
                        <a:pt x="3839" y="2373"/>
                      </a:lnTo>
                      <a:lnTo>
                        <a:pt x="3675" y="2335"/>
                      </a:lnTo>
                      <a:lnTo>
                        <a:pt x="3514" y="2297"/>
                      </a:lnTo>
                      <a:lnTo>
                        <a:pt x="3355" y="2258"/>
                      </a:lnTo>
                      <a:lnTo>
                        <a:pt x="3199" y="2216"/>
                      </a:lnTo>
                      <a:lnTo>
                        <a:pt x="3047" y="2174"/>
                      </a:lnTo>
                      <a:lnTo>
                        <a:pt x="2971" y="2152"/>
                      </a:lnTo>
                      <a:lnTo>
                        <a:pt x="2897" y="2130"/>
                      </a:lnTo>
                      <a:lnTo>
                        <a:pt x="2824" y="2109"/>
                      </a:lnTo>
                      <a:lnTo>
                        <a:pt x="2751" y="2086"/>
                      </a:lnTo>
                      <a:lnTo>
                        <a:pt x="2679" y="2063"/>
                      </a:lnTo>
                      <a:lnTo>
                        <a:pt x="2608" y="2040"/>
                      </a:lnTo>
                      <a:lnTo>
                        <a:pt x="2538" y="2016"/>
                      </a:lnTo>
                      <a:lnTo>
                        <a:pt x="2467" y="1993"/>
                      </a:lnTo>
                      <a:lnTo>
                        <a:pt x="2398" y="1969"/>
                      </a:lnTo>
                      <a:lnTo>
                        <a:pt x="2330" y="1945"/>
                      </a:lnTo>
                      <a:lnTo>
                        <a:pt x="2263" y="1920"/>
                      </a:lnTo>
                      <a:lnTo>
                        <a:pt x="2197" y="1896"/>
                      </a:lnTo>
                      <a:lnTo>
                        <a:pt x="2132" y="1871"/>
                      </a:lnTo>
                      <a:lnTo>
                        <a:pt x="2068" y="1846"/>
                      </a:lnTo>
                      <a:lnTo>
                        <a:pt x="2004" y="1820"/>
                      </a:lnTo>
                      <a:lnTo>
                        <a:pt x="1941" y="1794"/>
                      </a:lnTo>
                      <a:lnTo>
                        <a:pt x="1880" y="1768"/>
                      </a:lnTo>
                      <a:lnTo>
                        <a:pt x="1819" y="1742"/>
                      </a:lnTo>
                      <a:lnTo>
                        <a:pt x="1758" y="1715"/>
                      </a:lnTo>
                      <a:lnTo>
                        <a:pt x="1700" y="1688"/>
                      </a:lnTo>
                      <a:lnTo>
                        <a:pt x="1642" y="1661"/>
                      </a:lnTo>
                      <a:lnTo>
                        <a:pt x="1584" y="1635"/>
                      </a:lnTo>
                      <a:lnTo>
                        <a:pt x="1529" y="1607"/>
                      </a:lnTo>
                      <a:lnTo>
                        <a:pt x="1473" y="1580"/>
                      </a:lnTo>
                      <a:lnTo>
                        <a:pt x="1418" y="1552"/>
                      </a:lnTo>
                      <a:lnTo>
                        <a:pt x="1366" y="1523"/>
                      </a:lnTo>
                      <a:lnTo>
                        <a:pt x="1313" y="1495"/>
                      </a:lnTo>
                      <a:lnTo>
                        <a:pt x="1262" y="1466"/>
                      </a:lnTo>
                      <a:lnTo>
                        <a:pt x="1211" y="1437"/>
                      </a:lnTo>
                      <a:lnTo>
                        <a:pt x="1162" y="1408"/>
                      </a:lnTo>
                      <a:lnTo>
                        <a:pt x="1113" y="1379"/>
                      </a:lnTo>
                      <a:lnTo>
                        <a:pt x="1066" y="1350"/>
                      </a:lnTo>
                      <a:lnTo>
                        <a:pt x="1020" y="1320"/>
                      </a:lnTo>
                      <a:lnTo>
                        <a:pt x="975" y="1290"/>
                      </a:lnTo>
                      <a:lnTo>
                        <a:pt x="931" y="1260"/>
                      </a:lnTo>
                      <a:lnTo>
                        <a:pt x="887" y="1230"/>
                      </a:lnTo>
                      <a:lnTo>
                        <a:pt x="845" y="1199"/>
                      </a:lnTo>
                      <a:lnTo>
                        <a:pt x="804" y="1169"/>
                      </a:lnTo>
                      <a:lnTo>
                        <a:pt x="765" y="1138"/>
                      </a:lnTo>
                      <a:lnTo>
                        <a:pt x="726" y="1107"/>
                      </a:lnTo>
                      <a:lnTo>
                        <a:pt x="688" y="1076"/>
                      </a:lnTo>
                      <a:lnTo>
                        <a:pt x="651" y="1045"/>
                      </a:lnTo>
                      <a:lnTo>
                        <a:pt x="616" y="1014"/>
                      </a:lnTo>
                      <a:lnTo>
                        <a:pt x="581" y="981"/>
                      </a:lnTo>
                      <a:lnTo>
                        <a:pt x="548" y="949"/>
                      </a:lnTo>
                      <a:lnTo>
                        <a:pt x="516" y="918"/>
                      </a:lnTo>
                      <a:lnTo>
                        <a:pt x="485" y="886"/>
                      </a:lnTo>
                      <a:lnTo>
                        <a:pt x="456" y="854"/>
                      </a:lnTo>
                      <a:lnTo>
                        <a:pt x="427" y="821"/>
                      </a:lnTo>
                      <a:lnTo>
                        <a:pt x="400" y="789"/>
                      </a:lnTo>
                      <a:lnTo>
                        <a:pt x="373" y="757"/>
                      </a:lnTo>
                      <a:lnTo>
                        <a:pt x="348" y="724"/>
                      </a:lnTo>
                      <a:lnTo>
                        <a:pt x="324" y="691"/>
                      </a:lnTo>
                      <a:lnTo>
                        <a:pt x="301" y="659"/>
                      </a:lnTo>
                      <a:lnTo>
                        <a:pt x="280" y="625"/>
                      </a:lnTo>
                      <a:lnTo>
                        <a:pt x="260" y="592"/>
                      </a:lnTo>
                      <a:lnTo>
                        <a:pt x="240" y="559"/>
                      </a:lnTo>
                      <a:lnTo>
                        <a:pt x="223" y="526"/>
                      </a:lnTo>
                      <a:lnTo>
                        <a:pt x="205" y="492"/>
                      </a:lnTo>
                      <a:lnTo>
                        <a:pt x="190" y="459"/>
                      </a:lnTo>
                      <a:lnTo>
                        <a:pt x="175" y="426"/>
                      </a:lnTo>
                      <a:lnTo>
                        <a:pt x="163" y="391"/>
                      </a:lnTo>
                      <a:lnTo>
                        <a:pt x="150" y="358"/>
                      </a:lnTo>
                      <a:lnTo>
                        <a:pt x="140" y="324"/>
                      </a:lnTo>
                      <a:lnTo>
                        <a:pt x="131" y="290"/>
                      </a:lnTo>
                      <a:lnTo>
                        <a:pt x="123" y="256"/>
                      </a:lnTo>
                      <a:lnTo>
                        <a:pt x="115" y="223"/>
                      </a:lnTo>
                      <a:lnTo>
                        <a:pt x="110" y="189"/>
                      </a:lnTo>
                      <a:lnTo>
                        <a:pt x="106" y="154"/>
                      </a:lnTo>
                      <a:lnTo>
                        <a:pt x="102" y="120"/>
                      </a:lnTo>
                      <a:lnTo>
                        <a:pt x="101" y="85"/>
                      </a:lnTo>
                      <a:lnTo>
                        <a:pt x="100" y="51"/>
                      </a:lnTo>
                      <a:lnTo>
                        <a:pt x="100" y="51"/>
                      </a:lnTo>
                      <a:lnTo>
                        <a:pt x="100" y="51"/>
                      </a:lnTo>
                      <a:lnTo>
                        <a:pt x="100" y="45"/>
                      </a:lnTo>
                      <a:lnTo>
                        <a:pt x="99" y="39"/>
                      </a:lnTo>
                      <a:lnTo>
                        <a:pt x="98" y="33"/>
                      </a:lnTo>
                      <a:lnTo>
                        <a:pt x="96" y="29"/>
                      </a:lnTo>
                      <a:lnTo>
                        <a:pt x="94" y="24"/>
                      </a:lnTo>
                      <a:lnTo>
                        <a:pt x="91" y="20"/>
                      </a:lnTo>
                      <a:lnTo>
                        <a:pt x="88" y="17"/>
                      </a:lnTo>
                      <a:lnTo>
                        <a:pt x="85" y="13"/>
                      </a:lnTo>
                      <a:lnTo>
                        <a:pt x="77" y="7"/>
                      </a:lnTo>
                      <a:lnTo>
                        <a:pt x="68" y="3"/>
                      </a:lnTo>
                      <a:lnTo>
                        <a:pt x="60" y="1"/>
                      </a:lnTo>
                      <a:lnTo>
                        <a:pt x="51" y="0"/>
                      </a:lnTo>
                      <a:lnTo>
                        <a:pt x="40" y="1"/>
                      </a:lnTo>
                      <a:lnTo>
                        <a:pt x="32" y="3"/>
                      </a:lnTo>
                      <a:lnTo>
                        <a:pt x="23" y="7"/>
                      </a:lnTo>
                      <a:lnTo>
                        <a:pt x="15" y="13"/>
                      </a:lnTo>
                      <a:lnTo>
                        <a:pt x="12" y="17"/>
                      </a:lnTo>
                      <a:lnTo>
                        <a:pt x="9" y="20"/>
                      </a:lnTo>
                      <a:lnTo>
                        <a:pt x="6" y="24"/>
                      </a:lnTo>
                      <a:lnTo>
                        <a:pt x="4" y="29"/>
                      </a:lnTo>
                      <a:lnTo>
                        <a:pt x="2" y="33"/>
                      </a:lnTo>
                      <a:lnTo>
                        <a:pt x="1" y="39"/>
                      </a:lnTo>
                      <a:lnTo>
                        <a:pt x="0" y="45"/>
                      </a:lnTo>
                      <a:lnTo>
                        <a:pt x="0" y="51"/>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32" name="Freeform 127"/>
                <p:cNvSpPr>
                  <a:spLocks/>
                </p:cNvSpPr>
                <p:nvPr>
                  <p:custDataLst>
                    <p:tags r:id="rId175"/>
                  </p:custDataLst>
                </p:nvPr>
              </p:nvSpPr>
              <p:spPr bwMode="auto">
                <a:xfrm>
                  <a:off x="369" y="3354"/>
                  <a:ext cx="361" cy="115"/>
                </a:xfrm>
                <a:custGeom>
                  <a:avLst/>
                  <a:gdLst>
                    <a:gd name="T0" fmla="*/ 7823 w 8296"/>
                    <a:gd name="T1" fmla="*/ 4 h 2865"/>
                    <a:gd name="T2" fmla="*/ 6995 w 8296"/>
                    <a:gd name="T3" fmla="*/ 33 h 2865"/>
                    <a:gd name="T4" fmla="*/ 6193 w 8296"/>
                    <a:gd name="T5" fmla="*/ 89 h 2865"/>
                    <a:gd name="T6" fmla="*/ 5422 w 8296"/>
                    <a:gd name="T7" fmla="*/ 171 h 2865"/>
                    <a:gd name="T8" fmla="*/ 4686 w 8296"/>
                    <a:gd name="T9" fmla="*/ 278 h 2865"/>
                    <a:gd name="T10" fmla="*/ 3987 w 8296"/>
                    <a:gd name="T11" fmla="*/ 409 h 2865"/>
                    <a:gd name="T12" fmla="*/ 3331 w 8296"/>
                    <a:gd name="T13" fmla="*/ 561 h 2865"/>
                    <a:gd name="T14" fmla="*/ 2721 w 8296"/>
                    <a:gd name="T15" fmla="*/ 734 h 2865"/>
                    <a:gd name="T16" fmla="*/ 2436 w 8296"/>
                    <a:gd name="T17" fmla="*/ 827 h 2865"/>
                    <a:gd name="T18" fmla="*/ 2162 w 8296"/>
                    <a:gd name="T19" fmla="*/ 925 h 2865"/>
                    <a:gd name="T20" fmla="*/ 1904 w 8296"/>
                    <a:gd name="T21" fmla="*/ 1029 h 2865"/>
                    <a:gd name="T22" fmla="*/ 1658 w 8296"/>
                    <a:gd name="T23" fmla="*/ 1135 h 2865"/>
                    <a:gd name="T24" fmla="*/ 1428 w 8296"/>
                    <a:gd name="T25" fmla="*/ 1247 h 2865"/>
                    <a:gd name="T26" fmla="*/ 1212 w 8296"/>
                    <a:gd name="T27" fmla="*/ 1362 h 2865"/>
                    <a:gd name="T28" fmla="*/ 1013 w 8296"/>
                    <a:gd name="T29" fmla="*/ 1481 h 2865"/>
                    <a:gd name="T30" fmla="*/ 830 w 8296"/>
                    <a:gd name="T31" fmla="*/ 1604 h 2865"/>
                    <a:gd name="T32" fmla="*/ 663 w 8296"/>
                    <a:gd name="T33" fmla="*/ 1731 h 2865"/>
                    <a:gd name="T34" fmla="*/ 513 w 8296"/>
                    <a:gd name="T35" fmla="*/ 1861 h 2865"/>
                    <a:gd name="T36" fmla="*/ 381 w 8296"/>
                    <a:gd name="T37" fmla="*/ 1995 h 2865"/>
                    <a:gd name="T38" fmla="*/ 268 w 8296"/>
                    <a:gd name="T39" fmla="*/ 2131 h 2865"/>
                    <a:gd name="T40" fmla="*/ 174 w 8296"/>
                    <a:gd name="T41" fmla="*/ 2272 h 2865"/>
                    <a:gd name="T42" fmla="*/ 99 w 8296"/>
                    <a:gd name="T43" fmla="*/ 2416 h 2865"/>
                    <a:gd name="T44" fmla="*/ 44 w 8296"/>
                    <a:gd name="T45" fmla="*/ 2563 h 2865"/>
                    <a:gd name="T46" fmla="*/ 11 w 8296"/>
                    <a:gd name="T47" fmla="*/ 2713 h 2865"/>
                    <a:gd name="T48" fmla="*/ 0 w 8296"/>
                    <a:gd name="T49" fmla="*/ 2865 h 2865"/>
                    <a:gd name="T50" fmla="*/ 106 w 8296"/>
                    <a:gd name="T51" fmla="*/ 2761 h 2865"/>
                    <a:gd name="T52" fmla="*/ 131 w 8296"/>
                    <a:gd name="T53" fmla="*/ 2625 h 2865"/>
                    <a:gd name="T54" fmla="*/ 175 w 8296"/>
                    <a:gd name="T55" fmla="*/ 2490 h 2865"/>
                    <a:gd name="T56" fmla="*/ 240 w 8296"/>
                    <a:gd name="T57" fmla="*/ 2357 h 2865"/>
                    <a:gd name="T58" fmla="*/ 324 w 8296"/>
                    <a:gd name="T59" fmla="*/ 2224 h 2865"/>
                    <a:gd name="T60" fmla="*/ 427 w 8296"/>
                    <a:gd name="T61" fmla="*/ 2094 h 2865"/>
                    <a:gd name="T62" fmla="*/ 548 w 8296"/>
                    <a:gd name="T63" fmla="*/ 1966 h 2865"/>
                    <a:gd name="T64" fmla="*/ 688 w 8296"/>
                    <a:gd name="T65" fmla="*/ 1839 h 2865"/>
                    <a:gd name="T66" fmla="*/ 845 w 8296"/>
                    <a:gd name="T67" fmla="*/ 1716 h 2865"/>
                    <a:gd name="T68" fmla="*/ 1020 w 8296"/>
                    <a:gd name="T69" fmla="*/ 1596 h 2865"/>
                    <a:gd name="T70" fmla="*/ 1211 w 8296"/>
                    <a:gd name="T71" fmla="*/ 1478 h 2865"/>
                    <a:gd name="T72" fmla="*/ 1418 w 8296"/>
                    <a:gd name="T73" fmla="*/ 1364 h 2865"/>
                    <a:gd name="T74" fmla="*/ 1642 w 8296"/>
                    <a:gd name="T75" fmla="*/ 1253 h 2865"/>
                    <a:gd name="T76" fmla="*/ 1880 w 8296"/>
                    <a:gd name="T77" fmla="*/ 1147 h 2865"/>
                    <a:gd name="T78" fmla="*/ 2132 w 8296"/>
                    <a:gd name="T79" fmla="*/ 1044 h 2865"/>
                    <a:gd name="T80" fmla="*/ 2398 w 8296"/>
                    <a:gd name="T81" fmla="*/ 946 h 2865"/>
                    <a:gd name="T82" fmla="*/ 2679 w 8296"/>
                    <a:gd name="T83" fmla="*/ 852 h 2865"/>
                    <a:gd name="T84" fmla="*/ 3199 w 8296"/>
                    <a:gd name="T85" fmla="*/ 700 h 2865"/>
                    <a:gd name="T86" fmla="*/ 3839 w 8296"/>
                    <a:gd name="T87" fmla="*/ 543 h 2865"/>
                    <a:gd name="T88" fmla="*/ 4524 w 8296"/>
                    <a:gd name="T89" fmla="*/ 408 h 2865"/>
                    <a:gd name="T90" fmla="*/ 5248 w 8296"/>
                    <a:gd name="T91" fmla="*/ 295 h 2865"/>
                    <a:gd name="T92" fmla="*/ 6008 w 8296"/>
                    <a:gd name="T93" fmla="*/ 207 h 2865"/>
                    <a:gd name="T94" fmla="*/ 6798 w 8296"/>
                    <a:gd name="T95" fmla="*/ 144 h 2865"/>
                    <a:gd name="T96" fmla="*/ 7617 w 8296"/>
                    <a:gd name="T97" fmla="*/ 109 h 2865"/>
                    <a:gd name="T98" fmla="*/ 8246 w 8296"/>
                    <a:gd name="T99" fmla="*/ 100 h 2865"/>
                    <a:gd name="T100" fmla="*/ 8263 w 8296"/>
                    <a:gd name="T101" fmla="*/ 98 h 2865"/>
                    <a:gd name="T102" fmla="*/ 8280 w 8296"/>
                    <a:gd name="T103" fmla="*/ 88 h 2865"/>
                    <a:gd name="T104" fmla="*/ 8295 w 8296"/>
                    <a:gd name="T105" fmla="*/ 60 h 2865"/>
                    <a:gd name="T106" fmla="*/ 8289 w 8296"/>
                    <a:gd name="T107" fmla="*/ 24 h 2865"/>
                    <a:gd name="T108" fmla="*/ 8272 w 8296"/>
                    <a:gd name="T109" fmla="*/ 6 h 2865"/>
                    <a:gd name="T110" fmla="*/ 8252 w 8296"/>
                    <a:gd name="T111" fmla="*/ 0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5">
                      <a:moveTo>
                        <a:pt x="8246" y="0"/>
                      </a:moveTo>
                      <a:lnTo>
                        <a:pt x="8246" y="0"/>
                      </a:lnTo>
                      <a:lnTo>
                        <a:pt x="8034" y="1"/>
                      </a:lnTo>
                      <a:lnTo>
                        <a:pt x="7823" y="4"/>
                      </a:lnTo>
                      <a:lnTo>
                        <a:pt x="7614" y="8"/>
                      </a:lnTo>
                      <a:lnTo>
                        <a:pt x="7407" y="14"/>
                      </a:lnTo>
                      <a:lnTo>
                        <a:pt x="7200" y="23"/>
                      </a:lnTo>
                      <a:lnTo>
                        <a:pt x="6995" y="33"/>
                      </a:lnTo>
                      <a:lnTo>
                        <a:pt x="6792" y="45"/>
                      </a:lnTo>
                      <a:lnTo>
                        <a:pt x="6591" y="57"/>
                      </a:lnTo>
                      <a:lnTo>
                        <a:pt x="6391" y="72"/>
                      </a:lnTo>
                      <a:lnTo>
                        <a:pt x="6193" y="89"/>
                      </a:lnTo>
                      <a:lnTo>
                        <a:pt x="5998" y="108"/>
                      </a:lnTo>
                      <a:lnTo>
                        <a:pt x="5804" y="127"/>
                      </a:lnTo>
                      <a:lnTo>
                        <a:pt x="5612" y="148"/>
                      </a:lnTo>
                      <a:lnTo>
                        <a:pt x="5422" y="171"/>
                      </a:lnTo>
                      <a:lnTo>
                        <a:pt x="5235" y="196"/>
                      </a:lnTo>
                      <a:lnTo>
                        <a:pt x="5049" y="221"/>
                      </a:lnTo>
                      <a:lnTo>
                        <a:pt x="4866" y="249"/>
                      </a:lnTo>
                      <a:lnTo>
                        <a:pt x="4686" y="278"/>
                      </a:lnTo>
                      <a:lnTo>
                        <a:pt x="4507" y="308"/>
                      </a:lnTo>
                      <a:lnTo>
                        <a:pt x="4331" y="341"/>
                      </a:lnTo>
                      <a:lnTo>
                        <a:pt x="4158" y="374"/>
                      </a:lnTo>
                      <a:lnTo>
                        <a:pt x="3987" y="409"/>
                      </a:lnTo>
                      <a:lnTo>
                        <a:pt x="3819" y="445"/>
                      </a:lnTo>
                      <a:lnTo>
                        <a:pt x="3653" y="482"/>
                      </a:lnTo>
                      <a:lnTo>
                        <a:pt x="3491" y="521"/>
                      </a:lnTo>
                      <a:lnTo>
                        <a:pt x="3331" y="561"/>
                      </a:lnTo>
                      <a:lnTo>
                        <a:pt x="3173" y="602"/>
                      </a:lnTo>
                      <a:lnTo>
                        <a:pt x="3020" y="645"/>
                      </a:lnTo>
                      <a:lnTo>
                        <a:pt x="2869" y="689"/>
                      </a:lnTo>
                      <a:lnTo>
                        <a:pt x="2721" y="734"/>
                      </a:lnTo>
                      <a:lnTo>
                        <a:pt x="2649" y="757"/>
                      </a:lnTo>
                      <a:lnTo>
                        <a:pt x="2577" y="780"/>
                      </a:lnTo>
                      <a:lnTo>
                        <a:pt x="2506" y="803"/>
                      </a:lnTo>
                      <a:lnTo>
                        <a:pt x="2436" y="827"/>
                      </a:lnTo>
                      <a:lnTo>
                        <a:pt x="2365" y="852"/>
                      </a:lnTo>
                      <a:lnTo>
                        <a:pt x="2297" y="876"/>
                      </a:lnTo>
                      <a:lnTo>
                        <a:pt x="2229" y="900"/>
                      </a:lnTo>
                      <a:lnTo>
                        <a:pt x="2162" y="925"/>
                      </a:lnTo>
                      <a:lnTo>
                        <a:pt x="2096" y="951"/>
                      </a:lnTo>
                      <a:lnTo>
                        <a:pt x="2030" y="976"/>
                      </a:lnTo>
                      <a:lnTo>
                        <a:pt x="1967" y="1002"/>
                      </a:lnTo>
                      <a:lnTo>
                        <a:pt x="1904" y="1029"/>
                      </a:lnTo>
                      <a:lnTo>
                        <a:pt x="1841" y="1055"/>
                      </a:lnTo>
                      <a:lnTo>
                        <a:pt x="1779" y="1082"/>
                      </a:lnTo>
                      <a:lnTo>
                        <a:pt x="1718" y="1109"/>
                      </a:lnTo>
                      <a:lnTo>
                        <a:pt x="1658" y="1135"/>
                      </a:lnTo>
                      <a:lnTo>
                        <a:pt x="1600" y="1163"/>
                      </a:lnTo>
                      <a:lnTo>
                        <a:pt x="1541" y="1190"/>
                      </a:lnTo>
                      <a:lnTo>
                        <a:pt x="1484" y="1218"/>
                      </a:lnTo>
                      <a:lnTo>
                        <a:pt x="1428" y="1247"/>
                      </a:lnTo>
                      <a:lnTo>
                        <a:pt x="1373" y="1275"/>
                      </a:lnTo>
                      <a:lnTo>
                        <a:pt x="1318" y="1304"/>
                      </a:lnTo>
                      <a:lnTo>
                        <a:pt x="1265" y="1333"/>
                      </a:lnTo>
                      <a:lnTo>
                        <a:pt x="1212" y="1362"/>
                      </a:lnTo>
                      <a:lnTo>
                        <a:pt x="1162" y="1391"/>
                      </a:lnTo>
                      <a:lnTo>
                        <a:pt x="1111" y="1421"/>
                      </a:lnTo>
                      <a:lnTo>
                        <a:pt x="1062" y="1451"/>
                      </a:lnTo>
                      <a:lnTo>
                        <a:pt x="1013" y="1481"/>
                      </a:lnTo>
                      <a:lnTo>
                        <a:pt x="966" y="1511"/>
                      </a:lnTo>
                      <a:lnTo>
                        <a:pt x="919" y="1542"/>
                      </a:lnTo>
                      <a:lnTo>
                        <a:pt x="874" y="1573"/>
                      </a:lnTo>
                      <a:lnTo>
                        <a:pt x="830" y="1604"/>
                      </a:lnTo>
                      <a:lnTo>
                        <a:pt x="786" y="1635"/>
                      </a:lnTo>
                      <a:lnTo>
                        <a:pt x="744" y="1666"/>
                      </a:lnTo>
                      <a:lnTo>
                        <a:pt x="703" y="1698"/>
                      </a:lnTo>
                      <a:lnTo>
                        <a:pt x="663" y="1731"/>
                      </a:lnTo>
                      <a:lnTo>
                        <a:pt x="624" y="1763"/>
                      </a:lnTo>
                      <a:lnTo>
                        <a:pt x="586" y="1795"/>
                      </a:lnTo>
                      <a:lnTo>
                        <a:pt x="549" y="1828"/>
                      </a:lnTo>
                      <a:lnTo>
                        <a:pt x="513" y="1861"/>
                      </a:lnTo>
                      <a:lnTo>
                        <a:pt x="479" y="1894"/>
                      </a:lnTo>
                      <a:lnTo>
                        <a:pt x="445" y="1927"/>
                      </a:lnTo>
                      <a:lnTo>
                        <a:pt x="413" y="1960"/>
                      </a:lnTo>
                      <a:lnTo>
                        <a:pt x="381" y="1995"/>
                      </a:lnTo>
                      <a:lnTo>
                        <a:pt x="351" y="2029"/>
                      </a:lnTo>
                      <a:lnTo>
                        <a:pt x="323" y="2063"/>
                      </a:lnTo>
                      <a:lnTo>
                        <a:pt x="295" y="2097"/>
                      </a:lnTo>
                      <a:lnTo>
                        <a:pt x="268" y="2131"/>
                      </a:lnTo>
                      <a:lnTo>
                        <a:pt x="243" y="2166"/>
                      </a:lnTo>
                      <a:lnTo>
                        <a:pt x="219" y="2202"/>
                      </a:lnTo>
                      <a:lnTo>
                        <a:pt x="196" y="2237"/>
                      </a:lnTo>
                      <a:lnTo>
                        <a:pt x="174" y="2272"/>
                      </a:lnTo>
                      <a:lnTo>
                        <a:pt x="154" y="2308"/>
                      </a:lnTo>
                      <a:lnTo>
                        <a:pt x="134" y="2343"/>
                      </a:lnTo>
                      <a:lnTo>
                        <a:pt x="115" y="2380"/>
                      </a:lnTo>
                      <a:lnTo>
                        <a:pt x="99" y="2416"/>
                      </a:lnTo>
                      <a:lnTo>
                        <a:pt x="83" y="2452"/>
                      </a:lnTo>
                      <a:lnTo>
                        <a:pt x="69" y="2489"/>
                      </a:lnTo>
                      <a:lnTo>
                        <a:pt x="56" y="2525"/>
                      </a:lnTo>
                      <a:lnTo>
                        <a:pt x="44" y="2563"/>
                      </a:lnTo>
                      <a:lnTo>
                        <a:pt x="34" y="2600"/>
                      </a:lnTo>
                      <a:lnTo>
                        <a:pt x="25" y="2637"/>
                      </a:lnTo>
                      <a:lnTo>
                        <a:pt x="18" y="2676"/>
                      </a:lnTo>
                      <a:lnTo>
                        <a:pt x="11" y="2713"/>
                      </a:lnTo>
                      <a:lnTo>
                        <a:pt x="6" y="2750"/>
                      </a:lnTo>
                      <a:lnTo>
                        <a:pt x="3" y="2788"/>
                      </a:lnTo>
                      <a:lnTo>
                        <a:pt x="1" y="2827"/>
                      </a:lnTo>
                      <a:lnTo>
                        <a:pt x="0" y="2865"/>
                      </a:lnTo>
                      <a:lnTo>
                        <a:pt x="100" y="2865"/>
                      </a:lnTo>
                      <a:lnTo>
                        <a:pt x="101" y="2830"/>
                      </a:lnTo>
                      <a:lnTo>
                        <a:pt x="102" y="2796"/>
                      </a:lnTo>
                      <a:lnTo>
                        <a:pt x="106" y="2761"/>
                      </a:lnTo>
                      <a:lnTo>
                        <a:pt x="110" y="2727"/>
                      </a:lnTo>
                      <a:lnTo>
                        <a:pt x="115" y="2693"/>
                      </a:lnTo>
                      <a:lnTo>
                        <a:pt x="123" y="2659"/>
                      </a:lnTo>
                      <a:lnTo>
                        <a:pt x="131" y="2625"/>
                      </a:lnTo>
                      <a:lnTo>
                        <a:pt x="140" y="2592"/>
                      </a:lnTo>
                      <a:lnTo>
                        <a:pt x="150" y="2558"/>
                      </a:lnTo>
                      <a:lnTo>
                        <a:pt x="163" y="2524"/>
                      </a:lnTo>
                      <a:lnTo>
                        <a:pt x="175" y="2490"/>
                      </a:lnTo>
                      <a:lnTo>
                        <a:pt x="190" y="2457"/>
                      </a:lnTo>
                      <a:lnTo>
                        <a:pt x="205" y="2423"/>
                      </a:lnTo>
                      <a:lnTo>
                        <a:pt x="223" y="2390"/>
                      </a:lnTo>
                      <a:lnTo>
                        <a:pt x="240" y="2357"/>
                      </a:lnTo>
                      <a:lnTo>
                        <a:pt x="260" y="2324"/>
                      </a:lnTo>
                      <a:lnTo>
                        <a:pt x="279" y="2291"/>
                      </a:lnTo>
                      <a:lnTo>
                        <a:pt x="301" y="2257"/>
                      </a:lnTo>
                      <a:lnTo>
                        <a:pt x="324" y="2224"/>
                      </a:lnTo>
                      <a:lnTo>
                        <a:pt x="348" y="2192"/>
                      </a:lnTo>
                      <a:lnTo>
                        <a:pt x="373" y="2159"/>
                      </a:lnTo>
                      <a:lnTo>
                        <a:pt x="400" y="2127"/>
                      </a:lnTo>
                      <a:lnTo>
                        <a:pt x="427" y="2094"/>
                      </a:lnTo>
                      <a:lnTo>
                        <a:pt x="456" y="2062"/>
                      </a:lnTo>
                      <a:lnTo>
                        <a:pt x="485" y="2030"/>
                      </a:lnTo>
                      <a:lnTo>
                        <a:pt x="516" y="1998"/>
                      </a:lnTo>
                      <a:lnTo>
                        <a:pt x="548" y="1966"/>
                      </a:lnTo>
                      <a:lnTo>
                        <a:pt x="581" y="1934"/>
                      </a:lnTo>
                      <a:lnTo>
                        <a:pt x="616" y="1902"/>
                      </a:lnTo>
                      <a:lnTo>
                        <a:pt x="651" y="1871"/>
                      </a:lnTo>
                      <a:lnTo>
                        <a:pt x="688" y="1839"/>
                      </a:lnTo>
                      <a:lnTo>
                        <a:pt x="726" y="1808"/>
                      </a:lnTo>
                      <a:lnTo>
                        <a:pt x="765" y="1777"/>
                      </a:lnTo>
                      <a:lnTo>
                        <a:pt x="804" y="1747"/>
                      </a:lnTo>
                      <a:lnTo>
                        <a:pt x="845" y="1716"/>
                      </a:lnTo>
                      <a:lnTo>
                        <a:pt x="887" y="1686"/>
                      </a:lnTo>
                      <a:lnTo>
                        <a:pt x="931" y="1656"/>
                      </a:lnTo>
                      <a:lnTo>
                        <a:pt x="975" y="1625"/>
                      </a:lnTo>
                      <a:lnTo>
                        <a:pt x="1020" y="1596"/>
                      </a:lnTo>
                      <a:lnTo>
                        <a:pt x="1066" y="1566"/>
                      </a:lnTo>
                      <a:lnTo>
                        <a:pt x="1113" y="1537"/>
                      </a:lnTo>
                      <a:lnTo>
                        <a:pt x="1162" y="1507"/>
                      </a:lnTo>
                      <a:lnTo>
                        <a:pt x="1211" y="1478"/>
                      </a:lnTo>
                      <a:lnTo>
                        <a:pt x="1262" y="1449"/>
                      </a:lnTo>
                      <a:lnTo>
                        <a:pt x="1313" y="1421"/>
                      </a:lnTo>
                      <a:lnTo>
                        <a:pt x="1366" y="1392"/>
                      </a:lnTo>
                      <a:lnTo>
                        <a:pt x="1418" y="1364"/>
                      </a:lnTo>
                      <a:lnTo>
                        <a:pt x="1473" y="1336"/>
                      </a:lnTo>
                      <a:lnTo>
                        <a:pt x="1529" y="1308"/>
                      </a:lnTo>
                      <a:lnTo>
                        <a:pt x="1584" y="1281"/>
                      </a:lnTo>
                      <a:lnTo>
                        <a:pt x="1642" y="1253"/>
                      </a:lnTo>
                      <a:lnTo>
                        <a:pt x="1700" y="1227"/>
                      </a:lnTo>
                      <a:lnTo>
                        <a:pt x="1758" y="1200"/>
                      </a:lnTo>
                      <a:lnTo>
                        <a:pt x="1819" y="1174"/>
                      </a:lnTo>
                      <a:lnTo>
                        <a:pt x="1880" y="1147"/>
                      </a:lnTo>
                      <a:lnTo>
                        <a:pt x="1941" y="1121"/>
                      </a:lnTo>
                      <a:lnTo>
                        <a:pt x="2004" y="1095"/>
                      </a:lnTo>
                      <a:lnTo>
                        <a:pt x="2068" y="1070"/>
                      </a:lnTo>
                      <a:lnTo>
                        <a:pt x="2132" y="1044"/>
                      </a:lnTo>
                      <a:lnTo>
                        <a:pt x="2197" y="1020"/>
                      </a:lnTo>
                      <a:lnTo>
                        <a:pt x="2263" y="995"/>
                      </a:lnTo>
                      <a:lnTo>
                        <a:pt x="2330" y="971"/>
                      </a:lnTo>
                      <a:lnTo>
                        <a:pt x="2398" y="946"/>
                      </a:lnTo>
                      <a:lnTo>
                        <a:pt x="2467" y="922"/>
                      </a:lnTo>
                      <a:lnTo>
                        <a:pt x="2538" y="898"/>
                      </a:lnTo>
                      <a:lnTo>
                        <a:pt x="2608" y="876"/>
                      </a:lnTo>
                      <a:lnTo>
                        <a:pt x="2679" y="852"/>
                      </a:lnTo>
                      <a:lnTo>
                        <a:pt x="2751" y="830"/>
                      </a:lnTo>
                      <a:lnTo>
                        <a:pt x="2897" y="785"/>
                      </a:lnTo>
                      <a:lnTo>
                        <a:pt x="3047" y="741"/>
                      </a:lnTo>
                      <a:lnTo>
                        <a:pt x="3199" y="700"/>
                      </a:lnTo>
                      <a:lnTo>
                        <a:pt x="3355" y="658"/>
                      </a:lnTo>
                      <a:lnTo>
                        <a:pt x="3514" y="619"/>
                      </a:lnTo>
                      <a:lnTo>
                        <a:pt x="3675" y="580"/>
                      </a:lnTo>
                      <a:lnTo>
                        <a:pt x="3839" y="543"/>
                      </a:lnTo>
                      <a:lnTo>
                        <a:pt x="4007" y="507"/>
                      </a:lnTo>
                      <a:lnTo>
                        <a:pt x="4176" y="473"/>
                      </a:lnTo>
                      <a:lnTo>
                        <a:pt x="4350" y="440"/>
                      </a:lnTo>
                      <a:lnTo>
                        <a:pt x="4524" y="408"/>
                      </a:lnTo>
                      <a:lnTo>
                        <a:pt x="4702" y="378"/>
                      </a:lnTo>
                      <a:lnTo>
                        <a:pt x="4881" y="349"/>
                      </a:lnTo>
                      <a:lnTo>
                        <a:pt x="5064" y="321"/>
                      </a:lnTo>
                      <a:lnTo>
                        <a:pt x="5248" y="295"/>
                      </a:lnTo>
                      <a:lnTo>
                        <a:pt x="5435" y="271"/>
                      </a:lnTo>
                      <a:lnTo>
                        <a:pt x="5623" y="248"/>
                      </a:lnTo>
                      <a:lnTo>
                        <a:pt x="5814" y="227"/>
                      </a:lnTo>
                      <a:lnTo>
                        <a:pt x="6008" y="207"/>
                      </a:lnTo>
                      <a:lnTo>
                        <a:pt x="6203" y="189"/>
                      </a:lnTo>
                      <a:lnTo>
                        <a:pt x="6400" y="173"/>
                      </a:lnTo>
                      <a:lnTo>
                        <a:pt x="6597" y="157"/>
                      </a:lnTo>
                      <a:lnTo>
                        <a:pt x="6798" y="144"/>
                      </a:lnTo>
                      <a:lnTo>
                        <a:pt x="7000" y="132"/>
                      </a:lnTo>
                      <a:lnTo>
                        <a:pt x="7205" y="123"/>
                      </a:lnTo>
                      <a:lnTo>
                        <a:pt x="7410" y="115"/>
                      </a:lnTo>
                      <a:lnTo>
                        <a:pt x="7617" y="109"/>
                      </a:lnTo>
                      <a:lnTo>
                        <a:pt x="7825" y="105"/>
                      </a:lnTo>
                      <a:lnTo>
                        <a:pt x="8034" y="101"/>
                      </a:lnTo>
                      <a:lnTo>
                        <a:pt x="8246" y="100"/>
                      </a:lnTo>
                      <a:lnTo>
                        <a:pt x="8246" y="100"/>
                      </a:lnTo>
                      <a:lnTo>
                        <a:pt x="8246" y="100"/>
                      </a:lnTo>
                      <a:lnTo>
                        <a:pt x="8252" y="100"/>
                      </a:lnTo>
                      <a:lnTo>
                        <a:pt x="8257" y="99"/>
                      </a:lnTo>
                      <a:lnTo>
                        <a:pt x="8263" y="98"/>
                      </a:lnTo>
                      <a:lnTo>
                        <a:pt x="8267" y="96"/>
                      </a:lnTo>
                      <a:lnTo>
                        <a:pt x="8272" y="94"/>
                      </a:lnTo>
                      <a:lnTo>
                        <a:pt x="8276" y="91"/>
                      </a:lnTo>
                      <a:lnTo>
                        <a:pt x="8280" y="88"/>
                      </a:lnTo>
                      <a:lnTo>
                        <a:pt x="8284" y="85"/>
                      </a:lnTo>
                      <a:lnTo>
                        <a:pt x="8289" y="78"/>
                      </a:lnTo>
                      <a:lnTo>
                        <a:pt x="8293" y="68"/>
                      </a:lnTo>
                      <a:lnTo>
                        <a:pt x="8295" y="60"/>
                      </a:lnTo>
                      <a:lnTo>
                        <a:pt x="8296" y="51"/>
                      </a:lnTo>
                      <a:lnTo>
                        <a:pt x="8295" y="41"/>
                      </a:lnTo>
                      <a:lnTo>
                        <a:pt x="8293" y="32"/>
                      </a:lnTo>
                      <a:lnTo>
                        <a:pt x="8289" y="24"/>
                      </a:lnTo>
                      <a:lnTo>
                        <a:pt x="8284" y="16"/>
                      </a:lnTo>
                      <a:lnTo>
                        <a:pt x="8280" y="12"/>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33" name="Freeform 128"/>
                <p:cNvSpPr>
                  <a:spLocks/>
                </p:cNvSpPr>
                <p:nvPr>
                  <p:custDataLst>
                    <p:tags r:id="rId176"/>
                  </p:custDataLst>
                </p:nvPr>
              </p:nvSpPr>
              <p:spPr bwMode="auto">
                <a:xfrm>
                  <a:off x="728" y="3354"/>
                  <a:ext cx="358" cy="115"/>
                </a:xfrm>
                <a:custGeom>
                  <a:avLst/>
                  <a:gdLst>
                    <a:gd name="T0" fmla="*/ 8239 w 8245"/>
                    <a:gd name="T1" fmla="*/ 2750 h 2865"/>
                    <a:gd name="T2" fmla="*/ 8211 w 8245"/>
                    <a:gd name="T3" fmla="*/ 2600 h 2865"/>
                    <a:gd name="T4" fmla="*/ 8162 w 8245"/>
                    <a:gd name="T5" fmla="*/ 2452 h 2865"/>
                    <a:gd name="T6" fmla="*/ 8091 w 8245"/>
                    <a:gd name="T7" fmla="*/ 2308 h 2865"/>
                    <a:gd name="T8" fmla="*/ 8002 w 8245"/>
                    <a:gd name="T9" fmla="*/ 2166 h 2865"/>
                    <a:gd name="T10" fmla="*/ 7894 w 8245"/>
                    <a:gd name="T11" fmla="*/ 2029 h 2865"/>
                    <a:gd name="T12" fmla="*/ 7766 w 8245"/>
                    <a:gd name="T13" fmla="*/ 1894 h 2865"/>
                    <a:gd name="T14" fmla="*/ 7620 w 8245"/>
                    <a:gd name="T15" fmla="*/ 1763 h 2865"/>
                    <a:gd name="T16" fmla="*/ 7459 w 8245"/>
                    <a:gd name="T17" fmla="*/ 1635 h 2865"/>
                    <a:gd name="T18" fmla="*/ 7279 w 8245"/>
                    <a:gd name="T19" fmla="*/ 1511 h 2865"/>
                    <a:gd name="T20" fmla="*/ 7083 w 8245"/>
                    <a:gd name="T21" fmla="*/ 1391 h 2865"/>
                    <a:gd name="T22" fmla="*/ 6872 w 8245"/>
                    <a:gd name="T23" fmla="*/ 1275 h 2865"/>
                    <a:gd name="T24" fmla="*/ 6645 w 8245"/>
                    <a:gd name="T25" fmla="*/ 1163 h 2865"/>
                    <a:gd name="T26" fmla="*/ 6404 w 8245"/>
                    <a:gd name="T27" fmla="*/ 1055 h 2865"/>
                    <a:gd name="T28" fmla="*/ 6149 w 8245"/>
                    <a:gd name="T29" fmla="*/ 951 h 2865"/>
                    <a:gd name="T30" fmla="*/ 5880 w 8245"/>
                    <a:gd name="T31" fmla="*/ 852 h 2865"/>
                    <a:gd name="T32" fmla="*/ 5596 w 8245"/>
                    <a:gd name="T33" fmla="*/ 757 h 2865"/>
                    <a:gd name="T34" fmla="*/ 5072 w 8245"/>
                    <a:gd name="T35" fmla="*/ 602 h 2865"/>
                    <a:gd name="T36" fmla="*/ 4426 w 8245"/>
                    <a:gd name="T37" fmla="*/ 445 h 2865"/>
                    <a:gd name="T38" fmla="*/ 3738 w 8245"/>
                    <a:gd name="T39" fmla="*/ 308 h 2865"/>
                    <a:gd name="T40" fmla="*/ 3010 w 8245"/>
                    <a:gd name="T41" fmla="*/ 196 h 2865"/>
                    <a:gd name="T42" fmla="*/ 2246 w 8245"/>
                    <a:gd name="T43" fmla="*/ 108 h 2865"/>
                    <a:gd name="T44" fmla="*/ 1453 w 8245"/>
                    <a:gd name="T45" fmla="*/ 45 h 2865"/>
                    <a:gd name="T46" fmla="*/ 631 w 8245"/>
                    <a:gd name="T47" fmla="*/ 8 h 2865"/>
                    <a:gd name="T48" fmla="*/ 0 w 8245"/>
                    <a:gd name="T49" fmla="*/ 100 h 2865"/>
                    <a:gd name="T50" fmla="*/ 835 w 8245"/>
                    <a:gd name="T51" fmla="*/ 115 h 2865"/>
                    <a:gd name="T52" fmla="*/ 1648 w 8245"/>
                    <a:gd name="T53" fmla="*/ 157 h 2865"/>
                    <a:gd name="T54" fmla="*/ 2431 w 8245"/>
                    <a:gd name="T55" fmla="*/ 227 h 2865"/>
                    <a:gd name="T56" fmla="*/ 3181 w 8245"/>
                    <a:gd name="T57" fmla="*/ 321 h 2865"/>
                    <a:gd name="T58" fmla="*/ 3895 w 8245"/>
                    <a:gd name="T59" fmla="*/ 440 h 2865"/>
                    <a:gd name="T60" fmla="*/ 4570 w 8245"/>
                    <a:gd name="T61" fmla="*/ 580 h 2865"/>
                    <a:gd name="T62" fmla="*/ 5198 w 8245"/>
                    <a:gd name="T63" fmla="*/ 741 h 2865"/>
                    <a:gd name="T64" fmla="*/ 5637 w 8245"/>
                    <a:gd name="T65" fmla="*/ 876 h 2865"/>
                    <a:gd name="T66" fmla="*/ 5915 w 8245"/>
                    <a:gd name="T67" fmla="*/ 971 h 2865"/>
                    <a:gd name="T68" fmla="*/ 6177 w 8245"/>
                    <a:gd name="T69" fmla="*/ 1070 h 2865"/>
                    <a:gd name="T70" fmla="*/ 6426 w 8245"/>
                    <a:gd name="T71" fmla="*/ 1174 h 2865"/>
                    <a:gd name="T72" fmla="*/ 6661 w 8245"/>
                    <a:gd name="T73" fmla="*/ 1281 h 2865"/>
                    <a:gd name="T74" fmla="*/ 6879 w 8245"/>
                    <a:gd name="T75" fmla="*/ 1392 h 2865"/>
                    <a:gd name="T76" fmla="*/ 7083 w 8245"/>
                    <a:gd name="T77" fmla="*/ 1507 h 2865"/>
                    <a:gd name="T78" fmla="*/ 7270 w 8245"/>
                    <a:gd name="T79" fmla="*/ 1625 h 2865"/>
                    <a:gd name="T80" fmla="*/ 7440 w 8245"/>
                    <a:gd name="T81" fmla="*/ 1747 h 2865"/>
                    <a:gd name="T82" fmla="*/ 7594 w 8245"/>
                    <a:gd name="T83" fmla="*/ 1871 h 2865"/>
                    <a:gd name="T84" fmla="*/ 7729 w 8245"/>
                    <a:gd name="T85" fmla="*/ 1998 h 2865"/>
                    <a:gd name="T86" fmla="*/ 7845 w 8245"/>
                    <a:gd name="T87" fmla="*/ 2127 h 2865"/>
                    <a:gd name="T88" fmla="*/ 7943 w 8245"/>
                    <a:gd name="T89" fmla="*/ 2257 h 2865"/>
                    <a:gd name="T90" fmla="*/ 8022 w 8245"/>
                    <a:gd name="T91" fmla="*/ 2390 h 2865"/>
                    <a:gd name="T92" fmla="*/ 8082 w 8245"/>
                    <a:gd name="T93" fmla="*/ 2524 h 2865"/>
                    <a:gd name="T94" fmla="*/ 8122 w 8245"/>
                    <a:gd name="T95" fmla="*/ 2659 h 2865"/>
                    <a:gd name="T96" fmla="*/ 8142 w 8245"/>
                    <a:gd name="T97" fmla="*/ 279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5">
                      <a:moveTo>
                        <a:pt x="8245" y="2865"/>
                      </a:moveTo>
                      <a:lnTo>
                        <a:pt x="8244" y="2827"/>
                      </a:lnTo>
                      <a:lnTo>
                        <a:pt x="8242" y="2788"/>
                      </a:lnTo>
                      <a:lnTo>
                        <a:pt x="8239" y="2750"/>
                      </a:lnTo>
                      <a:lnTo>
                        <a:pt x="8234" y="2713"/>
                      </a:lnTo>
                      <a:lnTo>
                        <a:pt x="8227" y="2676"/>
                      </a:lnTo>
                      <a:lnTo>
                        <a:pt x="8219" y="2637"/>
                      </a:lnTo>
                      <a:lnTo>
                        <a:pt x="8211" y="2600"/>
                      </a:lnTo>
                      <a:lnTo>
                        <a:pt x="8201" y="2563"/>
                      </a:lnTo>
                      <a:lnTo>
                        <a:pt x="8188" y="2525"/>
                      </a:lnTo>
                      <a:lnTo>
                        <a:pt x="8176" y="2489"/>
                      </a:lnTo>
                      <a:lnTo>
                        <a:pt x="8162" y="2452"/>
                      </a:lnTo>
                      <a:lnTo>
                        <a:pt x="8146" y="2416"/>
                      </a:lnTo>
                      <a:lnTo>
                        <a:pt x="8130" y="2380"/>
                      </a:lnTo>
                      <a:lnTo>
                        <a:pt x="8111" y="2343"/>
                      </a:lnTo>
                      <a:lnTo>
                        <a:pt x="8091" y="2308"/>
                      </a:lnTo>
                      <a:lnTo>
                        <a:pt x="8071" y="2272"/>
                      </a:lnTo>
                      <a:lnTo>
                        <a:pt x="8049" y="2237"/>
                      </a:lnTo>
                      <a:lnTo>
                        <a:pt x="8026" y="2202"/>
                      </a:lnTo>
                      <a:lnTo>
                        <a:pt x="8002" y="2166"/>
                      </a:lnTo>
                      <a:lnTo>
                        <a:pt x="7977" y="2131"/>
                      </a:lnTo>
                      <a:lnTo>
                        <a:pt x="7950" y="2097"/>
                      </a:lnTo>
                      <a:lnTo>
                        <a:pt x="7922" y="2063"/>
                      </a:lnTo>
                      <a:lnTo>
                        <a:pt x="7894" y="2029"/>
                      </a:lnTo>
                      <a:lnTo>
                        <a:pt x="7864" y="1995"/>
                      </a:lnTo>
                      <a:lnTo>
                        <a:pt x="7832" y="1960"/>
                      </a:lnTo>
                      <a:lnTo>
                        <a:pt x="7800" y="1927"/>
                      </a:lnTo>
                      <a:lnTo>
                        <a:pt x="7766" y="1894"/>
                      </a:lnTo>
                      <a:lnTo>
                        <a:pt x="7732" y="1861"/>
                      </a:lnTo>
                      <a:lnTo>
                        <a:pt x="7696" y="1828"/>
                      </a:lnTo>
                      <a:lnTo>
                        <a:pt x="7659" y="1795"/>
                      </a:lnTo>
                      <a:lnTo>
                        <a:pt x="7620" y="1763"/>
                      </a:lnTo>
                      <a:lnTo>
                        <a:pt x="7582" y="1731"/>
                      </a:lnTo>
                      <a:lnTo>
                        <a:pt x="7542" y="1698"/>
                      </a:lnTo>
                      <a:lnTo>
                        <a:pt x="7501" y="1666"/>
                      </a:lnTo>
                      <a:lnTo>
                        <a:pt x="7459" y="1635"/>
                      </a:lnTo>
                      <a:lnTo>
                        <a:pt x="7415" y="1604"/>
                      </a:lnTo>
                      <a:lnTo>
                        <a:pt x="7371" y="1573"/>
                      </a:lnTo>
                      <a:lnTo>
                        <a:pt x="7326" y="1542"/>
                      </a:lnTo>
                      <a:lnTo>
                        <a:pt x="7279" y="1511"/>
                      </a:lnTo>
                      <a:lnTo>
                        <a:pt x="7232" y="1481"/>
                      </a:lnTo>
                      <a:lnTo>
                        <a:pt x="7183" y="1451"/>
                      </a:lnTo>
                      <a:lnTo>
                        <a:pt x="7134" y="1421"/>
                      </a:lnTo>
                      <a:lnTo>
                        <a:pt x="7083" y="1391"/>
                      </a:lnTo>
                      <a:lnTo>
                        <a:pt x="7032" y="1362"/>
                      </a:lnTo>
                      <a:lnTo>
                        <a:pt x="6980" y="1333"/>
                      </a:lnTo>
                      <a:lnTo>
                        <a:pt x="6927" y="1304"/>
                      </a:lnTo>
                      <a:lnTo>
                        <a:pt x="6872" y="1275"/>
                      </a:lnTo>
                      <a:lnTo>
                        <a:pt x="6817" y="1247"/>
                      </a:lnTo>
                      <a:lnTo>
                        <a:pt x="6761" y="1218"/>
                      </a:lnTo>
                      <a:lnTo>
                        <a:pt x="6704" y="1190"/>
                      </a:lnTo>
                      <a:lnTo>
                        <a:pt x="6645" y="1163"/>
                      </a:lnTo>
                      <a:lnTo>
                        <a:pt x="6587" y="1135"/>
                      </a:lnTo>
                      <a:lnTo>
                        <a:pt x="6527" y="1109"/>
                      </a:lnTo>
                      <a:lnTo>
                        <a:pt x="6466" y="1082"/>
                      </a:lnTo>
                      <a:lnTo>
                        <a:pt x="6404" y="1055"/>
                      </a:lnTo>
                      <a:lnTo>
                        <a:pt x="6341" y="1029"/>
                      </a:lnTo>
                      <a:lnTo>
                        <a:pt x="6278" y="1002"/>
                      </a:lnTo>
                      <a:lnTo>
                        <a:pt x="6214" y="976"/>
                      </a:lnTo>
                      <a:lnTo>
                        <a:pt x="6149" y="951"/>
                      </a:lnTo>
                      <a:lnTo>
                        <a:pt x="6083" y="925"/>
                      </a:lnTo>
                      <a:lnTo>
                        <a:pt x="6016" y="900"/>
                      </a:lnTo>
                      <a:lnTo>
                        <a:pt x="5948" y="876"/>
                      </a:lnTo>
                      <a:lnTo>
                        <a:pt x="5880" y="852"/>
                      </a:lnTo>
                      <a:lnTo>
                        <a:pt x="5809" y="827"/>
                      </a:lnTo>
                      <a:lnTo>
                        <a:pt x="5739" y="803"/>
                      </a:lnTo>
                      <a:lnTo>
                        <a:pt x="5668" y="780"/>
                      </a:lnTo>
                      <a:lnTo>
                        <a:pt x="5596" y="757"/>
                      </a:lnTo>
                      <a:lnTo>
                        <a:pt x="5524" y="734"/>
                      </a:lnTo>
                      <a:lnTo>
                        <a:pt x="5376" y="689"/>
                      </a:lnTo>
                      <a:lnTo>
                        <a:pt x="5225" y="645"/>
                      </a:lnTo>
                      <a:lnTo>
                        <a:pt x="5072" y="602"/>
                      </a:lnTo>
                      <a:lnTo>
                        <a:pt x="4914" y="561"/>
                      </a:lnTo>
                      <a:lnTo>
                        <a:pt x="4754" y="521"/>
                      </a:lnTo>
                      <a:lnTo>
                        <a:pt x="4592" y="482"/>
                      </a:lnTo>
                      <a:lnTo>
                        <a:pt x="4426" y="445"/>
                      </a:lnTo>
                      <a:lnTo>
                        <a:pt x="4258" y="409"/>
                      </a:lnTo>
                      <a:lnTo>
                        <a:pt x="4087" y="374"/>
                      </a:lnTo>
                      <a:lnTo>
                        <a:pt x="3914" y="341"/>
                      </a:lnTo>
                      <a:lnTo>
                        <a:pt x="3738" y="308"/>
                      </a:lnTo>
                      <a:lnTo>
                        <a:pt x="3559" y="278"/>
                      </a:lnTo>
                      <a:lnTo>
                        <a:pt x="3379" y="249"/>
                      </a:lnTo>
                      <a:lnTo>
                        <a:pt x="3196" y="221"/>
                      </a:lnTo>
                      <a:lnTo>
                        <a:pt x="3010" y="196"/>
                      </a:lnTo>
                      <a:lnTo>
                        <a:pt x="2823" y="171"/>
                      </a:lnTo>
                      <a:lnTo>
                        <a:pt x="2633" y="148"/>
                      </a:lnTo>
                      <a:lnTo>
                        <a:pt x="2441" y="127"/>
                      </a:lnTo>
                      <a:lnTo>
                        <a:pt x="2246" y="108"/>
                      </a:lnTo>
                      <a:lnTo>
                        <a:pt x="2052" y="89"/>
                      </a:lnTo>
                      <a:lnTo>
                        <a:pt x="1854" y="72"/>
                      </a:lnTo>
                      <a:lnTo>
                        <a:pt x="1654" y="57"/>
                      </a:lnTo>
                      <a:lnTo>
                        <a:pt x="1453" y="45"/>
                      </a:lnTo>
                      <a:lnTo>
                        <a:pt x="1250" y="33"/>
                      </a:lnTo>
                      <a:lnTo>
                        <a:pt x="1045" y="23"/>
                      </a:lnTo>
                      <a:lnTo>
                        <a:pt x="838" y="14"/>
                      </a:lnTo>
                      <a:lnTo>
                        <a:pt x="631" y="8"/>
                      </a:lnTo>
                      <a:lnTo>
                        <a:pt x="422" y="4"/>
                      </a:lnTo>
                      <a:lnTo>
                        <a:pt x="212" y="1"/>
                      </a:lnTo>
                      <a:lnTo>
                        <a:pt x="0" y="0"/>
                      </a:lnTo>
                      <a:lnTo>
                        <a:pt x="0" y="100"/>
                      </a:lnTo>
                      <a:lnTo>
                        <a:pt x="211" y="101"/>
                      </a:lnTo>
                      <a:lnTo>
                        <a:pt x="420" y="105"/>
                      </a:lnTo>
                      <a:lnTo>
                        <a:pt x="628" y="109"/>
                      </a:lnTo>
                      <a:lnTo>
                        <a:pt x="835" y="115"/>
                      </a:lnTo>
                      <a:lnTo>
                        <a:pt x="1040" y="123"/>
                      </a:lnTo>
                      <a:lnTo>
                        <a:pt x="1245" y="132"/>
                      </a:lnTo>
                      <a:lnTo>
                        <a:pt x="1447" y="144"/>
                      </a:lnTo>
                      <a:lnTo>
                        <a:pt x="1648" y="157"/>
                      </a:lnTo>
                      <a:lnTo>
                        <a:pt x="1845" y="173"/>
                      </a:lnTo>
                      <a:lnTo>
                        <a:pt x="2042" y="189"/>
                      </a:lnTo>
                      <a:lnTo>
                        <a:pt x="2237" y="207"/>
                      </a:lnTo>
                      <a:lnTo>
                        <a:pt x="2431" y="227"/>
                      </a:lnTo>
                      <a:lnTo>
                        <a:pt x="2622" y="248"/>
                      </a:lnTo>
                      <a:lnTo>
                        <a:pt x="2810" y="271"/>
                      </a:lnTo>
                      <a:lnTo>
                        <a:pt x="2997" y="295"/>
                      </a:lnTo>
                      <a:lnTo>
                        <a:pt x="3181" y="321"/>
                      </a:lnTo>
                      <a:lnTo>
                        <a:pt x="3364" y="349"/>
                      </a:lnTo>
                      <a:lnTo>
                        <a:pt x="3543" y="378"/>
                      </a:lnTo>
                      <a:lnTo>
                        <a:pt x="3721" y="408"/>
                      </a:lnTo>
                      <a:lnTo>
                        <a:pt x="3895" y="440"/>
                      </a:lnTo>
                      <a:lnTo>
                        <a:pt x="4069" y="473"/>
                      </a:lnTo>
                      <a:lnTo>
                        <a:pt x="4238" y="507"/>
                      </a:lnTo>
                      <a:lnTo>
                        <a:pt x="4405" y="543"/>
                      </a:lnTo>
                      <a:lnTo>
                        <a:pt x="4570" y="580"/>
                      </a:lnTo>
                      <a:lnTo>
                        <a:pt x="4731" y="619"/>
                      </a:lnTo>
                      <a:lnTo>
                        <a:pt x="4890" y="658"/>
                      </a:lnTo>
                      <a:lnTo>
                        <a:pt x="5046" y="700"/>
                      </a:lnTo>
                      <a:lnTo>
                        <a:pt x="5198" y="741"/>
                      </a:lnTo>
                      <a:lnTo>
                        <a:pt x="5348" y="785"/>
                      </a:lnTo>
                      <a:lnTo>
                        <a:pt x="5494" y="830"/>
                      </a:lnTo>
                      <a:lnTo>
                        <a:pt x="5566" y="852"/>
                      </a:lnTo>
                      <a:lnTo>
                        <a:pt x="5637" y="876"/>
                      </a:lnTo>
                      <a:lnTo>
                        <a:pt x="5707" y="898"/>
                      </a:lnTo>
                      <a:lnTo>
                        <a:pt x="5778" y="922"/>
                      </a:lnTo>
                      <a:lnTo>
                        <a:pt x="5847" y="946"/>
                      </a:lnTo>
                      <a:lnTo>
                        <a:pt x="5915" y="971"/>
                      </a:lnTo>
                      <a:lnTo>
                        <a:pt x="5982" y="995"/>
                      </a:lnTo>
                      <a:lnTo>
                        <a:pt x="6048" y="1020"/>
                      </a:lnTo>
                      <a:lnTo>
                        <a:pt x="6113" y="1044"/>
                      </a:lnTo>
                      <a:lnTo>
                        <a:pt x="6177" y="1070"/>
                      </a:lnTo>
                      <a:lnTo>
                        <a:pt x="6241" y="1095"/>
                      </a:lnTo>
                      <a:lnTo>
                        <a:pt x="6304" y="1121"/>
                      </a:lnTo>
                      <a:lnTo>
                        <a:pt x="6365" y="1147"/>
                      </a:lnTo>
                      <a:lnTo>
                        <a:pt x="6426" y="1174"/>
                      </a:lnTo>
                      <a:lnTo>
                        <a:pt x="6487" y="1200"/>
                      </a:lnTo>
                      <a:lnTo>
                        <a:pt x="6545" y="1227"/>
                      </a:lnTo>
                      <a:lnTo>
                        <a:pt x="6603" y="1253"/>
                      </a:lnTo>
                      <a:lnTo>
                        <a:pt x="6661" y="1281"/>
                      </a:lnTo>
                      <a:lnTo>
                        <a:pt x="6716" y="1308"/>
                      </a:lnTo>
                      <a:lnTo>
                        <a:pt x="6772" y="1336"/>
                      </a:lnTo>
                      <a:lnTo>
                        <a:pt x="6827" y="1364"/>
                      </a:lnTo>
                      <a:lnTo>
                        <a:pt x="6879" y="1392"/>
                      </a:lnTo>
                      <a:lnTo>
                        <a:pt x="6932" y="1421"/>
                      </a:lnTo>
                      <a:lnTo>
                        <a:pt x="6983" y="1449"/>
                      </a:lnTo>
                      <a:lnTo>
                        <a:pt x="7034" y="1478"/>
                      </a:lnTo>
                      <a:lnTo>
                        <a:pt x="7083" y="1507"/>
                      </a:lnTo>
                      <a:lnTo>
                        <a:pt x="7132" y="1537"/>
                      </a:lnTo>
                      <a:lnTo>
                        <a:pt x="7178" y="1566"/>
                      </a:lnTo>
                      <a:lnTo>
                        <a:pt x="7225" y="1596"/>
                      </a:lnTo>
                      <a:lnTo>
                        <a:pt x="7270" y="1625"/>
                      </a:lnTo>
                      <a:lnTo>
                        <a:pt x="7314" y="1656"/>
                      </a:lnTo>
                      <a:lnTo>
                        <a:pt x="7358" y="1686"/>
                      </a:lnTo>
                      <a:lnTo>
                        <a:pt x="7400" y="1716"/>
                      </a:lnTo>
                      <a:lnTo>
                        <a:pt x="7440" y="1747"/>
                      </a:lnTo>
                      <a:lnTo>
                        <a:pt x="7480" y="1777"/>
                      </a:lnTo>
                      <a:lnTo>
                        <a:pt x="7519" y="1808"/>
                      </a:lnTo>
                      <a:lnTo>
                        <a:pt x="7557" y="1839"/>
                      </a:lnTo>
                      <a:lnTo>
                        <a:pt x="7594" y="1871"/>
                      </a:lnTo>
                      <a:lnTo>
                        <a:pt x="7629" y="1902"/>
                      </a:lnTo>
                      <a:lnTo>
                        <a:pt x="7664" y="1934"/>
                      </a:lnTo>
                      <a:lnTo>
                        <a:pt x="7697" y="1966"/>
                      </a:lnTo>
                      <a:lnTo>
                        <a:pt x="7729" y="1998"/>
                      </a:lnTo>
                      <a:lnTo>
                        <a:pt x="7760" y="2030"/>
                      </a:lnTo>
                      <a:lnTo>
                        <a:pt x="7789" y="2062"/>
                      </a:lnTo>
                      <a:lnTo>
                        <a:pt x="7818" y="2094"/>
                      </a:lnTo>
                      <a:lnTo>
                        <a:pt x="7845" y="2127"/>
                      </a:lnTo>
                      <a:lnTo>
                        <a:pt x="7872" y="2159"/>
                      </a:lnTo>
                      <a:lnTo>
                        <a:pt x="7897" y="2192"/>
                      </a:lnTo>
                      <a:lnTo>
                        <a:pt x="7920" y="2224"/>
                      </a:lnTo>
                      <a:lnTo>
                        <a:pt x="7943" y="2257"/>
                      </a:lnTo>
                      <a:lnTo>
                        <a:pt x="7966" y="2291"/>
                      </a:lnTo>
                      <a:lnTo>
                        <a:pt x="7985" y="2324"/>
                      </a:lnTo>
                      <a:lnTo>
                        <a:pt x="8005" y="2357"/>
                      </a:lnTo>
                      <a:lnTo>
                        <a:pt x="8022" y="2390"/>
                      </a:lnTo>
                      <a:lnTo>
                        <a:pt x="8039" y="2423"/>
                      </a:lnTo>
                      <a:lnTo>
                        <a:pt x="8055" y="2457"/>
                      </a:lnTo>
                      <a:lnTo>
                        <a:pt x="8069" y="2490"/>
                      </a:lnTo>
                      <a:lnTo>
                        <a:pt x="8082" y="2524"/>
                      </a:lnTo>
                      <a:lnTo>
                        <a:pt x="8095" y="2558"/>
                      </a:lnTo>
                      <a:lnTo>
                        <a:pt x="8105" y="2592"/>
                      </a:lnTo>
                      <a:lnTo>
                        <a:pt x="8114" y="2625"/>
                      </a:lnTo>
                      <a:lnTo>
                        <a:pt x="8122" y="2659"/>
                      </a:lnTo>
                      <a:lnTo>
                        <a:pt x="8130" y="2693"/>
                      </a:lnTo>
                      <a:lnTo>
                        <a:pt x="8135" y="2727"/>
                      </a:lnTo>
                      <a:lnTo>
                        <a:pt x="8139" y="2761"/>
                      </a:lnTo>
                      <a:lnTo>
                        <a:pt x="8142" y="2796"/>
                      </a:lnTo>
                      <a:lnTo>
                        <a:pt x="8144" y="2830"/>
                      </a:lnTo>
                      <a:lnTo>
                        <a:pt x="8145" y="2865"/>
                      </a:lnTo>
                      <a:lnTo>
                        <a:pt x="8245"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34" name="Freeform 129"/>
                <p:cNvSpPr>
                  <a:spLocks/>
                </p:cNvSpPr>
                <p:nvPr>
                  <p:custDataLst>
                    <p:tags r:id="rId177"/>
                  </p:custDataLst>
                </p:nvPr>
              </p:nvSpPr>
              <p:spPr bwMode="auto">
                <a:xfrm>
                  <a:off x="737" y="3387"/>
                  <a:ext cx="234" cy="73"/>
                </a:xfrm>
                <a:custGeom>
                  <a:avLst/>
                  <a:gdLst>
                    <a:gd name="T0" fmla="*/ 0 w 5393"/>
                    <a:gd name="T1" fmla="*/ 1426 h 1828"/>
                    <a:gd name="T2" fmla="*/ 1207 w 5393"/>
                    <a:gd name="T3" fmla="*/ 1828 h 1828"/>
                    <a:gd name="T4" fmla="*/ 4061 w 5393"/>
                    <a:gd name="T5" fmla="*/ 687 h 1828"/>
                    <a:gd name="T6" fmla="*/ 5393 w 5393"/>
                    <a:gd name="T7" fmla="*/ 1013 h 1828"/>
                    <a:gd name="T8" fmla="*/ 4690 w 5393"/>
                    <a:gd name="T9" fmla="*/ 0 h 1828"/>
                    <a:gd name="T10" fmla="*/ 1253 w 5393"/>
                    <a:gd name="T11" fmla="*/ 0 h 1828"/>
                    <a:gd name="T12" fmla="*/ 2690 w 5393"/>
                    <a:gd name="T13" fmla="*/ 352 h 1828"/>
                    <a:gd name="T14" fmla="*/ 0 w 5393"/>
                    <a:gd name="T15" fmla="*/ 1426 h 18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8">
                      <a:moveTo>
                        <a:pt x="0" y="1426"/>
                      </a:moveTo>
                      <a:lnTo>
                        <a:pt x="1207" y="1828"/>
                      </a:lnTo>
                      <a:lnTo>
                        <a:pt x="4061" y="687"/>
                      </a:lnTo>
                      <a:lnTo>
                        <a:pt x="5393" y="1013"/>
                      </a:lnTo>
                      <a:lnTo>
                        <a:pt x="4690" y="0"/>
                      </a:lnTo>
                      <a:lnTo>
                        <a:pt x="1253" y="0"/>
                      </a:lnTo>
                      <a:lnTo>
                        <a:pt x="2690" y="352"/>
                      </a:lnTo>
                      <a:lnTo>
                        <a:pt x="0"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35" name="Freeform 130"/>
                <p:cNvSpPr>
                  <a:spLocks/>
                </p:cNvSpPr>
                <p:nvPr>
                  <p:custDataLst>
                    <p:tags r:id="rId178"/>
                  </p:custDataLst>
                </p:nvPr>
              </p:nvSpPr>
              <p:spPr bwMode="auto">
                <a:xfrm>
                  <a:off x="480" y="3474"/>
                  <a:ext cx="235" cy="73"/>
                </a:xfrm>
                <a:custGeom>
                  <a:avLst/>
                  <a:gdLst>
                    <a:gd name="T0" fmla="*/ 5394 w 5394"/>
                    <a:gd name="T1" fmla="*/ 401 h 1827"/>
                    <a:gd name="T2" fmla="*/ 4186 w 5394"/>
                    <a:gd name="T3" fmla="*/ 0 h 1827"/>
                    <a:gd name="T4" fmla="*/ 1332 w 5394"/>
                    <a:gd name="T5" fmla="*/ 1140 h 1827"/>
                    <a:gd name="T6" fmla="*/ 0 w 5394"/>
                    <a:gd name="T7" fmla="*/ 814 h 1827"/>
                    <a:gd name="T8" fmla="*/ 702 w 5394"/>
                    <a:gd name="T9" fmla="*/ 1827 h 1827"/>
                    <a:gd name="T10" fmla="*/ 4140 w 5394"/>
                    <a:gd name="T11" fmla="*/ 1827 h 1827"/>
                    <a:gd name="T12" fmla="*/ 2704 w 5394"/>
                    <a:gd name="T13" fmla="*/ 1476 h 1827"/>
                    <a:gd name="T14" fmla="*/ 5394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5394" y="401"/>
                      </a:moveTo>
                      <a:lnTo>
                        <a:pt x="4186" y="0"/>
                      </a:lnTo>
                      <a:lnTo>
                        <a:pt x="1332" y="1140"/>
                      </a:lnTo>
                      <a:lnTo>
                        <a:pt x="0" y="814"/>
                      </a:lnTo>
                      <a:lnTo>
                        <a:pt x="702" y="1827"/>
                      </a:lnTo>
                      <a:lnTo>
                        <a:pt x="4140" y="1827"/>
                      </a:lnTo>
                      <a:lnTo>
                        <a:pt x="2704" y="1476"/>
                      </a:lnTo>
                      <a:lnTo>
                        <a:pt x="5394"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36" name="Freeform 131"/>
                <p:cNvSpPr>
                  <a:spLocks/>
                </p:cNvSpPr>
                <p:nvPr>
                  <p:custDataLst>
                    <p:tags r:id="rId179"/>
                  </p:custDataLst>
                </p:nvPr>
              </p:nvSpPr>
              <p:spPr bwMode="auto">
                <a:xfrm>
                  <a:off x="493" y="3385"/>
                  <a:ext cx="235" cy="73"/>
                </a:xfrm>
                <a:custGeom>
                  <a:avLst/>
                  <a:gdLst>
                    <a:gd name="T0" fmla="*/ 0 w 5394"/>
                    <a:gd name="T1" fmla="*/ 401 h 1827"/>
                    <a:gd name="T2" fmla="*/ 1208 w 5394"/>
                    <a:gd name="T3" fmla="*/ 0 h 1827"/>
                    <a:gd name="T4" fmla="*/ 4062 w 5394"/>
                    <a:gd name="T5" fmla="*/ 1140 h 1827"/>
                    <a:gd name="T6" fmla="*/ 5394 w 5394"/>
                    <a:gd name="T7" fmla="*/ 813 h 1827"/>
                    <a:gd name="T8" fmla="*/ 4691 w 5394"/>
                    <a:gd name="T9" fmla="*/ 1827 h 1827"/>
                    <a:gd name="T10" fmla="*/ 1253 w 5394"/>
                    <a:gd name="T11" fmla="*/ 1827 h 1827"/>
                    <a:gd name="T12" fmla="*/ 2690 w 5394"/>
                    <a:gd name="T13" fmla="*/ 1475 h 1827"/>
                    <a:gd name="T14" fmla="*/ 0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0" y="401"/>
                      </a:moveTo>
                      <a:lnTo>
                        <a:pt x="1208" y="0"/>
                      </a:lnTo>
                      <a:lnTo>
                        <a:pt x="4062" y="1140"/>
                      </a:lnTo>
                      <a:lnTo>
                        <a:pt x="5394" y="813"/>
                      </a:lnTo>
                      <a:lnTo>
                        <a:pt x="4691" y="1827"/>
                      </a:lnTo>
                      <a:lnTo>
                        <a:pt x="1253" y="1827"/>
                      </a:lnTo>
                      <a:lnTo>
                        <a:pt x="2690" y="1475"/>
                      </a:lnTo>
                      <a:lnTo>
                        <a:pt x="0"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37" name="Freeform 132"/>
                <p:cNvSpPr>
                  <a:spLocks/>
                </p:cNvSpPr>
                <p:nvPr>
                  <p:custDataLst>
                    <p:tags r:id="rId180"/>
                  </p:custDataLst>
                </p:nvPr>
              </p:nvSpPr>
              <p:spPr bwMode="auto">
                <a:xfrm>
                  <a:off x="729" y="3479"/>
                  <a:ext cx="235" cy="73"/>
                </a:xfrm>
                <a:custGeom>
                  <a:avLst/>
                  <a:gdLst>
                    <a:gd name="T0" fmla="*/ 5393 w 5393"/>
                    <a:gd name="T1" fmla="*/ 1426 h 1827"/>
                    <a:gd name="T2" fmla="*/ 4186 w 5393"/>
                    <a:gd name="T3" fmla="*/ 1827 h 1827"/>
                    <a:gd name="T4" fmla="*/ 1332 w 5393"/>
                    <a:gd name="T5" fmla="*/ 687 h 1827"/>
                    <a:gd name="T6" fmla="*/ 0 w 5393"/>
                    <a:gd name="T7" fmla="*/ 1012 h 1827"/>
                    <a:gd name="T8" fmla="*/ 702 w 5393"/>
                    <a:gd name="T9" fmla="*/ 0 h 1827"/>
                    <a:gd name="T10" fmla="*/ 4140 w 5393"/>
                    <a:gd name="T11" fmla="*/ 0 h 1827"/>
                    <a:gd name="T12" fmla="*/ 2703 w 5393"/>
                    <a:gd name="T13" fmla="*/ 352 h 1827"/>
                    <a:gd name="T14" fmla="*/ 5393 w 5393"/>
                    <a:gd name="T15" fmla="*/ 1426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7">
                      <a:moveTo>
                        <a:pt x="5393" y="1426"/>
                      </a:moveTo>
                      <a:lnTo>
                        <a:pt x="4186" y="1827"/>
                      </a:lnTo>
                      <a:lnTo>
                        <a:pt x="1332" y="687"/>
                      </a:lnTo>
                      <a:lnTo>
                        <a:pt x="0" y="1012"/>
                      </a:lnTo>
                      <a:lnTo>
                        <a:pt x="702" y="0"/>
                      </a:lnTo>
                      <a:lnTo>
                        <a:pt x="4140" y="0"/>
                      </a:lnTo>
                      <a:lnTo>
                        <a:pt x="2703" y="352"/>
                      </a:lnTo>
                      <a:lnTo>
                        <a:pt x="5393"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38" name="Rectangle 133"/>
                <p:cNvSpPr>
                  <a:spLocks noChangeArrowheads="1"/>
                </p:cNvSpPr>
                <p:nvPr>
                  <p:custDataLst>
                    <p:tags r:id="rId181"/>
                  </p:custDataLst>
                </p:nvPr>
              </p:nvSpPr>
              <p:spPr bwMode="auto">
                <a:xfrm>
                  <a:off x="369"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39" name="Rectangle 134"/>
                <p:cNvSpPr>
                  <a:spLocks noChangeArrowheads="1"/>
                </p:cNvSpPr>
                <p:nvPr>
                  <p:custDataLst>
                    <p:tags r:id="rId182"/>
                  </p:custDataLst>
                </p:nvPr>
              </p:nvSpPr>
              <p:spPr bwMode="auto">
                <a:xfrm>
                  <a:off x="369"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40" name="Rectangle 135"/>
                <p:cNvSpPr>
                  <a:spLocks noChangeArrowheads="1"/>
                </p:cNvSpPr>
                <p:nvPr>
                  <p:custDataLst>
                    <p:tags r:id="rId183"/>
                  </p:custDataLst>
                </p:nvPr>
              </p:nvSpPr>
              <p:spPr bwMode="auto">
                <a:xfrm>
                  <a:off x="369"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41" name="Rectangle 136"/>
                <p:cNvSpPr>
                  <a:spLocks noChangeArrowheads="1"/>
                </p:cNvSpPr>
                <p:nvPr>
                  <p:custDataLst>
                    <p:tags r:id="rId184"/>
                  </p:custDataLst>
                </p:nvPr>
              </p:nvSpPr>
              <p:spPr bwMode="auto">
                <a:xfrm>
                  <a:off x="1082"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42" name="Rectangle 137"/>
                <p:cNvSpPr>
                  <a:spLocks noChangeArrowheads="1"/>
                </p:cNvSpPr>
                <p:nvPr>
                  <p:custDataLst>
                    <p:tags r:id="rId185"/>
                  </p:custDataLst>
                </p:nvPr>
              </p:nvSpPr>
              <p:spPr bwMode="auto">
                <a:xfrm>
                  <a:off x="1082"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43" name="Rectangle 138"/>
                <p:cNvSpPr>
                  <a:spLocks noChangeArrowheads="1"/>
                </p:cNvSpPr>
                <p:nvPr>
                  <p:custDataLst>
                    <p:tags r:id="rId186"/>
                  </p:custDataLst>
                </p:nvPr>
              </p:nvSpPr>
              <p:spPr bwMode="auto">
                <a:xfrm>
                  <a:off x="1082"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grpSp>
        </p:grpSp>
        <p:grpSp>
          <p:nvGrpSpPr>
            <p:cNvPr id="544" name="Group 139"/>
            <p:cNvGrpSpPr>
              <a:grpSpLocks/>
            </p:cNvGrpSpPr>
            <p:nvPr>
              <p:custDataLst>
                <p:tags r:id="rId17"/>
              </p:custDataLst>
            </p:nvPr>
          </p:nvGrpSpPr>
          <p:grpSpPr bwMode="auto">
            <a:xfrm>
              <a:off x="1420" y="2061"/>
              <a:ext cx="90" cy="67"/>
              <a:chOff x="371" y="1706"/>
              <a:chExt cx="277" cy="199"/>
            </a:xfrm>
          </p:grpSpPr>
          <p:sp>
            <p:nvSpPr>
              <p:cNvPr id="696" name="AutoShape 140"/>
              <p:cNvSpPr>
                <a:spLocks noChangeArrowheads="1"/>
              </p:cNvSpPr>
              <p:nvPr/>
            </p:nvSpPr>
            <p:spPr bwMode="auto">
              <a:xfrm>
                <a:off x="371" y="1706"/>
                <a:ext cx="277" cy="199"/>
              </a:xfrm>
              <a:prstGeom prst="cube">
                <a:avLst>
                  <a:gd name="adj" fmla="val 25000"/>
                </a:avLst>
              </a:prstGeom>
              <a:solidFill>
                <a:srgbClr val="E3CAB3"/>
              </a:solidFill>
              <a:ln w="12700">
                <a:solidFill>
                  <a:srgbClr val="E3CAB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grpSp>
            <p:nvGrpSpPr>
              <p:cNvPr id="697" name="Group 141"/>
              <p:cNvGrpSpPr>
                <a:grpSpLocks/>
              </p:cNvGrpSpPr>
              <p:nvPr/>
            </p:nvGrpSpPr>
            <p:grpSpPr bwMode="auto">
              <a:xfrm>
                <a:off x="398" y="1789"/>
                <a:ext cx="182" cy="99"/>
                <a:chOff x="369" y="3354"/>
                <a:chExt cx="717" cy="390"/>
              </a:xfrm>
            </p:grpSpPr>
            <p:sp>
              <p:nvSpPr>
                <p:cNvPr id="698" name="AutoShape 142"/>
                <p:cNvSpPr>
                  <a:spLocks noChangeAspect="1" noChangeArrowheads="1" noTextEdit="1"/>
                </p:cNvSpPr>
                <p:nvPr>
                  <p:custDataLst>
                    <p:tags r:id="rId143"/>
                  </p:custDataLst>
                </p:nvPr>
              </p:nvSpPr>
              <p:spPr bwMode="auto">
                <a:xfrm>
                  <a:off x="369" y="3354"/>
                  <a:ext cx="717"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99" name="Freeform 143"/>
                <p:cNvSpPr>
                  <a:spLocks/>
                </p:cNvSpPr>
                <p:nvPr>
                  <p:custDataLst>
                    <p:tags r:id="rId144"/>
                  </p:custDataLst>
                </p:nvPr>
              </p:nvSpPr>
              <p:spPr bwMode="auto">
                <a:xfrm>
                  <a:off x="371" y="3517"/>
                  <a:ext cx="713" cy="225"/>
                </a:xfrm>
                <a:custGeom>
                  <a:avLst/>
                  <a:gdLst>
                    <a:gd name="T0" fmla="*/ 16347 w 16389"/>
                    <a:gd name="T1" fmla="*/ 3102 h 5628"/>
                    <a:gd name="T2" fmla="*/ 16132 w 16389"/>
                    <a:gd name="T3" fmla="*/ 3518 h 5628"/>
                    <a:gd name="T4" fmla="*/ 15745 w 16389"/>
                    <a:gd name="T5" fmla="*/ 3909 h 5628"/>
                    <a:gd name="T6" fmla="*/ 15203 w 16389"/>
                    <a:gd name="T7" fmla="*/ 4273 h 5628"/>
                    <a:gd name="T8" fmla="*/ 14518 w 16389"/>
                    <a:gd name="T9" fmla="*/ 4605 h 5628"/>
                    <a:gd name="T10" fmla="*/ 13704 w 16389"/>
                    <a:gd name="T11" fmla="*/ 4898 h 5628"/>
                    <a:gd name="T12" fmla="*/ 12776 w 16389"/>
                    <a:gd name="T13" fmla="*/ 5148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8 h 5628"/>
                    <a:gd name="T30" fmla="*/ 2685 w 16389"/>
                    <a:gd name="T31" fmla="*/ 4898 h 5628"/>
                    <a:gd name="T32" fmla="*/ 1871 w 16389"/>
                    <a:gd name="T33" fmla="*/ 4605 h 5628"/>
                    <a:gd name="T34" fmla="*/ 1186 w 16389"/>
                    <a:gd name="T35" fmla="*/ 4273 h 5628"/>
                    <a:gd name="T36" fmla="*/ 644 w 16389"/>
                    <a:gd name="T37" fmla="*/ 3909 h 5628"/>
                    <a:gd name="T38" fmla="*/ 257 w 16389"/>
                    <a:gd name="T39" fmla="*/ 3518 h 5628"/>
                    <a:gd name="T40" fmla="*/ 42 w 16389"/>
                    <a:gd name="T41" fmla="*/ 3102 h 5628"/>
                    <a:gd name="T42" fmla="*/ 10 w 16389"/>
                    <a:gd name="T43" fmla="*/ 2669 h 5628"/>
                    <a:gd name="T44" fmla="*/ 165 w 16389"/>
                    <a:gd name="T45" fmla="*/ 2247 h 5628"/>
                    <a:gd name="T46" fmla="*/ 496 w 16389"/>
                    <a:gd name="T47" fmla="*/ 1847 h 5628"/>
                    <a:gd name="T48" fmla="*/ 989 w 16389"/>
                    <a:gd name="T49" fmla="*/ 1474 h 5628"/>
                    <a:gd name="T50" fmla="*/ 1628 w 16389"/>
                    <a:gd name="T51" fmla="*/ 1131 h 5628"/>
                    <a:gd name="T52" fmla="*/ 2400 w 16389"/>
                    <a:gd name="T53" fmla="*/ 825 h 5628"/>
                    <a:gd name="T54" fmla="*/ 3292 w 16389"/>
                    <a:gd name="T55" fmla="*/ 560 h 5628"/>
                    <a:gd name="T56" fmla="*/ 4289 w 16389"/>
                    <a:gd name="T57" fmla="*/ 340 h 5628"/>
                    <a:gd name="T58" fmla="*/ 5378 w 16389"/>
                    <a:gd name="T59" fmla="*/ 171 h 5628"/>
                    <a:gd name="T60" fmla="*/ 6543 w 16389"/>
                    <a:gd name="T61" fmla="*/ 57 h 5628"/>
                    <a:gd name="T62" fmla="*/ 7773 w 16389"/>
                    <a:gd name="T63" fmla="*/ 4 h 5628"/>
                    <a:gd name="T64" fmla="*/ 9032 w 16389"/>
                    <a:gd name="T65" fmla="*/ 14 h 5628"/>
                    <a:gd name="T66" fmla="*/ 10241 w 16389"/>
                    <a:gd name="T67" fmla="*/ 89 h 5628"/>
                    <a:gd name="T68" fmla="*/ 11383 w 16389"/>
                    <a:gd name="T69" fmla="*/ 221 h 5628"/>
                    <a:gd name="T70" fmla="*/ 12443 w 16389"/>
                    <a:gd name="T71" fmla="*/ 408 h 5628"/>
                    <a:gd name="T72" fmla="*/ 13407 w 16389"/>
                    <a:gd name="T73" fmla="*/ 643 h 5628"/>
                    <a:gd name="T74" fmla="*/ 14260 w 16389"/>
                    <a:gd name="T75" fmla="*/ 922 h 5628"/>
                    <a:gd name="T76" fmla="*/ 14990 w 16389"/>
                    <a:gd name="T77" fmla="*/ 1241 h 5628"/>
                    <a:gd name="T78" fmla="*/ 15581 w 16389"/>
                    <a:gd name="T79" fmla="*/ 1595 h 5628"/>
                    <a:gd name="T80" fmla="*/ 16022 w 16389"/>
                    <a:gd name="T81" fmla="*/ 1978 h 5628"/>
                    <a:gd name="T82" fmla="*/ 16296 w 16389"/>
                    <a:gd name="T83" fmla="*/ 2386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3"/>
                      </a:lnTo>
                      <a:lnTo>
                        <a:pt x="16224" y="3381"/>
                      </a:lnTo>
                      <a:lnTo>
                        <a:pt x="16132" y="3518"/>
                      </a:lnTo>
                      <a:lnTo>
                        <a:pt x="16022" y="3651"/>
                      </a:lnTo>
                      <a:lnTo>
                        <a:pt x="15893" y="3782"/>
                      </a:lnTo>
                      <a:lnTo>
                        <a:pt x="15745" y="3909"/>
                      </a:lnTo>
                      <a:lnTo>
                        <a:pt x="15581" y="4034"/>
                      </a:lnTo>
                      <a:lnTo>
                        <a:pt x="15400" y="4155"/>
                      </a:lnTo>
                      <a:lnTo>
                        <a:pt x="15203" y="4273"/>
                      </a:lnTo>
                      <a:lnTo>
                        <a:pt x="14990" y="4387"/>
                      </a:lnTo>
                      <a:lnTo>
                        <a:pt x="14761" y="4498"/>
                      </a:lnTo>
                      <a:lnTo>
                        <a:pt x="14518" y="4605"/>
                      </a:lnTo>
                      <a:lnTo>
                        <a:pt x="14260" y="4706"/>
                      </a:lnTo>
                      <a:lnTo>
                        <a:pt x="13989" y="4804"/>
                      </a:lnTo>
                      <a:lnTo>
                        <a:pt x="13704" y="4898"/>
                      </a:lnTo>
                      <a:lnTo>
                        <a:pt x="13407" y="4986"/>
                      </a:lnTo>
                      <a:lnTo>
                        <a:pt x="13096" y="5069"/>
                      </a:lnTo>
                      <a:lnTo>
                        <a:pt x="12776" y="5148"/>
                      </a:lnTo>
                      <a:lnTo>
                        <a:pt x="12443" y="5222"/>
                      </a:lnTo>
                      <a:lnTo>
                        <a:pt x="12100" y="5289"/>
                      </a:lnTo>
                      <a:lnTo>
                        <a:pt x="11746" y="5351"/>
                      </a:lnTo>
                      <a:lnTo>
                        <a:pt x="11383" y="5408"/>
                      </a:lnTo>
                      <a:lnTo>
                        <a:pt x="11011" y="5458"/>
                      </a:lnTo>
                      <a:lnTo>
                        <a:pt x="10631" y="5502"/>
                      </a:lnTo>
                      <a:lnTo>
                        <a:pt x="10241" y="5540"/>
                      </a:lnTo>
                      <a:lnTo>
                        <a:pt x="9846" y="5571"/>
                      </a:lnTo>
                      <a:lnTo>
                        <a:pt x="9442" y="5596"/>
                      </a:lnTo>
                      <a:lnTo>
                        <a:pt x="9032" y="5614"/>
                      </a:lnTo>
                      <a:lnTo>
                        <a:pt x="8616" y="5625"/>
                      </a:lnTo>
                      <a:lnTo>
                        <a:pt x="8195" y="5628"/>
                      </a:lnTo>
                      <a:lnTo>
                        <a:pt x="7773" y="5625"/>
                      </a:lnTo>
                      <a:lnTo>
                        <a:pt x="7357" y="5614"/>
                      </a:lnTo>
                      <a:lnTo>
                        <a:pt x="6947" y="5596"/>
                      </a:lnTo>
                      <a:lnTo>
                        <a:pt x="6543" y="5571"/>
                      </a:lnTo>
                      <a:lnTo>
                        <a:pt x="6148" y="5540"/>
                      </a:lnTo>
                      <a:lnTo>
                        <a:pt x="5758" y="5502"/>
                      </a:lnTo>
                      <a:lnTo>
                        <a:pt x="5378" y="5458"/>
                      </a:lnTo>
                      <a:lnTo>
                        <a:pt x="5006" y="5408"/>
                      </a:lnTo>
                      <a:lnTo>
                        <a:pt x="4643" y="5351"/>
                      </a:lnTo>
                      <a:lnTo>
                        <a:pt x="4289" y="5289"/>
                      </a:lnTo>
                      <a:lnTo>
                        <a:pt x="3946" y="5222"/>
                      </a:lnTo>
                      <a:lnTo>
                        <a:pt x="3613" y="5148"/>
                      </a:lnTo>
                      <a:lnTo>
                        <a:pt x="3292" y="5069"/>
                      </a:lnTo>
                      <a:lnTo>
                        <a:pt x="2982" y="4986"/>
                      </a:lnTo>
                      <a:lnTo>
                        <a:pt x="2685" y="4898"/>
                      </a:lnTo>
                      <a:lnTo>
                        <a:pt x="2400" y="4804"/>
                      </a:lnTo>
                      <a:lnTo>
                        <a:pt x="2129" y="4706"/>
                      </a:lnTo>
                      <a:lnTo>
                        <a:pt x="1871" y="4605"/>
                      </a:lnTo>
                      <a:lnTo>
                        <a:pt x="1628" y="4498"/>
                      </a:lnTo>
                      <a:lnTo>
                        <a:pt x="1399" y="4387"/>
                      </a:lnTo>
                      <a:lnTo>
                        <a:pt x="1186" y="4273"/>
                      </a:lnTo>
                      <a:lnTo>
                        <a:pt x="989" y="4155"/>
                      </a:lnTo>
                      <a:lnTo>
                        <a:pt x="808" y="4034"/>
                      </a:lnTo>
                      <a:lnTo>
                        <a:pt x="644" y="3909"/>
                      </a:lnTo>
                      <a:lnTo>
                        <a:pt x="496" y="3782"/>
                      </a:lnTo>
                      <a:lnTo>
                        <a:pt x="367" y="3651"/>
                      </a:lnTo>
                      <a:lnTo>
                        <a:pt x="257" y="3518"/>
                      </a:lnTo>
                      <a:lnTo>
                        <a:pt x="165" y="3381"/>
                      </a:lnTo>
                      <a:lnTo>
                        <a:pt x="93" y="3243"/>
                      </a:lnTo>
                      <a:lnTo>
                        <a:pt x="42" y="3102"/>
                      </a:lnTo>
                      <a:lnTo>
                        <a:pt x="10" y="2959"/>
                      </a:lnTo>
                      <a:lnTo>
                        <a:pt x="0" y="2814"/>
                      </a:lnTo>
                      <a:lnTo>
                        <a:pt x="10" y="2669"/>
                      </a:lnTo>
                      <a:lnTo>
                        <a:pt x="42" y="2526"/>
                      </a:lnTo>
                      <a:lnTo>
                        <a:pt x="93" y="2386"/>
                      </a:lnTo>
                      <a:lnTo>
                        <a:pt x="165" y="2247"/>
                      </a:lnTo>
                      <a:lnTo>
                        <a:pt x="257" y="2111"/>
                      </a:lnTo>
                      <a:lnTo>
                        <a:pt x="367" y="1978"/>
                      </a:lnTo>
                      <a:lnTo>
                        <a:pt x="496" y="1847"/>
                      </a:lnTo>
                      <a:lnTo>
                        <a:pt x="644" y="1719"/>
                      </a:lnTo>
                      <a:lnTo>
                        <a:pt x="808" y="1595"/>
                      </a:lnTo>
                      <a:lnTo>
                        <a:pt x="989" y="1474"/>
                      </a:lnTo>
                      <a:lnTo>
                        <a:pt x="1186" y="1356"/>
                      </a:lnTo>
                      <a:lnTo>
                        <a:pt x="1399" y="1241"/>
                      </a:lnTo>
                      <a:lnTo>
                        <a:pt x="1628" y="1131"/>
                      </a:lnTo>
                      <a:lnTo>
                        <a:pt x="1871" y="1024"/>
                      </a:lnTo>
                      <a:lnTo>
                        <a:pt x="2129" y="922"/>
                      </a:lnTo>
                      <a:lnTo>
                        <a:pt x="2400" y="825"/>
                      </a:lnTo>
                      <a:lnTo>
                        <a:pt x="2685" y="732"/>
                      </a:lnTo>
                      <a:lnTo>
                        <a:pt x="2982" y="643"/>
                      </a:lnTo>
                      <a:lnTo>
                        <a:pt x="3292" y="560"/>
                      </a:lnTo>
                      <a:lnTo>
                        <a:pt x="3613" y="481"/>
                      </a:lnTo>
                      <a:lnTo>
                        <a:pt x="3946" y="408"/>
                      </a:lnTo>
                      <a:lnTo>
                        <a:pt x="4289" y="340"/>
                      </a:lnTo>
                      <a:lnTo>
                        <a:pt x="4643" y="277"/>
                      </a:lnTo>
                      <a:lnTo>
                        <a:pt x="5006" y="221"/>
                      </a:lnTo>
                      <a:lnTo>
                        <a:pt x="5378" y="171"/>
                      </a:lnTo>
                      <a:lnTo>
                        <a:pt x="5758" y="126"/>
                      </a:lnTo>
                      <a:lnTo>
                        <a:pt x="6148" y="89"/>
                      </a:lnTo>
                      <a:lnTo>
                        <a:pt x="6543" y="57"/>
                      </a:lnTo>
                      <a:lnTo>
                        <a:pt x="6947" y="32"/>
                      </a:lnTo>
                      <a:lnTo>
                        <a:pt x="7357" y="14"/>
                      </a:lnTo>
                      <a:lnTo>
                        <a:pt x="7773" y="4"/>
                      </a:lnTo>
                      <a:lnTo>
                        <a:pt x="8195" y="0"/>
                      </a:lnTo>
                      <a:lnTo>
                        <a:pt x="8616" y="4"/>
                      </a:lnTo>
                      <a:lnTo>
                        <a:pt x="9032" y="14"/>
                      </a:lnTo>
                      <a:lnTo>
                        <a:pt x="9442" y="32"/>
                      </a:lnTo>
                      <a:lnTo>
                        <a:pt x="9846" y="57"/>
                      </a:lnTo>
                      <a:lnTo>
                        <a:pt x="10241" y="89"/>
                      </a:lnTo>
                      <a:lnTo>
                        <a:pt x="10631" y="126"/>
                      </a:lnTo>
                      <a:lnTo>
                        <a:pt x="11011" y="171"/>
                      </a:lnTo>
                      <a:lnTo>
                        <a:pt x="11383" y="221"/>
                      </a:lnTo>
                      <a:lnTo>
                        <a:pt x="11746" y="277"/>
                      </a:lnTo>
                      <a:lnTo>
                        <a:pt x="12100" y="340"/>
                      </a:lnTo>
                      <a:lnTo>
                        <a:pt x="12443" y="408"/>
                      </a:lnTo>
                      <a:lnTo>
                        <a:pt x="12776" y="481"/>
                      </a:lnTo>
                      <a:lnTo>
                        <a:pt x="13096" y="560"/>
                      </a:lnTo>
                      <a:lnTo>
                        <a:pt x="13407" y="643"/>
                      </a:lnTo>
                      <a:lnTo>
                        <a:pt x="13704" y="732"/>
                      </a:lnTo>
                      <a:lnTo>
                        <a:pt x="13989" y="825"/>
                      </a:lnTo>
                      <a:lnTo>
                        <a:pt x="14260" y="922"/>
                      </a:lnTo>
                      <a:lnTo>
                        <a:pt x="14518" y="1024"/>
                      </a:lnTo>
                      <a:lnTo>
                        <a:pt x="14761" y="1131"/>
                      </a:lnTo>
                      <a:lnTo>
                        <a:pt x="14990" y="1241"/>
                      </a:lnTo>
                      <a:lnTo>
                        <a:pt x="15203" y="1356"/>
                      </a:lnTo>
                      <a:lnTo>
                        <a:pt x="15400" y="1474"/>
                      </a:lnTo>
                      <a:lnTo>
                        <a:pt x="15581" y="1595"/>
                      </a:lnTo>
                      <a:lnTo>
                        <a:pt x="15745" y="1719"/>
                      </a:lnTo>
                      <a:lnTo>
                        <a:pt x="15893" y="1847"/>
                      </a:lnTo>
                      <a:lnTo>
                        <a:pt x="16022" y="1978"/>
                      </a:lnTo>
                      <a:lnTo>
                        <a:pt x="16132" y="2111"/>
                      </a:lnTo>
                      <a:lnTo>
                        <a:pt x="16224" y="2247"/>
                      </a:lnTo>
                      <a:lnTo>
                        <a:pt x="16296" y="2386"/>
                      </a:lnTo>
                      <a:lnTo>
                        <a:pt x="16347" y="2526"/>
                      </a:lnTo>
                      <a:lnTo>
                        <a:pt x="16379" y="2669"/>
                      </a:lnTo>
                      <a:lnTo>
                        <a:pt x="16389" y="2814"/>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00" name="Freeform 144"/>
                <p:cNvSpPr>
                  <a:spLocks/>
                </p:cNvSpPr>
                <p:nvPr>
                  <p:custDataLst>
                    <p:tags r:id="rId145"/>
                  </p:custDataLst>
                </p:nvPr>
              </p:nvSpPr>
              <p:spPr bwMode="auto">
                <a:xfrm>
                  <a:off x="725" y="3629"/>
                  <a:ext cx="361" cy="115"/>
                </a:xfrm>
                <a:custGeom>
                  <a:avLst/>
                  <a:gdLst>
                    <a:gd name="T0" fmla="*/ 472 w 8295"/>
                    <a:gd name="T1" fmla="*/ 2861 h 2865"/>
                    <a:gd name="T2" fmla="*/ 1300 w 8295"/>
                    <a:gd name="T3" fmla="*/ 2832 h 2865"/>
                    <a:gd name="T4" fmla="*/ 2102 w 8295"/>
                    <a:gd name="T5" fmla="*/ 2776 h 2865"/>
                    <a:gd name="T6" fmla="*/ 2873 w 8295"/>
                    <a:gd name="T7" fmla="*/ 2694 h 2865"/>
                    <a:gd name="T8" fmla="*/ 3609 w 8295"/>
                    <a:gd name="T9" fmla="*/ 2587 h 2865"/>
                    <a:gd name="T10" fmla="*/ 4308 w 8295"/>
                    <a:gd name="T11" fmla="*/ 2456 h 2865"/>
                    <a:gd name="T12" fmla="*/ 4964 w 8295"/>
                    <a:gd name="T13" fmla="*/ 2304 h 2865"/>
                    <a:gd name="T14" fmla="*/ 5426 w 8295"/>
                    <a:gd name="T15" fmla="*/ 2177 h 2865"/>
                    <a:gd name="T16" fmla="*/ 5718 w 8295"/>
                    <a:gd name="T17" fmla="*/ 2085 h 2865"/>
                    <a:gd name="T18" fmla="*/ 5998 w 8295"/>
                    <a:gd name="T19" fmla="*/ 1989 h 2865"/>
                    <a:gd name="T20" fmla="*/ 6264 w 8295"/>
                    <a:gd name="T21" fmla="*/ 1889 h 2865"/>
                    <a:gd name="T22" fmla="*/ 6516 w 8295"/>
                    <a:gd name="T23" fmla="*/ 1783 h 2865"/>
                    <a:gd name="T24" fmla="*/ 6754 w 8295"/>
                    <a:gd name="T25" fmla="*/ 1675 h 2865"/>
                    <a:gd name="T26" fmla="*/ 6977 w 8295"/>
                    <a:gd name="T27" fmla="*/ 1561 h 2865"/>
                    <a:gd name="T28" fmla="*/ 7184 w 8295"/>
                    <a:gd name="T29" fmla="*/ 1444 h 2865"/>
                    <a:gd name="T30" fmla="*/ 7376 w 8295"/>
                    <a:gd name="T31" fmla="*/ 1323 h 2865"/>
                    <a:gd name="T32" fmla="*/ 7551 w 8295"/>
                    <a:gd name="T33" fmla="*/ 1199 h 2865"/>
                    <a:gd name="T34" fmla="*/ 7709 w 8295"/>
                    <a:gd name="T35" fmla="*/ 1070 h 2865"/>
                    <a:gd name="T36" fmla="*/ 7850 w 8295"/>
                    <a:gd name="T37" fmla="*/ 938 h 2865"/>
                    <a:gd name="T38" fmla="*/ 7972 w 8295"/>
                    <a:gd name="T39" fmla="*/ 802 h 2865"/>
                    <a:gd name="T40" fmla="*/ 8076 w 8295"/>
                    <a:gd name="T41" fmla="*/ 663 h 2865"/>
                    <a:gd name="T42" fmla="*/ 8161 w 8295"/>
                    <a:gd name="T43" fmla="*/ 522 h 2865"/>
                    <a:gd name="T44" fmla="*/ 8226 w 8295"/>
                    <a:gd name="T45" fmla="*/ 376 h 2865"/>
                    <a:gd name="T46" fmla="*/ 8269 w 8295"/>
                    <a:gd name="T47" fmla="*/ 228 h 2865"/>
                    <a:gd name="T48" fmla="*/ 8292 w 8295"/>
                    <a:gd name="T49" fmla="*/ 77 h 2865"/>
                    <a:gd name="T50" fmla="*/ 8194 w 8295"/>
                    <a:gd name="T51" fmla="*/ 35 h 2865"/>
                    <a:gd name="T52" fmla="*/ 8180 w 8295"/>
                    <a:gd name="T53" fmla="*/ 172 h 2865"/>
                    <a:gd name="T54" fmla="*/ 8145 w 8295"/>
                    <a:gd name="T55" fmla="*/ 307 h 2865"/>
                    <a:gd name="T56" fmla="*/ 8089 w 8295"/>
                    <a:gd name="T57" fmla="*/ 442 h 2865"/>
                    <a:gd name="T58" fmla="*/ 8016 w 8295"/>
                    <a:gd name="T59" fmla="*/ 574 h 2865"/>
                    <a:gd name="T60" fmla="*/ 7922 w 8295"/>
                    <a:gd name="T61" fmla="*/ 706 h 2865"/>
                    <a:gd name="T62" fmla="*/ 7810 w 8295"/>
                    <a:gd name="T63" fmla="*/ 835 h 2865"/>
                    <a:gd name="T64" fmla="*/ 7679 w 8295"/>
                    <a:gd name="T65" fmla="*/ 963 h 2865"/>
                    <a:gd name="T66" fmla="*/ 7530 w 8295"/>
                    <a:gd name="T67" fmla="*/ 1088 h 2865"/>
                    <a:gd name="T68" fmla="*/ 7364 w 8295"/>
                    <a:gd name="T69" fmla="*/ 1210 h 2865"/>
                    <a:gd name="T70" fmla="*/ 7182 w 8295"/>
                    <a:gd name="T71" fmla="*/ 1329 h 2865"/>
                    <a:gd name="T72" fmla="*/ 6982 w 8295"/>
                    <a:gd name="T73" fmla="*/ 1444 h 2865"/>
                    <a:gd name="T74" fmla="*/ 6766 w 8295"/>
                    <a:gd name="T75" fmla="*/ 1557 h 2865"/>
                    <a:gd name="T76" fmla="*/ 6537 w 8295"/>
                    <a:gd name="T77" fmla="*/ 1665 h 2865"/>
                    <a:gd name="T78" fmla="*/ 6290 w 8295"/>
                    <a:gd name="T79" fmla="*/ 1770 h 2865"/>
                    <a:gd name="T80" fmla="*/ 6032 w 8295"/>
                    <a:gd name="T81" fmla="*/ 1870 h 2865"/>
                    <a:gd name="T82" fmla="*/ 5757 w 8295"/>
                    <a:gd name="T83" fmla="*/ 1967 h 2865"/>
                    <a:gd name="T84" fmla="*/ 5471 w 8295"/>
                    <a:gd name="T85" fmla="*/ 2058 h 2865"/>
                    <a:gd name="T86" fmla="*/ 5096 w 8295"/>
                    <a:gd name="T87" fmla="*/ 2165 h 2865"/>
                    <a:gd name="T88" fmla="*/ 4455 w 8295"/>
                    <a:gd name="T89" fmla="*/ 2323 h 2865"/>
                    <a:gd name="T90" fmla="*/ 3771 w 8295"/>
                    <a:gd name="T91" fmla="*/ 2457 h 2865"/>
                    <a:gd name="T92" fmla="*/ 3047 w 8295"/>
                    <a:gd name="T93" fmla="*/ 2570 h 2865"/>
                    <a:gd name="T94" fmla="*/ 2287 w 8295"/>
                    <a:gd name="T95" fmla="*/ 2658 h 2865"/>
                    <a:gd name="T96" fmla="*/ 1497 w 8295"/>
                    <a:gd name="T97" fmla="*/ 2721 h 2865"/>
                    <a:gd name="T98" fmla="*/ 678 w 8295"/>
                    <a:gd name="T99" fmla="*/ 2756 h 2865"/>
                    <a:gd name="T100" fmla="*/ 50 w 8295"/>
                    <a:gd name="T101" fmla="*/ 2765 h 2865"/>
                    <a:gd name="T102" fmla="*/ 33 w 8295"/>
                    <a:gd name="T103" fmla="*/ 2767 h 2865"/>
                    <a:gd name="T104" fmla="*/ 15 w 8295"/>
                    <a:gd name="T105" fmla="*/ 2777 h 2865"/>
                    <a:gd name="T106" fmla="*/ 0 w 8295"/>
                    <a:gd name="T107" fmla="*/ 2805 h 2865"/>
                    <a:gd name="T108" fmla="*/ 6 w 8295"/>
                    <a:gd name="T109" fmla="*/ 2842 h 2865"/>
                    <a:gd name="T110" fmla="*/ 23 w 8295"/>
                    <a:gd name="T111" fmla="*/ 2859 h 2865"/>
                    <a:gd name="T112" fmla="*/ 43 w 8295"/>
                    <a:gd name="T113" fmla="*/ 2865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5">
                      <a:moveTo>
                        <a:pt x="50" y="2865"/>
                      </a:moveTo>
                      <a:lnTo>
                        <a:pt x="50" y="2865"/>
                      </a:lnTo>
                      <a:lnTo>
                        <a:pt x="262" y="2864"/>
                      </a:lnTo>
                      <a:lnTo>
                        <a:pt x="472" y="2861"/>
                      </a:lnTo>
                      <a:lnTo>
                        <a:pt x="681" y="2857"/>
                      </a:lnTo>
                      <a:lnTo>
                        <a:pt x="888" y="2851"/>
                      </a:lnTo>
                      <a:lnTo>
                        <a:pt x="1095" y="2842"/>
                      </a:lnTo>
                      <a:lnTo>
                        <a:pt x="1300" y="2832"/>
                      </a:lnTo>
                      <a:lnTo>
                        <a:pt x="1503" y="2820"/>
                      </a:lnTo>
                      <a:lnTo>
                        <a:pt x="1704" y="2808"/>
                      </a:lnTo>
                      <a:lnTo>
                        <a:pt x="1904" y="2793"/>
                      </a:lnTo>
                      <a:lnTo>
                        <a:pt x="2102" y="2776"/>
                      </a:lnTo>
                      <a:lnTo>
                        <a:pt x="2296" y="2757"/>
                      </a:lnTo>
                      <a:lnTo>
                        <a:pt x="2491" y="2738"/>
                      </a:lnTo>
                      <a:lnTo>
                        <a:pt x="2683" y="2717"/>
                      </a:lnTo>
                      <a:lnTo>
                        <a:pt x="2873" y="2694"/>
                      </a:lnTo>
                      <a:lnTo>
                        <a:pt x="3060" y="2669"/>
                      </a:lnTo>
                      <a:lnTo>
                        <a:pt x="3246" y="2644"/>
                      </a:lnTo>
                      <a:lnTo>
                        <a:pt x="3429" y="2616"/>
                      </a:lnTo>
                      <a:lnTo>
                        <a:pt x="3609" y="2587"/>
                      </a:lnTo>
                      <a:lnTo>
                        <a:pt x="3788" y="2557"/>
                      </a:lnTo>
                      <a:lnTo>
                        <a:pt x="3964" y="2524"/>
                      </a:lnTo>
                      <a:lnTo>
                        <a:pt x="4137" y="2491"/>
                      </a:lnTo>
                      <a:lnTo>
                        <a:pt x="4308" y="2456"/>
                      </a:lnTo>
                      <a:lnTo>
                        <a:pt x="4476" y="2420"/>
                      </a:lnTo>
                      <a:lnTo>
                        <a:pt x="4642" y="2383"/>
                      </a:lnTo>
                      <a:lnTo>
                        <a:pt x="4804" y="2344"/>
                      </a:lnTo>
                      <a:lnTo>
                        <a:pt x="4964" y="2304"/>
                      </a:lnTo>
                      <a:lnTo>
                        <a:pt x="5122" y="2263"/>
                      </a:lnTo>
                      <a:lnTo>
                        <a:pt x="5275" y="2220"/>
                      </a:lnTo>
                      <a:lnTo>
                        <a:pt x="5351" y="2198"/>
                      </a:lnTo>
                      <a:lnTo>
                        <a:pt x="5426" y="2177"/>
                      </a:lnTo>
                      <a:lnTo>
                        <a:pt x="5500" y="2154"/>
                      </a:lnTo>
                      <a:lnTo>
                        <a:pt x="5574" y="2131"/>
                      </a:lnTo>
                      <a:lnTo>
                        <a:pt x="5646" y="2108"/>
                      </a:lnTo>
                      <a:lnTo>
                        <a:pt x="5718" y="2085"/>
                      </a:lnTo>
                      <a:lnTo>
                        <a:pt x="5789" y="2062"/>
                      </a:lnTo>
                      <a:lnTo>
                        <a:pt x="5859" y="2038"/>
                      </a:lnTo>
                      <a:lnTo>
                        <a:pt x="5930" y="2013"/>
                      </a:lnTo>
                      <a:lnTo>
                        <a:pt x="5998" y="1989"/>
                      </a:lnTo>
                      <a:lnTo>
                        <a:pt x="6066" y="1965"/>
                      </a:lnTo>
                      <a:lnTo>
                        <a:pt x="6133" y="1940"/>
                      </a:lnTo>
                      <a:lnTo>
                        <a:pt x="6199" y="1914"/>
                      </a:lnTo>
                      <a:lnTo>
                        <a:pt x="6264" y="1889"/>
                      </a:lnTo>
                      <a:lnTo>
                        <a:pt x="6328" y="1863"/>
                      </a:lnTo>
                      <a:lnTo>
                        <a:pt x="6391" y="1836"/>
                      </a:lnTo>
                      <a:lnTo>
                        <a:pt x="6454" y="1810"/>
                      </a:lnTo>
                      <a:lnTo>
                        <a:pt x="6516" y="1783"/>
                      </a:lnTo>
                      <a:lnTo>
                        <a:pt x="6577" y="1756"/>
                      </a:lnTo>
                      <a:lnTo>
                        <a:pt x="6637" y="1730"/>
                      </a:lnTo>
                      <a:lnTo>
                        <a:pt x="6695" y="1702"/>
                      </a:lnTo>
                      <a:lnTo>
                        <a:pt x="6754" y="1675"/>
                      </a:lnTo>
                      <a:lnTo>
                        <a:pt x="6811" y="1647"/>
                      </a:lnTo>
                      <a:lnTo>
                        <a:pt x="6867" y="1619"/>
                      </a:lnTo>
                      <a:lnTo>
                        <a:pt x="6922" y="1590"/>
                      </a:lnTo>
                      <a:lnTo>
                        <a:pt x="6977" y="1561"/>
                      </a:lnTo>
                      <a:lnTo>
                        <a:pt x="7030" y="1532"/>
                      </a:lnTo>
                      <a:lnTo>
                        <a:pt x="7082" y="1503"/>
                      </a:lnTo>
                      <a:lnTo>
                        <a:pt x="7133" y="1474"/>
                      </a:lnTo>
                      <a:lnTo>
                        <a:pt x="7184" y="1444"/>
                      </a:lnTo>
                      <a:lnTo>
                        <a:pt x="7233" y="1414"/>
                      </a:lnTo>
                      <a:lnTo>
                        <a:pt x="7282" y="1384"/>
                      </a:lnTo>
                      <a:lnTo>
                        <a:pt x="7329" y="1354"/>
                      </a:lnTo>
                      <a:lnTo>
                        <a:pt x="7376" y="1323"/>
                      </a:lnTo>
                      <a:lnTo>
                        <a:pt x="7421" y="1292"/>
                      </a:lnTo>
                      <a:lnTo>
                        <a:pt x="7465" y="1261"/>
                      </a:lnTo>
                      <a:lnTo>
                        <a:pt x="7509" y="1230"/>
                      </a:lnTo>
                      <a:lnTo>
                        <a:pt x="7551" y="1199"/>
                      </a:lnTo>
                      <a:lnTo>
                        <a:pt x="7592" y="1167"/>
                      </a:lnTo>
                      <a:lnTo>
                        <a:pt x="7632" y="1134"/>
                      </a:lnTo>
                      <a:lnTo>
                        <a:pt x="7670" y="1102"/>
                      </a:lnTo>
                      <a:lnTo>
                        <a:pt x="7709" y="1070"/>
                      </a:lnTo>
                      <a:lnTo>
                        <a:pt x="7746" y="1037"/>
                      </a:lnTo>
                      <a:lnTo>
                        <a:pt x="7782" y="1004"/>
                      </a:lnTo>
                      <a:lnTo>
                        <a:pt x="7816" y="971"/>
                      </a:lnTo>
                      <a:lnTo>
                        <a:pt x="7850" y="938"/>
                      </a:lnTo>
                      <a:lnTo>
                        <a:pt x="7882" y="905"/>
                      </a:lnTo>
                      <a:lnTo>
                        <a:pt x="7914" y="870"/>
                      </a:lnTo>
                      <a:lnTo>
                        <a:pt x="7944" y="837"/>
                      </a:lnTo>
                      <a:lnTo>
                        <a:pt x="7972" y="802"/>
                      </a:lnTo>
                      <a:lnTo>
                        <a:pt x="8000" y="768"/>
                      </a:lnTo>
                      <a:lnTo>
                        <a:pt x="8027" y="734"/>
                      </a:lnTo>
                      <a:lnTo>
                        <a:pt x="8052" y="699"/>
                      </a:lnTo>
                      <a:lnTo>
                        <a:pt x="8076" y="663"/>
                      </a:lnTo>
                      <a:lnTo>
                        <a:pt x="8099" y="628"/>
                      </a:lnTo>
                      <a:lnTo>
                        <a:pt x="8121" y="593"/>
                      </a:lnTo>
                      <a:lnTo>
                        <a:pt x="8141" y="558"/>
                      </a:lnTo>
                      <a:lnTo>
                        <a:pt x="8161" y="522"/>
                      </a:lnTo>
                      <a:lnTo>
                        <a:pt x="8180" y="485"/>
                      </a:lnTo>
                      <a:lnTo>
                        <a:pt x="8196" y="449"/>
                      </a:lnTo>
                      <a:lnTo>
                        <a:pt x="8212" y="413"/>
                      </a:lnTo>
                      <a:lnTo>
                        <a:pt x="8226" y="376"/>
                      </a:lnTo>
                      <a:lnTo>
                        <a:pt x="8238" y="340"/>
                      </a:lnTo>
                      <a:lnTo>
                        <a:pt x="8251" y="302"/>
                      </a:lnTo>
                      <a:lnTo>
                        <a:pt x="8261" y="265"/>
                      </a:lnTo>
                      <a:lnTo>
                        <a:pt x="8269" y="228"/>
                      </a:lnTo>
                      <a:lnTo>
                        <a:pt x="8277" y="190"/>
                      </a:lnTo>
                      <a:lnTo>
                        <a:pt x="8284" y="152"/>
                      </a:lnTo>
                      <a:lnTo>
                        <a:pt x="8289" y="115"/>
                      </a:lnTo>
                      <a:lnTo>
                        <a:pt x="8292" y="77"/>
                      </a:lnTo>
                      <a:lnTo>
                        <a:pt x="8294" y="38"/>
                      </a:lnTo>
                      <a:lnTo>
                        <a:pt x="8295" y="0"/>
                      </a:lnTo>
                      <a:lnTo>
                        <a:pt x="8195" y="0"/>
                      </a:lnTo>
                      <a:lnTo>
                        <a:pt x="8194" y="35"/>
                      </a:lnTo>
                      <a:lnTo>
                        <a:pt x="8192" y="69"/>
                      </a:lnTo>
                      <a:lnTo>
                        <a:pt x="8189" y="104"/>
                      </a:lnTo>
                      <a:lnTo>
                        <a:pt x="8185" y="138"/>
                      </a:lnTo>
                      <a:lnTo>
                        <a:pt x="8180" y="172"/>
                      </a:lnTo>
                      <a:lnTo>
                        <a:pt x="8172" y="206"/>
                      </a:lnTo>
                      <a:lnTo>
                        <a:pt x="8164" y="240"/>
                      </a:lnTo>
                      <a:lnTo>
                        <a:pt x="8155" y="274"/>
                      </a:lnTo>
                      <a:lnTo>
                        <a:pt x="8145" y="307"/>
                      </a:lnTo>
                      <a:lnTo>
                        <a:pt x="8132" y="342"/>
                      </a:lnTo>
                      <a:lnTo>
                        <a:pt x="8119" y="375"/>
                      </a:lnTo>
                      <a:lnTo>
                        <a:pt x="8105" y="409"/>
                      </a:lnTo>
                      <a:lnTo>
                        <a:pt x="8089" y="442"/>
                      </a:lnTo>
                      <a:lnTo>
                        <a:pt x="8072" y="475"/>
                      </a:lnTo>
                      <a:lnTo>
                        <a:pt x="8055" y="508"/>
                      </a:lnTo>
                      <a:lnTo>
                        <a:pt x="8035" y="541"/>
                      </a:lnTo>
                      <a:lnTo>
                        <a:pt x="8016" y="574"/>
                      </a:lnTo>
                      <a:lnTo>
                        <a:pt x="7993" y="608"/>
                      </a:lnTo>
                      <a:lnTo>
                        <a:pt x="7970" y="641"/>
                      </a:lnTo>
                      <a:lnTo>
                        <a:pt x="7947" y="673"/>
                      </a:lnTo>
                      <a:lnTo>
                        <a:pt x="7922" y="706"/>
                      </a:lnTo>
                      <a:lnTo>
                        <a:pt x="7895" y="739"/>
                      </a:lnTo>
                      <a:lnTo>
                        <a:pt x="7868" y="771"/>
                      </a:lnTo>
                      <a:lnTo>
                        <a:pt x="7839" y="803"/>
                      </a:lnTo>
                      <a:lnTo>
                        <a:pt x="7810" y="835"/>
                      </a:lnTo>
                      <a:lnTo>
                        <a:pt x="7779" y="867"/>
                      </a:lnTo>
                      <a:lnTo>
                        <a:pt x="7747" y="899"/>
                      </a:lnTo>
                      <a:lnTo>
                        <a:pt x="7714" y="931"/>
                      </a:lnTo>
                      <a:lnTo>
                        <a:pt x="7679" y="963"/>
                      </a:lnTo>
                      <a:lnTo>
                        <a:pt x="7644" y="994"/>
                      </a:lnTo>
                      <a:lnTo>
                        <a:pt x="7607" y="1026"/>
                      </a:lnTo>
                      <a:lnTo>
                        <a:pt x="7569" y="1057"/>
                      </a:lnTo>
                      <a:lnTo>
                        <a:pt x="7530" y="1088"/>
                      </a:lnTo>
                      <a:lnTo>
                        <a:pt x="7490" y="1118"/>
                      </a:lnTo>
                      <a:lnTo>
                        <a:pt x="7450" y="1149"/>
                      </a:lnTo>
                      <a:lnTo>
                        <a:pt x="7408" y="1179"/>
                      </a:lnTo>
                      <a:lnTo>
                        <a:pt x="7364" y="1210"/>
                      </a:lnTo>
                      <a:lnTo>
                        <a:pt x="7320" y="1240"/>
                      </a:lnTo>
                      <a:lnTo>
                        <a:pt x="7275" y="1270"/>
                      </a:lnTo>
                      <a:lnTo>
                        <a:pt x="7228" y="1299"/>
                      </a:lnTo>
                      <a:lnTo>
                        <a:pt x="7182" y="1329"/>
                      </a:lnTo>
                      <a:lnTo>
                        <a:pt x="7133" y="1358"/>
                      </a:lnTo>
                      <a:lnTo>
                        <a:pt x="7084" y="1387"/>
                      </a:lnTo>
                      <a:lnTo>
                        <a:pt x="7033" y="1416"/>
                      </a:lnTo>
                      <a:lnTo>
                        <a:pt x="6982" y="1444"/>
                      </a:lnTo>
                      <a:lnTo>
                        <a:pt x="6929" y="1473"/>
                      </a:lnTo>
                      <a:lnTo>
                        <a:pt x="6877" y="1501"/>
                      </a:lnTo>
                      <a:lnTo>
                        <a:pt x="6822" y="1529"/>
                      </a:lnTo>
                      <a:lnTo>
                        <a:pt x="6766" y="1557"/>
                      </a:lnTo>
                      <a:lnTo>
                        <a:pt x="6711" y="1584"/>
                      </a:lnTo>
                      <a:lnTo>
                        <a:pt x="6653" y="1612"/>
                      </a:lnTo>
                      <a:lnTo>
                        <a:pt x="6595" y="1638"/>
                      </a:lnTo>
                      <a:lnTo>
                        <a:pt x="6537" y="1665"/>
                      </a:lnTo>
                      <a:lnTo>
                        <a:pt x="6476" y="1691"/>
                      </a:lnTo>
                      <a:lnTo>
                        <a:pt x="6415" y="1718"/>
                      </a:lnTo>
                      <a:lnTo>
                        <a:pt x="6354" y="1744"/>
                      </a:lnTo>
                      <a:lnTo>
                        <a:pt x="6290" y="1770"/>
                      </a:lnTo>
                      <a:lnTo>
                        <a:pt x="6227" y="1795"/>
                      </a:lnTo>
                      <a:lnTo>
                        <a:pt x="6163" y="1821"/>
                      </a:lnTo>
                      <a:lnTo>
                        <a:pt x="6098" y="1845"/>
                      </a:lnTo>
                      <a:lnTo>
                        <a:pt x="6032" y="1870"/>
                      </a:lnTo>
                      <a:lnTo>
                        <a:pt x="5965" y="1895"/>
                      </a:lnTo>
                      <a:lnTo>
                        <a:pt x="5897" y="1919"/>
                      </a:lnTo>
                      <a:lnTo>
                        <a:pt x="5828" y="1943"/>
                      </a:lnTo>
                      <a:lnTo>
                        <a:pt x="5757" y="1967"/>
                      </a:lnTo>
                      <a:lnTo>
                        <a:pt x="5687" y="1989"/>
                      </a:lnTo>
                      <a:lnTo>
                        <a:pt x="5616" y="2013"/>
                      </a:lnTo>
                      <a:lnTo>
                        <a:pt x="5544" y="2036"/>
                      </a:lnTo>
                      <a:lnTo>
                        <a:pt x="5471" y="2058"/>
                      </a:lnTo>
                      <a:lnTo>
                        <a:pt x="5398" y="2080"/>
                      </a:lnTo>
                      <a:lnTo>
                        <a:pt x="5324" y="2102"/>
                      </a:lnTo>
                      <a:lnTo>
                        <a:pt x="5248" y="2124"/>
                      </a:lnTo>
                      <a:lnTo>
                        <a:pt x="5096" y="2165"/>
                      </a:lnTo>
                      <a:lnTo>
                        <a:pt x="4940" y="2207"/>
                      </a:lnTo>
                      <a:lnTo>
                        <a:pt x="4781" y="2247"/>
                      </a:lnTo>
                      <a:lnTo>
                        <a:pt x="4620" y="2285"/>
                      </a:lnTo>
                      <a:lnTo>
                        <a:pt x="4455" y="2323"/>
                      </a:lnTo>
                      <a:lnTo>
                        <a:pt x="4288" y="2358"/>
                      </a:lnTo>
                      <a:lnTo>
                        <a:pt x="4119" y="2392"/>
                      </a:lnTo>
                      <a:lnTo>
                        <a:pt x="3945" y="2426"/>
                      </a:lnTo>
                      <a:lnTo>
                        <a:pt x="3771" y="2457"/>
                      </a:lnTo>
                      <a:lnTo>
                        <a:pt x="3593" y="2487"/>
                      </a:lnTo>
                      <a:lnTo>
                        <a:pt x="3414" y="2516"/>
                      </a:lnTo>
                      <a:lnTo>
                        <a:pt x="3231" y="2544"/>
                      </a:lnTo>
                      <a:lnTo>
                        <a:pt x="3047" y="2570"/>
                      </a:lnTo>
                      <a:lnTo>
                        <a:pt x="2860" y="2594"/>
                      </a:lnTo>
                      <a:lnTo>
                        <a:pt x="2672" y="2617"/>
                      </a:lnTo>
                      <a:lnTo>
                        <a:pt x="2481" y="2638"/>
                      </a:lnTo>
                      <a:lnTo>
                        <a:pt x="2287" y="2658"/>
                      </a:lnTo>
                      <a:lnTo>
                        <a:pt x="2092" y="2676"/>
                      </a:lnTo>
                      <a:lnTo>
                        <a:pt x="1895" y="2692"/>
                      </a:lnTo>
                      <a:lnTo>
                        <a:pt x="1698" y="2708"/>
                      </a:lnTo>
                      <a:lnTo>
                        <a:pt x="1497" y="2721"/>
                      </a:lnTo>
                      <a:lnTo>
                        <a:pt x="1295" y="2733"/>
                      </a:lnTo>
                      <a:lnTo>
                        <a:pt x="1090" y="2742"/>
                      </a:lnTo>
                      <a:lnTo>
                        <a:pt x="885" y="2750"/>
                      </a:lnTo>
                      <a:lnTo>
                        <a:pt x="678" y="2756"/>
                      </a:lnTo>
                      <a:lnTo>
                        <a:pt x="470" y="2761"/>
                      </a:lnTo>
                      <a:lnTo>
                        <a:pt x="261" y="2764"/>
                      </a:lnTo>
                      <a:lnTo>
                        <a:pt x="50" y="2765"/>
                      </a:lnTo>
                      <a:lnTo>
                        <a:pt x="50" y="2765"/>
                      </a:lnTo>
                      <a:lnTo>
                        <a:pt x="50" y="2765"/>
                      </a:lnTo>
                      <a:lnTo>
                        <a:pt x="43" y="2765"/>
                      </a:lnTo>
                      <a:lnTo>
                        <a:pt x="38" y="2766"/>
                      </a:lnTo>
                      <a:lnTo>
                        <a:pt x="33" y="2767"/>
                      </a:lnTo>
                      <a:lnTo>
                        <a:pt x="28" y="2769"/>
                      </a:lnTo>
                      <a:lnTo>
                        <a:pt x="23" y="2771"/>
                      </a:lnTo>
                      <a:lnTo>
                        <a:pt x="19" y="2774"/>
                      </a:lnTo>
                      <a:lnTo>
                        <a:pt x="15" y="2777"/>
                      </a:lnTo>
                      <a:lnTo>
                        <a:pt x="12" y="2780"/>
                      </a:lnTo>
                      <a:lnTo>
                        <a:pt x="6" y="2787"/>
                      </a:lnTo>
                      <a:lnTo>
                        <a:pt x="3" y="2797"/>
                      </a:lnTo>
                      <a:lnTo>
                        <a:pt x="0" y="2805"/>
                      </a:lnTo>
                      <a:lnTo>
                        <a:pt x="0" y="2814"/>
                      </a:lnTo>
                      <a:lnTo>
                        <a:pt x="0" y="2825"/>
                      </a:lnTo>
                      <a:lnTo>
                        <a:pt x="3" y="2833"/>
                      </a:lnTo>
                      <a:lnTo>
                        <a:pt x="6" y="2842"/>
                      </a:lnTo>
                      <a:lnTo>
                        <a:pt x="12" y="2849"/>
                      </a:lnTo>
                      <a:lnTo>
                        <a:pt x="15" y="2853"/>
                      </a:lnTo>
                      <a:lnTo>
                        <a:pt x="19" y="2856"/>
                      </a:lnTo>
                      <a:lnTo>
                        <a:pt x="23" y="2859"/>
                      </a:lnTo>
                      <a:lnTo>
                        <a:pt x="28" y="2861"/>
                      </a:lnTo>
                      <a:lnTo>
                        <a:pt x="33" y="2863"/>
                      </a:lnTo>
                      <a:lnTo>
                        <a:pt x="38" y="2864"/>
                      </a:lnTo>
                      <a:lnTo>
                        <a:pt x="43" y="2865"/>
                      </a:lnTo>
                      <a:lnTo>
                        <a:pt x="50"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01" name="Freeform 145"/>
                <p:cNvSpPr>
                  <a:spLocks/>
                </p:cNvSpPr>
                <p:nvPr>
                  <p:custDataLst>
                    <p:tags r:id="rId146"/>
                  </p:custDataLst>
                </p:nvPr>
              </p:nvSpPr>
              <p:spPr bwMode="auto">
                <a:xfrm>
                  <a:off x="369" y="3627"/>
                  <a:ext cx="359" cy="117"/>
                </a:xfrm>
                <a:custGeom>
                  <a:avLst/>
                  <a:gdLst>
                    <a:gd name="T0" fmla="*/ 3 w 8246"/>
                    <a:gd name="T1" fmla="*/ 127 h 2915"/>
                    <a:gd name="T2" fmla="*/ 25 w 8246"/>
                    <a:gd name="T3" fmla="*/ 278 h 2915"/>
                    <a:gd name="T4" fmla="*/ 69 w 8246"/>
                    <a:gd name="T5" fmla="*/ 426 h 2915"/>
                    <a:gd name="T6" fmla="*/ 134 w 8246"/>
                    <a:gd name="T7" fmla="*/ 572 h 2915"/>
                    <a:gd name="T8" fmla="*/ 219 w 8246"/>
                    <a:gd name="T9" fmla="*/ 713 h 2915"/>
                    <a:gd name="T10" fmla="*/ 323 w 8246"/>
                    <a:gd name="T11" fmla="*/ 852 h 2915"/>
                    <a:gd name="T12" fmla="*/ 445 w 8246"/>
                    <a:gd name="T13" fmla="*/ 988 h 2915"/>
                    <a:gd name="T14" fmla="*/ 586 w 8246"/>
                    <a:gd name="T15" fmla="*/ 1120 h 2915"/>
                    <a:gd name="T16" fmla="*/ 744 w 8246"/>
                    <a:gd name="T17" fmla="*/ 1249 h 2915"/>
                    <a:gd name="T18" fmla="*/ 919 w 8246"/>
                    <a:gd name="T19" fmla="*/ 1373 h 2915"/>
                    <a:gd name="T20" fmla="*/ 1111 w 8246"/>
                    <a:gd name="T21" fmla="*/ 1494 h 2915"/>
                    <a:gd name="T22" fmla="*/ 1318 w 8246"/>
                    <a:gd name="T23" fmla="*/ 1611 h 2915"/>
                    <a:gd name="T24" fmla="*/ 1541 w 8246"/>
                    <a:gd name="T25" fmla="*/ 1725 h 2915"/>
                    <a:gd name="T26" fmla="*/ 1779 w 8246"/>
                    <a:gd name="T27" fmla="*/ 1833 h 2915"/>
                    <a:gd name="T28" fmla="*/ 2030 w 8246"/>
                    <a:gd name="T29" fmla="*/ 1939 h 2915"/>
                    <a:gd name="T30" fmla="*/ 2297 w 8246"/>
                    <a:gd name="T31" fmla="*/ 2039 h 2915"/>
                    <a:gd name="T32" fmla="*/ 2577 w 8246"/>
                    <a:gd name="T33" fmla="*/ 2135 h 2915"/>
                    <a:gd name="T34" fmla="*/ 2869 w 8246"/>
                    <a:gd name="T35" fmla="*/ 2227 h 2915"/>
                    <a:gd name="T36" fmla="*/ 3331 w 8246"/>
                    <a:gd name="T37" fmla="*/ 2354 h 2915"/>
                    <a:gd name="T38" fmla="*/ 3987 w 8246"/>
                    <a:gd name="T39" fmla="*/ 2506 h 2915"/>
                    <a:gd name="T40" fmla="*/ 4686 w 8246"/>
                    <a:gd name="T41" fmla="*/ 2637 h 2915"/>
                    <a:gd name="T42" fmla="*/ 5422 w 8246"/>
                    <a:gd name="T43" fmla="*/ 2744 h 2915"/>
                    <a:gd name="T44" fmla="*/ 6193 w 8246"/>
                    <a:gd name="T45" fmla="*/ 2826 h 2915"/>
                    <a:gd name="T46" fmla="*/ 6995 w 8246"/>
                    <a:gd name="T47" fmla="*/ 2882 h 2915"/>
                    <a:gd name="T48" fmla="*/ 7823 w 8246"/>
                    <a:gd name="T49" fmla="*/ 2911 h 2915"/>
                    <a:gd name="T50" fmla="*/ 8034 w 8246"/>
                    <a:gd name="T51" fmla="*/ 2814 h 2915"/>
                    <a:gd name="T52" fmla="*/ 7205 w 8246"/>
                    <a:gd name="T53" fmla="*/ 2792 h 2915"/>
                    <a:gd name="T54" fmla="*/ 6400 w 8246"/>
                    <a:gd name="T55" fmla="*/ 2742 h 2915"/>
                    <a:gd name="T56" fmla="*/ 5623 w 8246"/>
                    <a:gd name="T57" fmla="*/ 2667 h 2915"/>
                    <a:gd name="T58" fmla="*/ 4881 w 8246"/>
                    <a:gd name="T59" fmla="*/ 2566 h 2915"/>
                    <a:gd name="T60" fmla="*/ 4176 w 8246"/>
                    <a:gd name="T61" fmla="*/ 2442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2 h 2915"/>
                    <a:gd name="T76" fmla="*/ 1418 w 8246"/>
                    <a:gd name="T77" fmla="*/ 1551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8 h 2915"/>
                    <a:gd name="T94" fmla="*/ 175 w 8246"/>
                    <a:gd name="T95" fmla="*/ 425 h 2915"/>
                    <a:gd name="T96" fmla="*/ 131 w 8246"/>
                    <a:gd name="T97" fmla="*/ 290 h 2915"/>
                    <a:gd name="T98" fmla="*/ 106 w 8246"/>
                    <a:gd name="T99" fmla="*/ 154 h 2915"/>
                    <a:gd name="T100" fmla="*/ 100 w 8246"/>
                    <a:gd name="T101" fmla="*/ 50 h 2915"/>
                    <a:gd name="T102" fmla="*/ 98 w 8246"/>
                    <a:gd name="T103" fmla="*/ 33 h 2915"/>
                    <a:gd name="T104" fmla="*/ 88 w 8246"/>
                    <a:gd name="T105" fmla="*/ 16 h 2915"/>
                    <a:gd name="T106" fmla="*/ 60 w 8246"/>
                    <a:gd name="T107" fmla="*/ 0 h 2915"/>
                    <a:gd name="T108" fmla="*/ 23 w 8246"/>
                    <a:gd name="T109" fmla="*/ 8 h 2915"/>
                    <a:gd name="T110" fmla="*/ 6 w 8246"/>
                    <a:gd name="T111" fmla="*/ 24 h 2915"/>
                    <a:gd name="T112" fmla="*/ 0 w 8246"/>
                    <a:gd name="T113" fmla="*/ 44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0"/>
                      </a:moveTo>
                      <a:lnTo>
                        <a:pt x="0" y="50"/>
                      </a:lnTo>
                      <a:lnTo>
                        <a:pt x="1" y="88"/>
                      </a:lnTo>
                      <a:lnTo>
                        <a:pt x="3" y="127"/>
                      </a:lnTo>
                      <a:lnTo>
                        <a:pt x="6" y="165"/>
                      </a:lnTo>
                      <a:lnTo>
                        <a:pt x="11" y="202"/>
                      </a:lnTo>
                      <a:lnTo>
                        <a:pt x="18" y="240"/>
                      </a:lnTo>
                      <a:lnTo>
                        <a:pt x="25" y="278"/>
                      </a:lnTo>
                      <a:lnTo>
                        <a:pt x="34" y="315"/>
                      </a:lnTo>
                      <a:lnTo>
                        <a:pt x="44" y="352"/>
                      </a:lnTo>
                      <a:lnTo>
                        <a:pt x="56" y="390"/>
                      </a:lnTo>
                      <a:lnTo>
                        <a:pt x="69" y="426"/>
                      </a:lnTo>
                      <a:lnTo>
                        <a:pt x="83" y="463"/>
                      </a:lnTo>
                      <a:lnTo>
                        <a:pt x="99" y="499"/>
                      </a:lnTo>
                      <a:lnTo>
                        <a:pt x="115" y="535"/>
                      </a:lnTo>
                      <a:lnTo>
                        <a:pt x="134" y="572"/>
                      </a:lnTo>
                      <a:lnTo>
                        <a:pt x="154" y="608"/>
                      </a:lnTo>
                      <a:lnTo>
                        <a:pt x="174" y="643"/>
                      </a:lnTo>
                      <a:lnTo>
                        <a:pt x="196" y="678"/>
                      </a:lnTo>
                      <a:lnTo>
                        <a:pt x="219" y="713"/>
                      </a:lnTo>
                      <a:lnTo>
                        <a:pt x="243" y="749"/>
                      </a:lnTo>
                      <a:lnTo>
                        <a:pt x="268" y="784"/>
                      </a:lnTo>
                      <a:lnTo>
                        <a:pt x="295" y="818"/>
                      </a:lnTo>
                      <a:lnTo>
                        <a:pt x="323" y="852"/>
                      </a:lnTo>
                      <a:lnTo>
                        <a:pt x="351" y="887"/>
                      </a:lnTo>
                      <a:lnTo>
                        <a:pt x="381" y="920"/>
                      </a:lnTo>
                      <a:lnTo>
                        <a:pt x="413" y="955"/>
                      </a:lnTo>
                      <a:lnTo>
                        <a:pt x="445" y="988"/>
                      </a:lnTo>
                      <a:lnTo>
                        <a:pt x="479" y="1021"/>
                      </a:lnTo>
                      <a:lnTo>
                        <a:pt x="513" y="1054"/>
                      </a:lnTo>
                      <a:lnTo>
                        <a:pt x="549" y="1087"/>
                      </a:lnTo>
                      <a:lnTo>
                        <a:pt x="586" y="1120"/>
                      </a:lnTo>
                      <a:lnTo>
                        <a:pt x="624" y="1152"/>
                      </a:lnTo>
                      <a:lnTo>
                        <a:pt x="663" y="1184"/>
                      </a:lnTo>
                      <a:lnTo>
                        <a:pt x="703" y="1217"/>
                      </a:lnTo>
                      <a:lnTo>
                        <a:pt x="744" y="1249"/>
                      </a:lnTo>
                      <a:lnTo>
                        <a:pt x="786" y="1280"/>
                      </a:lnTo>
                      <a:lnTo>
                        <a:pt x="830" y="1311"/>
                      </a:lnTo>
                      <a:lnTo>
                        <a:pt x="874" y="1342"/>
                      </a:lnTo>
                      <a:lnTo>
                        <a:pt x="919" y="1373"/>
                      </a:lnTo>
                      <a:lnTo>
                        <a:pt x="966" y="1404"/>
                      </a:lnTo>
                      <a:lnTo>
                        <a:pt x="1013" y="1434"/>
                      </a:lnTo>
                      <a:lnTo>
                        <a:pt x="1062" y="1464"/>
                      </a:lnTo>
                      <a:lnTo>
                        <a:pt x="1111" y="1494"/>
                      </a:lnTo>
                      <a:lnTo>
                        <a:pt x="1162" y="1524"/>
                      </a:lnTo>
                      <a:lnTo>
                        <a:pt x="1212" y="1553"/>
                      </a:lnTo>
                      <a:lnTo>
                        <a:pt x="1265" y="1582"/>
                      </a:lnTo>
                      <a:lnTo>
                        <a:pt x="1318" y="1611"/>
                      </a:lnTo>
                      <a:lnTo>
                        <a:pt x="1373" y="1640"/>
                      </a:lnTo>
                      <a:lnTo>
                        <a:pt x="1428" y="1669"/>
                      </a:lnTo>
                      <a:lnTo>
                        <a:pt x="1484" y="1697"/>
                      </a:lnTo>
                      <a:lnTo>
                        <a:pt x="1541" y="1725"/>
                      </a:lnTo>
                      <a:lnTo>
                        <a:pt x="1600" y="1752"/>
                      </a:lnTo>
                      <a:lnTo>
                        <a:pt x="1658" y="1780"/>
                      </a:lnTo>
                      <a:lnTo>
                        <a:pt x="1718" y="1806"/>
                      </a:lnTo>
                      <a:lnTo>
                        <a:pt x="1779" y="1833"/>
                      </a:lnTo>
                      <a:lnTo>
                        <a:pt x="1841" y="1860"/>
                      </a:lnTo>
                      <a:lnTo>
                        <a:pt x="1904" y="1886"/>
                      </a:lnTo>
                      <a:lnTo>
                        <a:pt x="1967" y="1913"/>
                      </a:lnTo>
                      <a:lnTo>
                        <a:pt x="2030" y="1939"/>
                      </a:lnTo>
                      <a:lnTo>
                        <a:pt x="2096" y="1964"/>
                      </a:lnTo>
                      <a:lnTo>
                        <a:pt x="2162" y="1990"/>
                      </a:lnTo>
                      <a:lnTo>
                        <a:pt x="2229" y="2015"/>
                      </a:lnTo>
                      <a:lnTo>
                        <a:pt x="2297" y="2039"/>
                      </a:lnTo>
                      <a:lnTo>
                        <a:pt x="2365" y="2063"/>
                      </a:lnTo>
                      <a:lnTo>
                        <a:pt x="2436" y="2088"/>
                      </a:lnTo>
                      <a:lnTo>
                        <a:pt x="2506" y="2112"/>
                      </a:lnTo>
                      <a:lnTo>
                        <a:pt x="2577" y="2135"/>
                      </a:lnTo>
                      <a:lnTo>
                        <a:pt x="2649" y="2158"/>
                      </a:lnTo>
                      <a:lnTo>
                        <a:pt x="2721" y="2181"/>
                      </a:lnTo>
                      <a:lnTo>
                        <a:pt x="2794" y="2204"/>
                      </a:lnTo>
                      <a:lnTo>
                        <a:pt x="2869" y="2227"/>
                      </a:lnTo>
                      <a:lnTo>
                        <a:pt x="2944" y="2248"/>
                      </a:lnTo>
                      <a:lnTo>
                        <a:pt x="3020" y="2270"/>
                      </a:lnTo>
                      <a:lnTo>
                        <a:pt x="3173" y="2313"/>
                      </a:lnTo>
                      <a:lnTo>
                        <a:pt x="3331" y="2354"/>
                      </a:lnTo>
                      <a:lnTo>
                        <a:pt x="3491" y="2394"/>
                      </a:lnTo>
                      <a:lnTo>
                        <a:pt x="3653" y="2433"/>
                      </a:lnTo>
                      <a:lnTo>
                        <a:pt x="3819" y="2470"/>
                      </a:lnTo>
                      <a:lnTo>
                        <a:pt x="3987" y="2506"/>
                      </a:lnTo>
                      <a:lnTo>
                        <a:pt x="4158" y="2541"/>
                      </a:lnTo>
                      <a:lnTo>
                        <a:pt x="4331" y="2574"/>
                      </a:lnTo>
                      <a:lnTo>
                        <a:pt x="4507" y="2607"/>
                      </a:lnTo>
                      <a:lnTo>
                        <a:pt x="4686" y="2637"/>
                      </a:lnTo>
                      <a:lnTo>
                        <a:pt x="4866" y="2666"/>
                      </a:lnTo>
                      <a:lnTo>
                        <a:pt x="5049" y="2694"/>
                      </a:lnTo>
                      <a:lnTo>
                        <a:pt x="5235" y="2719"/>
                      </a:lnTo>
                      <a:lnTo>
                        <a:pt x="5422" y="2744"/>
                      </a:lnTo>
                      <a:lnTo>
                        <a:pt x="5612" y="2767"/>
                      </a:lnTo>
                      <a:lnTo>
                        <a:pt x="5804" y="2788"/>
                      </a:lnTo>
                      <a:lnTo>
                        <a:pt x="5998" y="2807"/>
                      </a:lnTo>
                      <a:lnTo>
                        <a:pt x="6193" y="2826"/>
                      </a:lnTo>
                      <a:lnTo>
                        <a:pt x="6391" y="2843"/>
                      </a:lnTo>
                      <a:lnTo>
                        <a:pt x="6591" y="2858"/>
                      </a:lnTo>
                      <a:lnTo>
                        <a:pt x="6792" y="2870"/>
                      </a:lnTo>
                      <a:lnTo>
                        <a:pt x="6995" y="2882"/>
                      </a:lnTo>
                      <a:lnTo>
                        <a:pt x="7200" y="2892"/>
                      </a:lnTo>
                      <a:lnTo>
                        <a:pt x="7407" y="2901"/>
                      </a:lnTo>
                      <a:lnTo>
                        <a:pt x="7614" y="2907"/>
                      </a:lnTo>
                      <a:lnTo>
                        <a:pt x="7823" y="2911"/>
                      </a:lnTo>
                      <a:lnTo>
                        <a:pt x="8034" y="2914"/>
                      </a:lnTo>
                      <a:lnTo>
                        <a:pt x="8246" y="2915"/>
                      </a:lnTo>
                      <a:lnTo>
                        <a:pt x="8246" y="2815"/>
                      </a:lnTo>
                      <a:lnTo>
                        <a:pt x="8034" y="2814"/>
                      </a:lnTo>
                      <a:lnTo>
                        <a:pt x="7825" y="2811"/>
                      </a:lnTo>
                      <a:lnTo>
                        <a:pt x="7617" y="2806"/>
                      </a:lnTo>
                      <a:lnTo>
                        <a:pt x="7410" y="2800"/>
                      </a:lnTo>
                      <a:lnTo>
                        <a:pt x="7205" y="2792"/>
                      </a:lnTo>
                      <a:lnTo>
                        <a:pt x="7000" y="2783"/>
                      </a:lnTo>
                      <a:lnTo>
                        <a:pt x="6798" y="2771"/>
                      </a:lnTo>
                      <a:lnTo>
                        <a:pt x="6597" y="2758"/>
                      </a:lnTo>
                      <a:lnTo>
                        <a:pt x="6400" y="2742"/>
                      </a:lnTo>
                      <a:lnTo>
                        <a:pt x="6203" y="2726"/>
                      </a:lnTo>
                      <a:lnTo>
                        <a:pt x="6008" y="2708"/>
                      </a:lnTo>
                      <a:lnTo>
                        <a:pt x="5814" y="2688"/>
                      </a:lnTo>
                      <a:lnTo>
                        <a:pt x="5623" y="2667"/>
                      </a:lnTo>
                      <a:lnTo>
                        <a:pt x="5435" y="2644"/>
                      </a:lnTo>
                      <a:lnTo>
                        <a:pt x="5248" y="2620"/>
                      </a:lnTo>
                      <a:lnTo>
                        <a:pt x="5064" y="2594"/>
                      </a:lnTo>
                      <a:lnTo>
                        <a:pt x="4881" y="2566"/>
                      </a:lnTo>
                      <a:lnTo>
                        <a:pt x="4702" y="2537"/>
                      </a:lnTo>
                      <a:lnTo>
                        <a:pt x="4524" y="2507"/>
                      </a:lnTo>
                      <a:lnTo>
                        <a:pt x="4350" y="2476"/>
                      </a:lnTo>
                      <a:lnTo>
                        <a:pt x="4176" y="2442"/>
                      </a:lnTo>
                      <a:lnTo>
                        <a:pt x="4007" y="2408"/>
                      </a:lnTo>
                      <a:lnTo>
                        <a:pt x="3839" y="2373"/>
                      </a:lnTo>
                      <a:lnTo>
                        <a:pt x="3675" y="2335"/>
                      </a:lnTo>
                      <a:lnTo>
                        <a:pt x="3514" y="2297"/>
                      </a:lnTo>
                      <a:lnTo>
                        <a:pt x="3355" y="2257"/>
                      </a:lnTo>
                      <a:lnTo>
                        <a:pt x="3199" y="2215"/>
                      </a:lnTo>
                      <a:lnTo>
                        <a:pt x="3047" y="2174"/>
                      </a:lnTo>
                      <a:lnTo>
                        <a:pt x="2971" y="2152"/>
                      </a:lnTo>
                      <a:lnTo>
                        <a:pt x="2897" y="2130"/>
                      </a:lnTo>
                      <a:lnTo>
                        <a:pt x="2824" y="2108"/>
                      </a:lnTo>
                      <a:lnTo>
                        <a:pt x="2751" y="2086"/>
                      </a:lnTo>
                      <a:lnTo>
                        <a:pt x="2679" y="2063"/>
                      </a:lnTo>
                      <a:lnTo>
                        <a:pt x="2608" y="2039"/>
                      </a:lnTo>
                      <a:lnTo>
                        <a:pt x="2538" y="2017"/>
                      </a:lnTo>
                      <a:lnTo>
                        <a:pt x="2467" y="1993"/>
                      </a:lnTo>
                      <a:lnTo>
                        <a:pt x="2398" y="1969"/>
                      </a:lnTo>
                      <a:lnTo>
                        <a:pt x="2330" y="1945"/>
                      </a:lnTo>
                      <a:lnTo>
                        <a:pt x="2263" y="1920"/>
                      </a:lnTo>
                      <a:lnTo>
                        <a:pt x="2197" y="1895"/>
                      </a:lnTo>
                      <a:lnTo>
                        <a:pt x="2132" y="1871"/>
                      </a:lnTo>
                      <a:lnTo>
                        <a:pt x="2068" y="1845"/>
                      </a:lnTo>
                      <a:lnTo>
                        <a:pt x="2004" y="1820"/>
                      </a:lnTo>
                      <a:lnTo>
                        <a:pt x="1941" y="1794"/>
                      </a:lnTo>
                      <a:lnTo>
                        <a:pt x="1880" y="1768"/>
                      </a:lnTo>
                      <a:lnTo>
                        <a:pt x="1819" y="1741"/>
                      </a:lnTo>
                      <a:lnTo>
                        <a:pt x="1758" y="1715"/>
                      </a:lnTo>
                      <a:lnTo>
                        <a:pt x="1700" y="1688"/>
                      </a:lnTo>
                      <a:lnTo>
                        <a:pt x="1642" y="1662"/>
                      </a:lnTo>
                      <a:lnTo>
                        <a:pt x="1584" y="1634"/>
                      </a:lnTo>
                      <a:lnTo>
                        <a:pt x="1529" y="1607"/>
                      </a:lnTo>
                      <a:lnTo>
                        <a:pt x="1473" y="1579"/>
                      </a:lnTo>
                      <a:lnTo>
                        <a:pt x="1418" y="1551"/>
                      </a:lnTo>
                      <a:lnTo>
                        <a:pt x="1366" y="1523"/>
                      </a:lnTo>
                      <a:lnTo>
                        <a:pt x="1313" y="1494"/>
                      </a:lnTo>
                      <a:lnTo>
                        <a:pt x="1262" y="1466"/>
                      </a:lnTo>
                      <a:lnTo>
                        <a:pt x="1211" y="1437"/>
                      </a:lnTo>
                      <a:lnTo>
                        <a:pt x="1162" y="1408"/>
                      </a:lnTo>
                      <a:lnTo>
                        <a:pt x="1113" y="1379"/>
                      </a:lnTo>
                      <a:lnTo>
                        <a:pt x="1066" y="1349"/>
                      </a:lnTo>
                      <a:lnTo>
                        <a:pt x="1020" y="1320"/>
                      </a:lnTo>
                      <a:lnTo>
                        <a:pt x="975" y="1290"/>
                      </a:lnTo>
                      <a:lnTo>
                        <a:pt x="931" y="1260"/>
                      </a:lnTo>
                      <a:lnTo>
                        <a:pt x="887" y="1229"/>
                      </a:lnTo>
                      <a:lnTo>
                        <a:pt x="845" y="1199"/>
                      </a:lnTo>
                      <a:lnTo>
                        <a:pt x="804" y="1168"/>
                      </a:lnTo>
                      <a:lnTo>
                        <a:pt x="765" y="1138"/>
                      </a:lnTo>
                      <a:lnTo>
                        <a:pt x="726" y="1107"/>
                      </a:lnTo>
                      <a:lnTo>
                        <a:pt x="688" y="1076"/>
                      </a:lnTo>
                      <a:lnTo>
                        <a:pt x="651" y="1044"/>
                      </a:lnTo>
                      <a:lnTo>
                        <a:pt x="616" y="1013"/>
                      </a:lnTo>
                      <a:lnTo>
                        <a:pt x="581" y="981"/>
                      </a:lnTo>
                      <a:lnTo>
                        <a:pt x="548" y="949"/>
                      </a:lnTo>
                      <a:lnTo>
                        <a:pt x="516" y="917"/>
                      </a:lnTo>
                      <a:lnTo>
                        <a:pt x="485" y="885"/>
                      </a:lnTo>
                      <a:lnTo>
                        <a:pt x="456" y="853"/>
                      </a:lnTo>
                      <a:lnTo>
                        <a:pt x="427" y="821"/>
                      </a:lnTo>
                      <a:lnTo>
                        <a:pt x="400" y="789"/>
                      </a:lnTo>
                      <a:lnTo>
                        <a:pt x="373" y="756"/>
                      </a:lnTo>
                      <a:lnTo>
                        <a:pt x="348" y="724"/>
                      </a:lnTo>
                      <a:lnTo>
                        <a:pt x="324" y="691"/>
                      </a:lnTo>
                      <a:lnTo>
                        <a:pt x="301" y="658"/>
                      </a:lnTo>
                      <a:lnTo>
                        <a:pt x="280" y="624"/>
                      </a:lnTo>
                      <a:lnTo>
                        <a:pt x="260" y="591"/>
                      </a:lnTo>
                      <a:lnTo>
                        <a:pt x="240" y="558"/>
                      </a:lnTo>
                      <a:lnTo>
                        <a:pt x="223" y="525"/>
                      </a:lnTo>
                      <a:lnTo>
                        <a:pt x="205" y="492"/>
                      </a:lnTo>
                      <a:lnTo>
                        <a:pt x="190" y="459"/>
                      </a:lnTo>
                      <a:lnTo>
                        <a:pt x="175" y="425"/>
                      </a:lnTo>
                      <a:lnTo>
                        <a:pt x="163" y="392"/>
                      </a:lnTo>
                      <a:lnTo>
                        <a:pt x="150" y="357"/>
                      </a:lnTo>
                      <a:lnTo>
                        <a:pt x="140" y="324"/>
                      </a:lnTo>
                      <a:lnTo>
                        <a:pt x="131" y="290"/>
                      </a:lnTo>
                      <a:lnTo>
                        <a:pt x="123" y="256"/>
                      </a:lnTo>
                      <a:lnTo>
                        <a:pt x="115" y="222"/>
                      </a:lnTo>
                      <a:lnTo>
                        <a:pt x="110" y="188"/>
                      </a:lnTo>
                      <a:lnTo>
                        <a:pt x="106" y="154"/>
                      </a:lnTo>
                      <a:lnTo>
                        <a:pt x="102" y="119"/>
                      </a:lnTo>
                      <a:lnTo>
                        <a:pt x="101" y="85"/>
                      </a:lnTo>
                      <a:lnTo>
                        <a:pt x="100" y="50"/>
                      </a:lnTo>
                      <a:lnTo>
                        <a:pt x="100" y="50"/>
                      </a:lnTo>
                      <a:lnTo>
                        <a:pt x="100" y="50"/>
                      </a:lnTo>
                      <a:lnTo>
                        <a:pt x="100" y="44"/>
                      </a:lnTo>
                      <a:lnTo>
                        <a:pt x="99" y="39"/>
                      </a:lnTo>
                      <a:lnTo>
                        <a:pt x="98" y="33"/>
                      </a:lnTo>
                      <a:lnTo>
                        <a:pt x="96" y="28"/>
                      </a:lnTo>
                      <a:lnTo>
                        <a:pt x="94" y="24"/>
                      </a:lnTo>
                      <a:lnTo>
                        <a:pt x="91" y="20"/>
                      </a:lnTo>
                      <a:lnTo>
                        <a:pt x="88" y="16"/>
                      </a:lnTo>
                      <a:lnTo>
                        <a:pt x="85" y="13"/>
                      </a:lnTo>
                      <a:lnTo>
                        <a:pt x="77" y="8"/>
                      </a:lnTo>
                      <a:lnTo>
                        <a:pt x="68" y="3"/>
                      </a:lnTo>
                      <a:lnTo>
                        <a:pt x="60" y="0"/>
                      </a:lnTo>
                      <a:lnTo>
                        <a:pt x="51" y="0"/>
                      </a:lnTo>
                      <a:lnTo>
                        <a:pt x="40" y="0"/>
                      </a:lnTo>
                      <a:lnTo>
                        <a:pt x="32" y="3"/>
                      </a:lnTo>
                      <a:lnTo>
                        <a:pt x="23" y="8"/>
                      </a:lnTo>
                      <a:lnTo>
                        <a:pt x="15" y="13"/>
                      </a:lnTo>
                      <a:lnTo>
                        <a:pt x="12" y="16"/>
                      </a:lnTo>
                      <a:lnTo>
                        <a:pt x="9" y="20"/>
                      </a:lnTo>
                      <a:lnTo>
                        <a:pt x="6" y="24"/>
                      </a:lnTo>
                      <a:lnTo>
                        <a:pt x="4" y="28"/>
                      </a:lnTo>
                      <a:lnTo>
                        <a:pt x="2" y="33"/>
                      </a:lnTo>
                      <a:lnTo>
                        <a:pt x="1" y="39"/>
                      </a:lnTo>
                      <a:lnTo>
                        <a:pt x="0" y="44"/>
                      </a:lnTo>
                      <a:lnTo>
                        <a:pt x="0" y="5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02" name="Freeform 146"/>
                <p:cNvSpPr>
                  <a:spLocks/>
                </p:cNvSpPr>
                <p:nvPr>
                  <p:custDataLst>
                    <p:tags r:id="rId147"/>
                  </p:custDataLst>
                </p:nvPr>
              </p:nvSpPr>
              <p:spPr bwMode="auto">
                <a:xfrm>
                  <a:off x="369" y="3515"/>
                  <a:ext cx="361" cy="114"/>
                </a:xfrm>
                <a:custGeom>
                  <a:avLst/>
                  <a:gdLst>
                    <a:gd name="T0" fmla="*/ 7823 w 8296"/>
                    <a:gd name="T1" fmla="*/ 3 h 2864"/>
                    <a:gd name="T2" fmla="*/ 6995 w 8296"/>
                    <a:gd name="T3" fmla="*/ 32 h 2864"/>
                    <a:gd name="T4" fmla="*/ 6193 w 8296"/>
                    <a:gd name="T5" fmla="*/ 88 h 2864"/>
                    <a:gd name="T6" fmla="*/ 5422 w 8296"/>
                    <a:gd name="T7" fmla="*/ 171 h 2864"/>
                    <a:gd name="T8" fmla="*/ 4686 w 8296"/>
                    <a:gd name="T9" fmla="*/ 279 h 2864"/>
                    <a:gd name="T10" fmla="*/ 3987 w 8296"/>
                    <a:gd name="T11" fmla="*/ 409 h 2864"/>
                    <a:gd name="T12" fmla="*/ 3331 w 8296"/>
                    <a:gd name="T13" fmla="*/ 561 h 2864"/>
                    <a:gd name="T14" fmla="*/ 2721 w 8296"/>
                    <a:gd name="T15" fmla="*/ 734 h 2864"/>
                    <a:gd name="T16" fmla="*/ 2436 w 8296"/>
                    <a:gd name="T17" fmla="*/ 827 h 2864"/>
                    <a:gd name="T18" fmla="*/ 2162 w 8296"/>
                    <a:gd name="T19" fmla="*/ 925 h 2864"/>
                    <a:gd name="T20" fmla="*/ 1904 w 8296"/>
                    <a:gd name="T21" fmla="*/ 1028 h 2864"/>
                    <a:gd name="T22" fmla="*/ 1658 w 8296"/>
                    <a:gd name="T23" fmla="*/ 1136 h 2864"/>
                    <a:gd name="T24" fmla="*/ 1428 w 8296"/>
                    <a:gd name="T25" fmla="*/ 1246 h 2864"/>
                    <a:gd name="T26" fmla="*/ 1212 w 8296"/>
                    <a:gd name="T27" fmla="*/ 1361 h 2864"/>
                    <a:gd name="T28" fmla="*/ 1013 w 8296"/>
                    <a:gd name="T29" fmla="*/ 1481 h 2864"/>
                    <a:gd name="T30" fmla="*/ 830 w 8296"/>
                    <a:gd name="T31" fmla="*/ 1603 h 2864"/>
                    <a:gd name="T32" fmla="*/ 663 w 8296"/>
                    <a:gd name="T33" fmla="*/ 1730 h 2864"/>
                    <a:gd name="T34" fmla="*/ 513 w 8296"/>
                    <a:gd name="T35" fmla="*/ 1860 h 2864"/>
                    <a:gd name="T36" fmla="*/ 381 w 8296"/>
                    <a:gd name="T37" fmla="*/ 1994 h 2864"/>
                    <a:gd name="T38" fmla="*/ 268 w 8296"/>
                    <a:gd name="T39" fmla="*/ 2131 h 2864"/>
                    <a:gd name="T40" fmla="*/ 174 w 8296"/>
                    <a:gd name="T41" fmla="*/ 2272 h 2864"/>
                    <a:gd name="T42" fmla="*/ 99 w 8296"/>
                    <a:gd name="T43" fmla="*/ 2416 h 2864"/>
                    <a:gd name="T44" fmla="*/ 44 w 8296"/>
                    <a:gd name="T45" fmla="*/ 2563 h 2864"/>
                    <a:gd name="T46" fmla="*/ 11 w 8296"/>
                    <a:gd name="T47" fmla="*/ 2712 h 2864"/>
                    <a:gd name="T48" fmla="*/ 0 w 8296"/>
                    <a:gd name="T49" fmla="*/ 2864 h 2864"/>
                    <a:gd name="T50" fmla="*/ 106 w 8296"/>
                    <a:gd name="T51" fmla="*/ 2762 h 2864"/>
                    <a:gd name="T52" fmla="*/ 131 w 8296"/>
                    <a:gd name="T53" fmla="*/ 2625 h 2864"/>
                    <a:gd name="T54" fmla="*/ 175 w 8296"/>
                    <a:gd name="T55" fmla="*/ 2490 h 2864"/>
                    <a:gd name="T56" fmla="*/ 240 w 8296"/>
                    <a:gd name="T57" fmla="*/ 2356 h 2864"/>
                    <a:gd name="T58" fmla="*/ 324 w 8296"/>
                    <a:gd name="T59" fmla="*/ 2224 h 2864"/>
                    <a:gd name="T60" fmla="*/ 427 w 8296"/>
                    <a:gd name="T61" fmla="*/ 2094 h 2864"/>
                    <a:gd name="T62" fmla="*/ 548 w 8296"/>
                    <a:gd name="T63" fmla="*/ 1966 h 2864"/>
                    <a:gd name="T64" fmla="*/ 688 w 8296"/>
                    <a:gd name="T65" fmla="*/ 1839 h 2864"/>
                    <a:gd name="T66" fmla="*/ 845 w 8296"/>
                    <a:gd name="T67" fmla="*/ 1716 h 2864"/>
                    <a:gd name="T68" fmla="*/ 1020 w 8296"/>
                    <a:gd name="T69" fmla="*/ 1595 h 2864"/>
                    <a:gd name="T70" fmla="*/ 1211 w 8296"/>
                    <a:gd name="T71" fmla="*/ 1478 h 2864"/>
                    <a:gd name="T72" fmla="*/ 1418 w 8296"/>
                    <a:gd name="T73" fmla="*/ 1364 h 2864"/>
                    <a:gd name="T74" fmla="*/ 1642 w 8296"/>
                    <a:gd name="T75" fmla="*/ 1254 h 2864"/>
                    <a:gd name="T76" fmla="*/ 1880 w 8296"/>
                    <a:gd name="T77" fmla="*/ 1147 h 2864"/>
                    <a:gd name="T78" fmla="*/ 2132 w 8296"/>
                    <a:gd name="T79" fmla="*/ 1044 h 2864"/>
                    <a:gd name="T80" fmla="*/ 2398 w 8296"/>
                    <a:gd name="T81" fmla="*/ 946 h 2864"/>
                    <a:gd name="T82" fmla="*/ 2679 w 8296"/>
                    <a:gd name="T83" fmla="*/ 852 h 2864"/>
                    <a:gd name="T84" fmla="*/ 3199 w 8296"/>
                    <a:gd name="T85" fmla="*/ 699 h 2864"/>
                    <a:gd name="T86" fmla="*/ 3839 w 8296"/>
                    <a:gd name="T87" fmla="*/ 542 h 2864"/>
                    <a:gd name="T88" fmla="*/ 4524 w 8296"/>
                    <a:gd name="T89" fmla="*/ 408 h 2864"/>
                    <a:gd name="T90" fmla="*/ 5248 w 8296"/>
                    <a:gd name="T91" fmla="*/ 295 h 2864"/>
                    <a:gd name="T92" fmla="*/ 6008 w 8296"/>
                    <a:gd name="T93" fmla="*/ 207 h 2864"/>
                    <a:gd name="T94" fmla="*/ 6798 w 8296"/>
                    <a:gd name="T95" fmla="*/ 144 h 2864"/>
                    <a:gd name="T96" fmla="*/ 7617 w 8296"/>
                    <a:gd name="T97" fmla="*/ 108 h 2864"/>
                    <a:gd name="T98" fmla="*/ 8246 w 8296"/>
                    <a:gd name="T99" fmla="*/ 100 h 2864"/>
                    <a:gd name="T100" fmla="*/ 8263 w 8296"/>
                    <a:gd name="T101" fmla="*/ 97 h 2864"/>
                    <a:gd name="T102" fmla="*/ 8280 w 8296"/>
                    <a:gd name="T103" fmla="*/ 88 h 2864"/>
                    <a:gd name="T104" fmla="*/ 8295 w 8296"/>
                    <a:gd name="T105" fmla="*/ 59 h 2864"/>
                    <a:gd name="T106" fmla="*/ 8289 w 8296"/>
                    <a:gd name="T107" fmla="*/ 23 h 2864"/>
                    <a:gd name="T108" fmla="*/ 8272 w 8296"/>
                    <a:gd name="T109" fmla="*/ 6 h 2864"/>
                    <a:gd name="T110" fmla="*/ 8252 w 8296"/>
                    <a:gd name="T111" fmla="*/ 0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4">
                      <a:moveTo>
                        <a:pt x="8246" y="0"/>
                      </a:moveTo>
                      <a:lnTo>
                        <a:pt x="8246" y="0"/>
                      </a:lnTo>
                      <a:lnTo>
                        <a:pt x="8034" y="0"/>
                      </a:lnTo>
                      <a:lnTo>
                        <a:pt x="7823" y="3"/>
                      </a:lnTo>
                      <a:lnTo>
                        <a:pt x="7614" y="8"/>
                      </a:lnTo>
                      <a:lnTo>
                        <a:pt x="7407" y="15"/>
                      </a:lnTo>
                      <a:lnTo>
                        <a:pt x="7200" y="23"/>
                      </a:lnTo>
                      <a:lnTo>
                        <a:pt x="6995" y="32"/>
                      </a:lnTo>
                      <a:lnTo>
                        <a:pt x="6792" y="44"/>
                      </a:lnTo>
                      <a:lnTo>
                        <a:pt x="6591" y="57"/>
                      </a:lnTo>
                      <a:lnTo>
                        <a:pt x="6391" y="72"/>
                      </a:lnTo>
                      <a:lnTo>
                        <a:pt x="6193" y="88"/>
                      </a:lnTo>
                      <a:lnTo>
                        <a:pt x="5998" y="107"/>
                      </a:lnTo>
                      <a:lnTo>
                        <a:pt x="5804" y="126"/>
                      </a:lnTo>
                      <a:lnTo>
                        <a:pt x="5612" y="148"/>
                      </a:lnTo>
                      <a:lnTo>
                        <a:pt x="5422" y="171"/>
                      </a:lnTo>
                      <a:lnTo>
                        <a:pt x="5235" y="196"/>
                      </a:lnTo>
                      <a:lnTo>
                        <a:pt x="5049" y="222"/>
                      </a:lnTo>
                      <a:lnTo>
                        <a:pt x="4866" y="250"/>
                      </a:lnTo>
                      <a:lnTo>
                        <a:pt x="4686" y="279"/>
                      </a:lnTo>
                      <a:lnTo>
                        <a:pt x="4507" y="309"/>
                      </a:lnTo>
                      <a:lnTo>
                        <a:pt x="4331" y="341"/>
                      </a:lnTo>
                      <a:lnTo>
                        <a:pt x="4158" y="374"/>
                      </a:lnTo>
                      <a:lnTo>
                        <a:pt x="3987" y="409"/>
                      </a:lnTo>
                      <a:lnTo>
                        <a:pt x="3819" y="444"/>
                      </a:lnTo>
                      <a:lnTo>
                        <a:pt x="3653" y="482"/>
                      </a:lnTo>
                      <a:lnTo>
                        <a:pt x="3491" y="521"/>
                      </a:lnTo>
                      <a:lnTo>
                        <a:pt x="3331" y="561"/>
                      </a:lnTo>
                      <a:lnTo>
                        <a:pt x="3173" y="602"/>
                      </a:lnTo>
                      <a:lnTo>
                        <a:pt x="3020" y="645"/>
                      </a:lnTo>
                      <a:lnTo>
                        <a:pt x="2869" y="688"/>
                      </a:lnTo>
                      <a:lnTo>
                        <a:pt x="2721" y="734"/>
                      </a:lnTo>
                      <a:lnTo>
                        <a:pt x="2649" y="757"/>
                      </a:lnTo>
                      <a:lnTo>
                        <a:pt x="2577" y="779"/>
                      </a:lnTo>
                      <a:lnTo>
                        <a:pt x="2506" y="803"/>
                      </a:lnTo>
                      <a:lnTo>
                        <a:pt x="2436" y="827"/>
                      </a:lnTo>
                      <a:lnTo>
                        <a:pt x="2365" y="851"/>
                      </a:lnTo>
                      <a:lnTo>
                        <a:pt x="2297" y="876"/>
                      </a:lnTo>
                      <a:lnTo>
                        <a:pt x="2229" y="901"/>
                      </a:lnTo>
                      <a:lnTo>
                        <a:pt x="2162" y="925"/>
                      </a:lnTo>
                      <a:lnTo>
                        <a:pt x="2096" y="950"/>
                      </a:lnTo>
                      <a:lnTo>
                        <a:pt x="2030" y="976"/>
                      </a:lnTo>
                      <a:lnTo>
                        <a:pt x="1967" y="1002"/>
                      </a:lnTo>
                      <a:lnTo>
                        <a:pt x="1904" y="1028"/>
                      </a:lnTo>
                      <a:lnTo>
                        <a:pt x="1841" y="1055"/>
                      </a:lnTo>
                      <a:lnTo>
                        <a:pt x="1779" y="1081"/>
                      </a:lnTo>
                      <a:lnTo>
                        <a:pt x="1718" y="1108"/>
                      </a:lnTo>
                      <a:lnTo>
                        <a:pt x="1658" y="1136"/>
                      </a:lnTo>
                      <a:lnTo>
                        <a:pt x="1600" y="1162"/>
                      </a:lnTo>
                      <a:lnTo>
                        <a:pt x="1541" y="1190"/>
                      </a:lnTo>
                      <a:lnTo>
                        <a:pt x="1484" y="1218"/>
                      </a:lnTo>
                      <a:lnTo>
                        <a:pt x="1428" y="1246"/>
                      </a:lnTo>
                      <a:lnTo>
                        <a:pt x="1373" y="1275"/>
                      </a:lnTo>
                      <a:lnTo>
                        <a:pt x="1318" y="1303"/>
                      </a:lnTo>
                      <a:lnTo>
                        <a:pt x="1265" y="1332"/>
                      </a:lnTo>
                      <a:lnTo>
                        <a:pt x="1212" y="1361"/>
                      </a:lnTo>
                      <a:lnTo>
                        <a:pt x="1162" y="1391"/>
                      </a:lnTo>
                      <a:lnTo>
                        <a:pt x="1111" y="1420"/>
                      </a:lnTo>
                      <a:lnTo>
                        <a:pt x="1062" y="1450"/>
                      </a:lnTo>
                      <a:lnTo>
                        <a:pt x="1013" y="1481"/>
                      </a:lnTo>
                      <a:lnTo>
                        <a:pt x="966" y="1511"/>
                      </a:lnTo>
                      <a:lnTo>
                        <a:pt x="919" y="1542"/>
                      </a:lnTo>
                      <a:lnTo>
                        <a:pt x="874" y="1572"/>
                      </a:lnTo>
                      <a:lnTo>
                        <a:pt x="830" y="1603"/>
                      </a:lnTo>
                      <a:lnTo>
                        <a:pt x="786" y="1635"/>
                      </a:lnTo>
                      <a:lnTo>
                        <a:pt x="744" y="1667"/>
                      </a:lnTo>
                      <a:lnTo>
                        <a:pt x="703" y="1699"/>
                      </a:lnTo>
                      <a:lnTo>
                        <a:pt x="663" y="1730"/>
                      </a:lnTo>
                      <a:lnTo>
                        <a:pt x="624" y="1763"/>
                      </a:lnTo>
                      <a:lnTo>
                        <a:pt x="586" y="1795"/>
                      </a:lnTo>
                      <a:lnTo>
                        <a:pt x="549" y="1828"/>
                      </a:lnTo>
                      <a:lnTo>
                        <a:pt x="513" y="1860"/>
                      </a:lnTo>
                      <a:lnTo>
                        <a:pt x="479" y="1893"/>
                      </a:lnTo>
                      <a:lnTo>
                        <a:pt x="445" y="1926"/>
                      </a:lnTo>
                      <a:lnTo>
                        <a:pt x="413" y="1960"/>
                      </a:lnTo>
                      <a:lnTo>
                        <a:pt x="381" y="1994"/>
                      </a:lnTo>
                      <a:lnTo>
                        <a:pt x="351" y="2028"/>
                      </a:lnTo>
                      <a:lnTo>
                        <a:pt x="323" y="2062"/>
                      </a:lnTo>
                      <a:lnTo>
                        <a:pt x="295" y="2097"/>
                      </a:lnTo>
                      <a:lnTo>
                        <a:pt x="268" y="2131"/>
                      </a:lnTo>
                      <a:lnTo>
                        <a:pt x="243" y="2166"/>
                      </a:lnTo>
                      <a:lnTo>
                        <a:pt x="219" y="2201"/>
                      </a:lnTo>
                      <a:lnTo>
                        <a:pt x="196" y="2236"/>
                      </a:lnTo>
                      <a:lnTo>
                        <a:pt x="174" y="2272"/>
                      </a:lnTo>
                      <a:lnTo>
                        <a:pt x="154" y="2307"/>
                      </a:lnTo>
                      <a:lnTo>
                        <a:pt x="134" y="2343"/>
                      </a:lnTo>
                      <a:lnTo>
                        <a:pt x="115" y="2380"/>
                      </a:lnTo>
                      <a:lnTo>
                        <a:pt x="99" y="2416"/>
                      </a:lnTo>
                      <a:lnTo>
                        <a:pt x="83" y="2452"/>
                      </a:lnTo>
                      <a:lnTo>
                        <a:pt x="69" y="2488"/>
                      </a:lnTo>
                      <a:lnTo>
                        <a:pt x="56" y="2526"/>
                      </a:lnTo>
                      <a:lnTo>
                        <a:pt x="44" y="2563"/>
                      </a:lnTo>
                      <a:lnTo>
                        <a:pt x="34" y="2600"/>
                      </a:lnTo>
                      <a:lnTo>
                        <a:pt x="25" y="2637"/>
                      </a:lnTo>
                      <a:lnTo>
                        <a:pt x="18" y="2675"/>
                      </a:lnTo>
                      <a:lnTo>
                        <a:pt x="11" y="2712"/>
                      </a:lnTo>
                      <a:lnTo>
                        <a:pt x="6" y="2750"/>
                      </a:lnTo>
                      <a:lnTo>
                        <a:pt x="3" y="2788"/>
                      </a:lnTo>
                      <a:lnTo>
                        <a:pt x="1" y="2826"/>
                      </a:lnTo>
                      <a:lnTo>
                        <a:pt x="0" y="2864"/>
                      </a:lnTo>
                      <a:lnTo>
                        <a:pt x="100" y="2864"/>
                      </a:lnTo>
                      <a:lnTo>
                        <a:pt x="101" y="2830"/>
                      </a:lnTo>
                      <a:lnTo>
                        <a:pt x="102" y="2796"/>
                      </a:lnTo>
                      <a:lnTo>
                        <a:pt x="106" y="2762"/>
                      </a:lnTo>
                      <a:lnTo>
                        <a:pt x="110" y="2726"/>
                      </a:lnTo>
                      <a:lnTo>
                        <a:pt x="115" y="2693"/>
                      </a:lnTo>
                      <a:lnTo>
                        <a:pt x="123" y="2659"/>
                      </a:lnTo>
                      <a:lnTo>
                        <a:pt x="131" y="2625"/>
                      </a:lnTo>
                      <a:lnTo>
                        <a:pt x="140" y="2591"/>
                      </a:lnTo>
                      <a:lnTo>
                        <a:pt x="150" y="2558"/>
                      </a:lnTo>
                      <a:lnTo>
                        <a:pt x="163" y="2524"/>
                      </a:lnTo>
                      <a:lnTo>
                        <a:pt x="175" y="2490"/>
                      </a:lnTo>
                      <a:lnTo>
                        <a:pt x="190" y="2456"/>
                      </a:lnTo>
                      <a:lnTo>
                        <a:pt x="205" y="2423"/>
                      </a:lnTo>
                      <a:lnTo>
                        <a:pt x="223" y="2390"/>
                      </a:lnTo>
                      <a:lnTo>
                        <a:pt x="240" y="2356"/>
                      </a:lnTo>
                      <a:lnTo>
                        <a:pt x="260" y="2323"/>
                      </a:lnTo>
                      <a:lnTo>
                        <a:pt x="279" y="2290"/>
                      </a:lnTo>
                      <a:lnTo>
                        <a:pt x="301" y="2258"/>
                      </a:lnTo>
                      <a:lnTo>
                        <a:pt x="324" y="2224"/>
                      </a:lnTo>
                      <a:lnTo>
                        <a:pt x="348" y="2191"/>
                      </a:lnTo>
                      <a:lnTo>
                        <a:pt x="373" y="2159"/>
                      </a:lnTo>
                      <a:lnTo>
                        <a:pt x="400" y="2126"/>
                      </a:lnTo>
                      <a:lnTo>
                        <a:pt x="427" y="2094"/>
                      </a:lnTo>
                      <a:lnTo>
                        <a:pt x="456" y="2062"/>
                      </a:lnTo>
                      <a:lnTo>
                        <a:pt x="485" y="2030"/>
                      </a:lnTo>
                      <a:lnTo>
                        <a:pt x="516" y="1998"/>
                      </a:lnTo>
                      <a:lnTo>
                        <a:pt x="548" y="1966"/>
                      </a:lnTo>
                      <a:lnTo>
                        <a:pt x="581" y="1934"/>
                      </a:lnTo>
                      <a:lnTo>
                        <a:pt x="616" y="1902"/>
                      </a:lnTo>
                      <a:lnTo>
                        <a:pt x="651" y="1870"/>
                      </a:lnTo>
                      <a:lnTo>
                        <a:pt x="688" y="1839"/>
                      </a:lnTo>
                      <a:lnTo>
                        <a:pt x="726" y="1808"/>
                      </a:lnTo>
                      <a:lnTo>
                        <a:pt x="765" y="1777"/>
                      </a:lnTo>
                      <a:lnTo>
                        <a:pt x="804" y="1746"/>
                      </a:lnTo>
                      <a:lnTo>
                        <a:pt x="845" y="1716"/>
                      </a:lnTo>
                      <a:lnTo>
                        <a:pt x="887" y="1685"/>
                      </a:lnTo>
                      <a:lnTo>
                        <a:pt x="931" y="1655"/>
                      </a:lnTo>
                      <a:lnTo>
                        <a:pt x="975" y="1625"/>
                      </a:lnTo>
                      <a:lnTo>
                        <a:pt x="1020" y="1595"/>
                      </a:lnTo>
                      <a:lnTo>
                        <a:pt x="1066" y="1565"/>
                      </a:lnTo>
                      <a:lnTo>
                        <a:pt x="1113" y="1536"/>
                      </a:lnTo>
                      <a:lnTo>
                        <a:pt x="1162" y="1507"/>
                      </a:lnTo>
                      <a:lnTo>
                        <a:pt x="1211" y="1478"/>
                      </a:lnTo>
                      <a:lnTo>
                        <a:pt x="1262" y="1449"/>
                      </a:lnTo>
                      <a:lnTo>
                        <a:pt x="1313" y="1420"/>
                      </a:lnTo>
                      <a:lnTo>
                        <a:pt x="1366" y="1392"/>
                      </a:lnTo>
                      <a:lnTo>
                        <a:pt x="1418" y="1364"/>
                      </a:lnTo>
                      <a:lnTo>
                        <a:pt x="1473" y="1336"/>
                      </a:lnTo>
                      <a:lnTo>
                        <a:pt x="1529" y="1308"/>
                      </a:lnTo>
                      <a:lnTo>
                        <a:pt x="1584" y="1280"/>
                      </a:lnTo>
                      <a:lnTo>
                        <a:pt x="1642" y="1254"/>
                      </a:lnTo>
                      <a:lnTo>
                        <a:pt x="1700" y="1227"/>
                      </a:lnTo>
                      <a:lnTo>
                        <a:pt x="1758" y="1200"/>
                      </a:lnTo>
                      <a:lnTo>
                        <a:pt x="1819" y="1173"/>
                      </a:lnTo>
                      <a:lnTo>
                        <a:pt x="1880" y="1147"/>
                      </a:lnTo>
                      <a:lnTo>
                        <a:pt x="1941" y="1121"/>
                      </a:lnTo>
                      <a:lnTo>
                        <a:pt x="2004" y="1095"/>
                      </a:lnTo>
                      <a:lnTo>
                        <a:pt x="2068" y="1069"/>
                      </a:lnTo>
                      <a:lnTo>
                        <a:pt x="2132" y="1044"/>
                      </a:lnTo>
                      <a:lnTo>
                        <a:pt x="2197" y="1020"/>
                      </a:lnTo>
                      <a:lnTo>
                        <a:pt x="2263" y="995"/>
                      </a:lnTo>
                      <a:lnTo>
                        <a:pt x="2330" y="970"/>
                      </a:lnTo>
                      <a:lnTo>
                        <a:pt x="2398" y="946"/>
                      </a:lnTo>
                      <a:lnTo>
                        <a:pt x="2467" y="922"/>
                      </a:lnTo>
                      <a:lnTo>
                        <a:pt x="2538" y="899"/>
                      </a:lnTo>
                      <a:lnTo>
                        <a:pt x="2608" y="875"/>
                      </a:lnTo>
                      <a:lnTo>
                        <a:pt x="2679" y="852"/>
                      </a:lnTo>
                      <a:lnTo>
                        <a:pt x="2751" y="829"/>
                      </a:lnTo>
                      <a:lnTo>
                        <a:pt x="2897" y="785"/>
                      </a:lnTo>
                      <a:lnTo>
                        <a:pt x="3047" y="741"/>
                      </a:lnTo>
                      <a:lnTo>
                        <a:pt x="3199" y="699"/>
                      </a:lnTo>
                      <a:lnTo>
                        <a:pt x="3355" y="658"/>
                      </a:lnTo>
                      <a:lnTo>
                        <a:pt x="3514" y="618"/>
                      </a:lnTo>
                      <a:lnTo>
                        <a:pt x="3675" y="580"/>
                      </a:lnTo>
                      <a:lnTo>
                        <a:pt x="3839" y="542"/>
                      </a:lnTo>
                      <a:lnTo>
                        <a:pt x="4007" y="506"/>
                      </a:lnTo>
                      <a:lnTo>
                        <a:pt x="4176" y="472"/>
                      </a:lnTo>
                      <a:lnTo>
                        <a:pt x="4350" y="439"/>
                      </a:lnTo>
                      <a:lnTo>
                        <a:pt x="4524" y="408"/>
                      </a:lnTo>
                      <a:lnTo>
                        <a:pt x="4702" y="377"/>
                      </a:lnTo>
                      <a:lnTo>
                        <a:pt x="4881" y="348"/>
                      </a:lnTo>
                      <a:lnTo>
                        <a:pt x="5064" y="321"/>
                      </a:lnTo>
                      <a:lnTo>
                        <a:pt x="5248" y="295"/>
                      </a:lnTo>
                      <a:lnTo>
                        <a:pt x="5435" y="270"/>
                      </a:lnTo>
                      <a:lnTo>
                        <a:pt x="5623" y="247"/>
                      </a:lnTo>
                      <a:lnTo>
                        <a:pt x="5814" y="227"/>
                      </a:lnTo>
                      <a:lnTo>
                        <a:pt x="6008" y="207"/>
                      </a:lnTo>
                      <a:lnTo>
                        <a:pt x="6203" y="188"/>
                      </a:lnTo>
                      <a:lnTo>
                        <a:pt x="6400" y="172"/>
                      </a:lnTo>
                      <a:lnTo>
                        <a:pt x="6597" y="157"/>
                      </a:lnTo>
                      <a:lnTo>
                        <a:pt x="6798" y="144"/>
                      </a:lnTo>
                      <a:lnTo>
                        <a:pt x="7000" y="133"/>
                      </a:lnTo>
                      <a:lnTo>
                        <a:pt x="7205" y="122"/>
                      </a:lnTo>
                      <a:lnTo>
                        <a:pt x="7410" y="115"/>
                      </a:lnTo>
                      <a:lnTo>
                        <a:pt x="7617" y="108"/>
                      </a:lnTo>
                      <a:lnTo>
                        <a:pt x="7825" y="104"/>
                      </a:lnTo>
                      <a:lnTo>
                        <a:pt x="8034" y="102"/>
                      </a:lnTo>
                      <a:lnTo>
                        <a:pt x="8246" y="100"/>
                      </a:lnTo>
                      <a:lnTo>
                        <a:pt x="8246" y="100"/>
                      </a:lnTo>
                      <a:lnTo>
                        <a:pt x="8246" y="100"/>
                      </a:lnTo>
                      <a:lnTo>
                        <a:pt x="8252" y="99"/>
                      </a:lnTo>
                      <a:lnTo>
                        <a:pt x="8257" y="99"/>
                      </a:lnTo>
                      <a:lnTo>
                        <a:pt x="8263" y="97"/>
                      </a:lnTo>
                      <a:lnTo>
                        <a:pt x="8267" y="96"/>
                      </a:lnTo>
                      <a:lnTo>
                        <a:pt x="8272" y="93"/>
                      </a:lnTo>
                      <a:lnTo>
                        <a:pt x="8276" y="91"/>
                      </a:lnTo>
                      <a:lnTo>
                        <a:pt x="8280" y="88"/>
                      </a:lnTo>
                      <a:lnTo>
                        <a:pt x="8284" y="84"/>
                      </a:lnTo>
                      <a:lnTo>
                        <a:pt x="8289" y="77"/>
                      </a:lnTo>
                      <a:lnTo>
                        <a:pt x="8293" y="68"/>
                      </a:lnTo>
                      <a:lnTo>
                        <a:pt x="8295" y="59"/>
                      </a:lnTo>
                      <a:lnTo>
                        <a:pt x="8296" y="50"/>
                      </a:lnTo>
                      <a:lnTo>
                        <a:pt x="8295" y="40"/>
                      </a:lnTo>
                      <a:lnTo>
                        <a:pt x="8293" y="31"/>
                      </a:lnTo>
                      <a:lnTo>
                        <a:pt x="8289" y="23"/>
                      </a:lnTo>
                      <a:lnTo>
                        <a:pt x="8284" y="16"/>
                      </a:lnTo>
                      <a:lnTo>
                        <a:pt x="8280" y="13"/>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03" name="Freeform 147"/>
                <p:cNvSpPr>
                  <a:spLocks/>
                </p:cNvSpPr>
                <p:nvPr>
                  <p:custDataLst>
                    <p:tags r:id="rId148"/>
                  </p:custDataLst>
                </p:nvPr>
              </p:nvSpPr>
              <p:spPr bwMode="auto">
                <a:xfrm>
                  <a:off x="728" y="3515"/>
                  <a:ext cx="358" cy="114"/>
                </a:xfrm>
                <a:custGeom>
                  <a:avLst/>
                  <a:gdLst>
                    <a:gd name="T0" fmla="*/ 8239 w 8245"/>
                    <a:gd name="T1" fmla="*/ 2750 h 2864"/>
                    <a:gd name="T2" fmla="*/ 8211 w 8245"/>
                    <a:gd name="T3" fmla="*/ 2600 h 2864"/>
                    <a:gd name="T4" fmla="*/ 8162 w 8245"/>
                    <a:gd name="T5" fmla="*/ 2452 h 2864"/>
                    <a:gd name="T6" fmla="*/ 8091 w 8245"/>
                    <a:gd name="T7" fmla="*/ 2307 h 2864"/>
                    <a:gd name="T8" fmla="*/ 8002 w 8245"/>
                    <a:gd name="T9" fmla="*/ 2166 h 2864"/>
                    <a:gd name="T10" fmla="*/ 7894 w 8245"/>
                    <a:gd name="T11" fmla="*/ 2028 h 2864"/>
                    <a:gd name="T12" fmla="*/ 7766 w 8245"/>
                    <a:gd name="T13" fmla="*/ 1893 h 2864"/>
                    <a:gd name="T14" fmla="*/ 7620 w 8245"/>
                    <a:gd name="T15" fmla="*/ 1763 h 2864"/>
                    <a:gd name="T16" fmla="*/ 7459 w 8245"/>
                    <a:gd name="T17" fmla="*/ 1635 h 2864"/>
                    <a:gd name="T18" fmla="*/ 7279 w 8245"/>
                    <a:gd name="T19" fmla="*/ 1511 h 2864"/>
                    <a:gd name="T20" fmla="*/ 7083 w 8245"/>
                    <a:gd name="T21" fmla="*/ 1391 h 2864"/>
                    <a:gd name="T22" fmla="*/ 6872 w 8245"/>
                    <a:gd name="T23" fmla="*/ 1275 h 2864"/>
                    <a:gd name="T24" fmla="*/ 6645 w 8245"/>
                    <a:gd name="T25" fmla="*/ 1162 h 2864"/>
                    <a:gd name="T26" fmla="*/ 6404 w 8245"/>
                    <a:gd name="T27" fmla="*/ 1055 h 2864"/>
                    <a:gd name="T28" fmla="*/ 6149 w 8245"/>
                    <a:gd name="T29" fmla="*/ 950 h 2864"/>
                    <a:gd name="T30" fmla="*/ 5880 w 8245"/>
                    <a:gd name="T31" fmla="*/ 851 h 2864"/>
                    <a:gd name="T32" fmla="*/ 5596 w 8245"/>
                    <a:gd name="T33" fmla="*/ 757 h 2864"/>
                    <a:gd name="T34" fmla="*/ 5072 w 8245"/>
                    <a:gd name="T35" fmla="*/ 602 h 2864"/>
                    <a:gd name="T36" fmla="*/ 4426 w 8245"/>
                    <a:gd name="T37" fmla="*/ 444 h 2864"/>
                    <a:gd name="T38" fmla="*/ 3738 w 8245"/>
                    <a:gd name="T39" fmla="*/ 309 h 2864"/>
                    <a:gd name="T40" fmla="*/ 3010 w 8245"/>
                    <a:gd name="T41" fmla="*/ 196 h 2864"/>
                    <a:gd name="T42" fmla="*/ 2246 w 8245"/>
                    <a:gd name="T43" fmla="*/ 107 h 2864"/>
                    <a:gd name="T44" fmla="*/ 1453 w 8245"/>
                    <a:gd name="T45" fmla="*/ 44 h 2864"/>
                    <a:gd name="T46" fmla="*/ 631 w 8245"/>
                    <a:gd name="T47" fmla="*/ 8 h 2864"/>
                    <a:gd name="T48" fmla="*/ 0 w 8245"/>
                    <a:gd name="T49" fmla="*/ 100 h 2864"/>
                    <a:gd name="T50" fmla="*/ 835 w 8245"/>
                    <a:gd name="T51" fmla="*/ 115 h 2864"/>
                    <a:gd name="T52" fmla="*/ 1648 w 8245"/>
                    <a:gd name="T53" fmla="*/ 157 h 2864"/>
                    <a:gd name="T54" fmla="*/ 2431 w 8245"/>
                    <a:gd name="T55" fmla="*/ 227 h 2864"/>
                    <a:gd name="T56" fmla="*/ 3181 w 8245"/>
                    <a:gd name="T57" fmla="*/ 321 h 2864"/>
                    <a:gd name="T58" fmla="*/ 3895 w 8245"/>
                    <a:gd name="T59" fmla="*/ 439 h 2864"/>
                    <a:gd name="T60" fmla="*/ 4570 w 8245"/>
                    <a:gd name="T61" fmla="*/ 580 h 2864"/>
                    <a:gd name="T62" fmla="*/ 5198 w 8245"/>
                    <a:gd name="T63" fmla="*/ 741 h 2864"/>
                    <a:gd name="T64" fmla="*/ 5637 w 8245"/>
                    <a:gd name="T65" fmla="*/ 875 h 2864"/>
                    <a:gd name="T66" fmla="*/ 5915 w 8245"/>
                    <a:gd name="T67" fmla="*/ 970 h 2864"/>
                    <a:gd name="T68" fmla="*/ 6177 w 8245"/>
                    <a:gd name="T69" fmla="*/ 1069 h 2864"/>
                    <a:gd name="T70" fmla="*/ 6426 w 8245"/>
                    <a:gd name="T71" fmla="*/ 1173 h 2864"/>
                    <a:gd name="T72" fmla="*/ 6661 w 8245"/>
                    <a:gd name="T73" fmla="*/ 1280 h 2864"/>
                    <a:gd name="T74" fmla="*/ 6879 w 8245"/>
                    <a:gd name="T75" fmla="*/ 1392 h 2864"/>
                    <a:gd name="T76" fmla="*/ 7083 w 8245"/>
                    <a:gd name="T77" fmla="*/ 1507 h 2864"/>
                    <a:gd name="T78" fmla="*/ 7270 w 8245"/>
                    <a:gd name="T79" fmla="*/ 1625 h 2864"/>
                    <a:gd name="T80" fmla="*/ 7440 w 8245"/>
                    <a:gd name="T81" fmla="*/ 1746 h 2864"/>
                    <a:gd name="T82" fmla="*/ 7594 w 8245"/>
                    <a:gd name="T83" fmla="*/ 1870 h 2864"/>
                    <a:gd name="T84" fmla="*/ 7729 w 8245"/>
                    <a:gd name="T85" fmla="*/ 1998 h 2864"/>
                    <a:gd name="T86" fmla="*/ 7845 w 8245"/>
                    <a:gd name="T87" fmla="*/ 2126 h 2864"/>
                    <a:gd name="T88" fmla="*/ 7943 w 8245"/>
                    <a:gd name="T89" fmla="*/ 2258 h 2864"/>
                    <a:gd name="T90" fmla="*/ 8022 w 8245"/>
                    <a:gd name="T91" fmla="*/ 2390 h 2864"/>
                    <a:gd name="T92" fmla="*/ 8082 w 8245"/>
                    <a:gd name="T93" fmla="*/ 2524 h 2864"/>
                    <a:gd name="T94" fmla="*/ 8122 w 8245"/>
                    <a:gd name="T95" fmla="*/ 2659 h 2864"/>
                    <a:gd name="T96" fmla="*/ 8142 w 8245"/>
                    <a:gd name="T97" fmla="*/ 2796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4">
                      <a:moveTo>
                        <a:pt x="8245" y="2864"/>
                      </a:moveTo>
                      <a:lnTo>
                        <a:pt x="8244" y="2826"/>
                      </a:lnTo>
                      <a:lnTo>
                        <a:pt x="8242" y="2788"/>
                      </a:lnTo>
                      <a:lnTo>
                        <a:pt x="8239" y="2750"/>
                      </a:lnTo>
                      <a:lnTo>
                        <a:pt x="8234" y="2712"/>
                      </a:lnTo>
                      <a:lnTo>
                        <a:pt x="8227" y="2675"/>
                      </a:lnTo>
                      <a:lnTo>
                        <a:pt x="8219" y="2637"/>
                      </a:lnTo>
                      <a:lnTo>
                        <a:pt x="8211" y="2600"/>
                      </a:lnTo>
                      <a:lnTo>
                        <a:pt x="8201" y="2563"/>
                      </a:lnTo>
                      <a:lnTo>
                        <a:pt x="8188" y="2526"/>
                      </a:lnTo>
                      <a:lnTo>
                        <a:pt x="8176" y="2488"/>
                      </a:lnTo>
                      <a:lnTo>
                        <a:pt x="8162" y="2452"/>
                      </a:lnTo>
                      <a:lnTo>
                        <a:pt x="8146" y="2416"/>
                      </a:lnTo>
                      <a:lnTo>
                        <a:pt x="8130" y="2380"/>
                      </a:lnTo>
                      <a:lnTo>
                        <a:pt x="8111" y="2343"/>
                      </a:lnTo>
                      <a:lnTo>
                        <a:pt x="8091" y="2307"/>
                      </a:lnTo>
                      <a:lnTo>
                        <a:pt x="8071" y="2272"/>
                      </a:lnTo>
                      <a:lnTo>
                        <a:pt x="8049" y="2236"/>
                      </a:lnTo>
                      <a:lnTo>
                        <a:pt x="8026" y="2201"/>
                      </a:lnTo>
                      <a:lnTo>
                        <a:pt x="8002" y="2166"/>
                      </a:lnTo>
                      <a:lnTo>
                        <a:pt x="7977" y="2131"/>
                      </a:lnTo>
                      <a:lnTo>
                        <a:pt x="7950" y="2096"/>
                      </a:lnTo>
                      <a:lnTo>
                        <a:pt x="7922" y="2062"/>
                      </a:lnTo>
                      <a:lnTo>
                        <a:pt x="7894" y="2028"/>
                      </a:lnTo>
                      <a:lnTo>
                        <a:pt x="7864" y="1994"/>
                      </a:lnTo>
                      <a:lnTo>
                        <a:pt x="7832" y="1960"/>
                      </a:lnTo>
                      <a:lnTo>
                        <a:pt x="7800" y="1926"/>
                      </a:lnTo>
                      <a:lnTo>
                        <a:pt x="7766" y="1893"/>
                      </a:lnTo>
                      <a:lnTo>
                        <a:pt x="7732" y="1860"/>
                      </a:lnTo>
                      <a:lnTo>
                        <a:pt x="7696" y="1828"/>
                      </a:lnTo>
                      <a:lnTo>
                        <a:pt x="7659" y="1795"/>
                      </a:lnTo>
                      <a:lnTo>
                        <a:pt x="7620" y="1763"/>
                      </a:lnTo>
                      <a:lnTo>
                        <a:pt x="7582" y="1730"/>
                      </a:lnTo>
                      <a:lnTo>
                        <a:pt x="7542" y="1699"/>
                      </a:lnTo>
                      <a:lnTo>
                        <a:pt x="7501" y="1667"/>
                      </a:lnTo>
                      <a:lnTo>
                        <a:pt x="7459" y="1635"/>
                      </a:lnTo>
                      <a:lnTo>
                        <a:pt x="7415" y="1603"/>
                      </a:lnTo>
                      <a:lnTo>
                        <a:pt x="7371" y="1572"/>
                      </a:lnTo>
                      <a:lnTo>
                        <a:pt x="7326" y="1542"/>
                      </a:lnTo>
                      <a:lnTo>
                        <a:pt x="7279" y="1511"/>
                      </a:lnTo>
                      <a:lnTo>
                        <a:pt x="7232" y="1481"/>
                      </a:lnTo>
                      <a:lnTo>
                        <a:pt x="7183" y="1450"/>
                      </a:lnTo>
                      <a:lnTo>
                        <a:pt x="7134" y="1420"/>
                      </a:lnTo>
                      <a:lnTo>
                        <a:pt x="7083" y="1391"/>
                      </a:lnTo>
                      <a:lnTo>
                        <a:pt x="7032" y="1361"/>
                      </a:lnTo>
                      <a:lnTo>
                        <a:pt x="6980" y="1332"/>
                      </a:lnTo>
                      <a:lnTo>
                        <a:pt x="6927" y="1303"/>
                      </a:lnTo>
                      <a:lnTo>
                        <a:pt x="6872" y="1275"/>
                      </a:lnTo>
                      <a:lnTo>
                        <a:pt x="6817" y="1246"/>
                      </a:lnTo>
                      <a:lnTo>
                        <a:pt x="6761" y="1218"/>
                      </a:lnTo>
                      <a:lnTo>
                        <a:pt x="6704" y="1190"/>
                      </a:lnTo>
                      <a:lnTo>
                        <a:pt x="6645" y="1162"/>
                      </a:lnTo>
                      <a:lnTo>
                        <a:pt x="6587" y="1136"/>
                      </a:lnTo>
                      <a:lnTo>
                        <a:pt x="6527" y="1108"/>
                      </a:lnTo>
                      <a:lnTo>
                        <a:pt x="6466" y="1081"/>
                      </a:lnTo>
                      <a:lnTo>
                        <a:pt x="6404" y="1055"/>
                      </a:lnTo>
                      <a:lnTo>
                        <a:pt x="6341" y="1028"/>
                      </a:lnTo>
                      <a:lnTo>
                        <a:pt x="6278" y="1002"/>
                      </a:lnTo>
                      <a:lnTo>
                        <a:pt x="6214" y="976"/>
                      </a:lnTo>
                      <a:lnTo>
                        <a:pt x="6149" y="950"/>
                      </a:lnTo>
                      <a:lnTo>
                        <a:pt x="6083" y="925"/>
                      </a:lnTo>
                      <a:lnTo>
                        <a:pt x="6016" y="901"/>
                      </a:lnTo>
                      <a:lnTo>
                        <a:pt x="5948" y="876"/>
                      </a:lnTo>
                      <a:lnTo>
                        <a:pt x="5880" y="851"/>
                      </a:lnTo>
                      <a:lnTo>
                        <a:pt x="5809" y="827"/>
                      </a:lnTo>
                      <a:lnTo>
                        <a:pt x="5739" y="803"/>
                      </a:lnTo>
                      <a:lnTo>
                        <a:pt x="5668" y="779"/>
                      </a:lnTo>
                      <a:lnTo>
                        <a:pt x="5596" y="757"/>
                      </a:lnTo>
                      <a:lnTo>
                        <a:pt x="5524" y="734"/>
                      </a:lnTo>
                      <a:lnTo>
                        <a:pt x="5376" y="688"/>
                      </a:lnTo>
                      <a:lnTo>
                        <a:pt x="5225" y="645"/>
                      </a:lnTo>
                      <a:lnTo>
                        <a:pt x="5072" y="602"/>
                      </a:lnTo>
                      <a:lnTo>
                        <a:pt x="4914" y="561"/>
                      </a:lnTo>
                      <a:lnTo>
                        <a:pt x="4754" y="521"/>
                      </a:lnTo>
                      <a:lnTo>
                        <a:pt x="4592" y="482"/>
                      </a:lnTo>
                      <a:lnTo>
                        <a:pt x="4426" y="444"/>
                      </a:lnTo>
                      <a:lnTo>
                        <a:pt x="4258" y="409"/>
                      </a:lnTo>
                      <a:lnTo>
                        <a:pt x="4087" y="374"/>
                      </a:lnTo>
                      <a:lnTo>
                        <a:pt x="3914" y="341"/>
                      </a:lnTo>
                      <a:lnTo>
                        <a:pt x="3738" y="309"/>
                      </a:lnTo>
                      <a:lnTo>
                        <a:pt x="3559" y="279"/>
                      </a:lnTo>
                      <a:lnTo>
                        <a:pt x="3379" y="250"/>
                      </a:lnTo>
                      <a:lnTo>
                        <a:pt x="3196" y="222"/>
                      </a:lnTo>
                      <a:lnTo>
                        <a:pt x="3010" y="196"/>
                      </a:lnTo>
                      <a:lnTo>
                        <a:pt x="2823" y="171"/>
                      </a:lnTo>
                      <a:lnTo>
                        <a:pt x="2633" y="148"/>
                      </a:lnTo>
                      <a:lnTo>
                        <a:pt x="2441" y="126"/>
                      </a:lnTo>
                      <a:lnTo>
                        <a:pt x="2246" y="107"/>
                      </a:lnTo>
                      <a:lnTo>
                        <a:pt x="2052" y="88"/>
                      </a:lnTo>
                      <a:lnTo>
                        <a:pt x="1854" y="72"/>
                      </a:lnTo>
                      <a:lnTo>
                        <a:pt x="1654" y="57"/>
                      </a:lnTo>
                      <a:lnTo>
                        <a:pt x="1453" y="44"/>
                      </a:lnTo>
                      <a:lnTo>
                        <a:pt x="1250" y="32"/>
                      </a:lnTo>
                      <a:lnTo>
                        <a:pt x="1045" y="23"/>
                      </a:lnTo>
                      <a:lnTo>
                        <a:pt x="838" y="15"/>
                      </a:lnTo>
                      <a:lnTo>
                        <a:pt x="631" y="8"/>
                      </a:lnTo>
                      <a:lnTo>
                        <a:pt x="422" y="3"/>
                      </a:lnTo>
                      <a:lnTo>
                        <a:pt x="212" y="0"/>
                      </a:lnTo>
                      <a:lnTo>
                        <a:pt x="0" y="0"/>
                      </a:lnTo>
                      <a:lnTo>
                        <a:pt x="0" y="100"/>
                      </a:lnTo>
                      <a:lnTo>
                        <a:pt x="211" y="102"/>
                      </a:lnTo>
                      <a:lnTo>
                        <a:pt x="420" y="104"/>
                      </a:lnTo>
                      <a:lnTo>
                        <a:pt x="628" y="108"/>
                      </a:lnTo>
                      <a:lnTo>
                        <a:pt x="835" y="115"/>
                      </a:lnTo>
                      <a:lnTo>
                        <a:pt x="1040" y="122"/>
                      </a:lnTo>
                      <a:lnTo>
                        <a:pt x="1245" y="133"/>
                      </a:lnTo>
                      <a:lnTo>
                        <a:pt x="1447" y="144"/>
                      </a:lnTo>
                      <a:lnTo>
                        <a:pt x="1648" y="157"/>
                      </a:lnTo>
                      <a:lnTo>
                        <a:pt x="1845" y="172"/>
                      </a:lnTo>
                      <a:lnTo>
                        <a:pt x="2042" y="188"/>
                      </a:lnTo>
                      <a:lnTo>
                        <a:pt x="2237" y="207"/>
                      </a:lnTo>
                      <a:lnTo>
                        <a:pt x="2431" y="227"/>
                      </a:lnTo>
                      <a:lnTo>
                        <a:pt x="2622" y="247"/>
                      </a:lnTo>
                      <a:lnTo>
                        <a:pt x="2810" y="270"/>
                      </a:lnTo>
                      <a:lnTo>
                        <a:pt x="2997" y="295"/>
                      </a:lnTo>
                      <a:lnTo>
                        <a:pt x="3181" y="321"/>
                      </a:lnTo>
                      <a:lnTo>
                        <a:pt x="3364" y="348"/>
                      </a:lnTo>
                      <a:lnTo>
                        <a:pt x="3543" y="377"/>
                      </a:lnTo>
                      <a:lnTo>
                        <a:pt x="3721" y="408"/>
                      </a:lnTo>
                      <a:lnTo>
                        <a:pt x="3895" y="439"/>
                      </a:lnTo>
                      <a:lnTo>
                        <a:pt x="4069" y="472"/>
                      </a:lnTo>
                      <a:lnTo>
                        <a:pt x="4238" y="506"/>
                      </a:lnTo>
                      <a:lnTo>
                        <a:pt x="4405" y="542"/>
                      </a:lnTo>
                      <a:lnTo>
                        <a:pt x="4570" y="580"/>
                      </a:lnTo>
                      <a:lnTo>
                        <a:pt x="4731" y="618"/>
                      </a:lnTo>
                      <a:lnTo>
                        <a:pt x="4890" y="658"/>
                      </a:lnTo>
                      <a:lnTo>
                        <a:pt x="5046" y="699"/>
                      </a:lnTo>
                      <a:lnTo>
                        <a:pt x="5198" y="741"/>
                      </a:lnTo>
                      <a:lnTo>
                        <a:pt x="5348" y="785"/>
                      </a:lnTo>
                      <a:lnTo>
                        <a:pt x="5494" y="829"/>
                      </a:lnTo>
                      <a:lnTo>
                        <a:pt x="5566" y="852"/>
                      </a:lnTo>
                      <a:lnTo>
                        <a:pt x="5637" y="875"/>
                      </a:lnTo>
                      <a:lnTo>
                        <a:pt x="5707" y="899"/>
                      </a:lnTo>
                      <a:lnTo>
                        <a:pt x="5778" y="922"/>
                      </a:lnTo>
                      <a:lnTo>
                        <a:pt x="5847" y="946"/>
                      </a:lnTo>
                      <a:lnTo>
                        <a:pt x="5915" y="970"/>
                      </a:lnTo>
                      <a:lnTo>
                        <a:pt x="5982" y="995"/>
                      </a:lnTo>
                      <a:lnTo>
                        <a:pt x="6048" y="1020"/>
                      </a:lnTo>
                      <a:lnTo>
                        <a:pt x="6113" y="1044"/>
                      </a:lnTo>
                      <a:lnTo>
                        <a:pt x="6177" y="1069"/>
                      </a:lnTo>
                      <a:lnTo>
                        <a:pt x="6241" y="1095"/>
                      </a:lnTo>
                      <a:lnTo>
                        <a:pt x="6304" y="1121"/>
                      </a:lnTo>
                      <a:lnTo>
                        <a:pt x="6365" y="1147"/>
                      </a:lnTo>
                      <a:lnTo>
                        <a:pt x="6426" y="1173"/>
                      </a:lnTo>
                      <a:lnTo>
                        <a:pt x="6487" y="1200"/>
                      </a:lnTo>
                      <a:lnTo>
                        <a:pt x="6545" y="1227"/>
                      </a:lnTo>
                      <a:lnTo>
                        <a:pt x="6603" y="1254"/>
                      </a:lnTo>
                      <a:lnTo>
                        <a:pt x="6661" y="1280"/>
                      </a:lnTo>
                      <a:lnTo>
                        <a:pt x="6716" y="1308"/>
                      </a:lnTo>
                      <a:lnTo>
                        <a:pt x="6772" y="1336"/>
                      </a:lnTo>
                      <a:lnTo>
                        <a:pt x="6827" y="1364"/>
                      </a:lnTo>
                      <a:lnTo>
                        <a:pt x="6879" y="1392"/>
                      </a:lnTo>
                      <a:lnTo>
                        <a:pt x="6932" y="1420"/>
                      </a:lnTo>
                      <a:lnTo>
                        <a:pt x="6983" y="1449"/>
                      </a:lnTo>
                      <a:lnTo>
                        <a:pt x="7034" y="1478"/>
                      </a:lnTo>
                      <a:lnTo>
                        <a:pt x="7083" y="1507"/>
                      </a:lnTo>
                      <a:lnTo>
                        <a:pt x="7132" y="1536"/>
                      </a:lnTo>
                      <a:lnTo>
                        <a:pt x="7178" y="1565"/>
                      </a:lnTo>
                      <a:lnTo>
                        <a:pt x="7225" y="1595"/>
                      </a:lnTo>
                      <a:lnTo>
                        <a:pt x="7270" y="1625"/>
                      </a:lnTo>
                      <a:lnTo>
                        <a:pt x="7314" y="1655"/>
                      </a:lnTo>
                      <a:lnTo>
                        <a:pt x="7358" y="1685"/>
                      </a:lnTo>
                      <a:lnTo>
                        <a:pt x="7400" y="1716"/>
                      </a:lnTo>
                      <a:lnTo>
                        <a:pt x="7440" y="1746"/>
                      </a:lnTo>
                      <a:lnTo>
                        <a:pt x="7480" y="1777"/>
                      </a:lnTo>
                      <a:lnTo>
                        <a:pt x="7519" y="1808"/>
                      </a:lnTo>
                      <a:lnTo>
                        <a:pt x="7557" y="1839"/>
                      </a:lnTo>
                      <a:lnTo>
                        <a:pt x="7594" y="1870"/>
                      </a:lnTo>
                      <a:lnTo>
                        <a:pt x="7629" y="1902"/>
                      </a:lnTo>
                      <a:lnTo>
                        <a:pt x="7664" y="1934"/>
                      </a:lnTo>
                      <a:lnTo>
                        <a:pt x="7697" y="1966"/>
                      </a:lnTo>
                      <a:lnTo>
                        <a:pt x="7729" y="1998"/>
                      </a:lnTo>
                      <a:lnTo>
                        <a:pt x="7760" y="2030"/>
                      </a:lnTo>
                      <a:lnTo>
                        <a:pt x="7789" y="2062"/>
                      </a:lnTo>
                      <a:lnTo>
                        <a:pt x="7818" y="2094"/>
                      </a:lnTo>
                      <a:lnTo>
                        <a:pt x="7845" y="2126"/>
                      </a:lnTo>
                      <a:lnTo>
                        <a:pt x="7872" y="2159"/>
                      </a:lnTo>
                      <a:lnTo>
                        <a:pt x="7897" y="2191"/>
                      </a:lnTo>
                      <a:lnTo>
                        <a:pt x="7920" y="2224"/>
                      </a:lnTo>
                      <a:lnTo>
                        <a:pt x="7943" y="2258"/>
                      </a:lnTo>
                      <a:lnTo>
                        <a:pt x="7966" y="2290"/>
                      </a:lnTo>
                      <a:lnTo>
                        <a:pt x="7985" y="2323"/>
                      </a:lnTo>
                      <a:lnTo>
                        <a:pt x="8005" y="2356"/>
                      </a:lnTo>
                      <a:lnTo>
                        <a:pt x="8022" y="2390"/>
                      </a:lnTo>
                      <a:lnTo>
                        <a:pt x="8039" y="2423"/>
                      </a:lnTo>
                      <a:lnTo>
                        <a:pt x="8055" y="2456"/>
                      </a:lnTo>
                      <a:lnTo>
                        <a:pt x="8069" y="2489"/>
                      </a:lnTo>
                      <a:lnTo>
                        <a:pt x="8082" y="2524"/>
                      </a:lnTo>
                      <a:lnTo>
                        <a:pt x="8095" y="2558"/>
                      </a:lnTo>
                      <a:lnTo>
                        <a:pt x="8105" y="2591"/>
                      </a:lnTo>
                      <a:lnTo>
                        <a:pt x="8114" y="2625"/>
                      </a:lnTo>
                      <a:lnTo>
                        <a:pt x="8122" y="2659"/>
                      </a:lnTo>
                      <a:lnTo>
                        <a:pt x="8130" y="2693"/>
                      </a:lnTo>
                      <a:lnTo>
                        <a:pt x="8135" y="2726"/>
                      </a:lnTo>
                      <a:lnTo>
                        <a:pt x="8139" y="2762"/>
                      </a:lnTo>
                      <a:lnTo>
                        <a:pt x="8142" y="2796"/>
                      </a:lnTo>
                      <a:lnTo>
                        <a:pt x="8144" y="2830"/>
                      </a:lnTo>
                      <a:lnTo>
                        <a:pt x="8145" y="2864"/>
                      </a:lnTo>
                      <a:lnTo>
                        <a:pt x="8245"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04" name="Freeform 148"/>
                <p:cNvSpPr>
                  <a:spLocks/>
                </p:cNvSpPr>
                <p:nvPr>
                  <p:custDataLst>
                    <p:tags r:id="rId149"/>
                  </p:custDataLst>
                </p:nvPr>
              </p:nvSpPr>
              <p:spPr bwMode="auto">
                <a:xfrm>
                  <a:off x="370" y="3472"/>
                  <a:ext cx="714" cy="160"/>
                </a:xfrm>
                <a:custGeom>
                  <a:avLst/>
                  <a:gdLst>
                    <a:gd name="T0" fmla="*/ 0 w 16419"/>
                    <a:gd name="T1" fmla="*/ 0 h 4020"/>
                    <a:gd name="T2" fmla="*/ 0 w 16419"/>
                    <a:gd name="T3" fmla="*/ 4020 h 4020"/>
                    <a:gd name="T4" fmla="*/ 16415 w 16419"/>
                    <a:gd name="T5" fmla="*/ 4020 h 4020"/>
                    <a:gd name="T6" fmla="*/ 16419 w 16419"/>
                    <a:gd name="T7" fmla="*/ 2 h 4020"/>
                    <a:gd name="T8" fmla="*/ 0 w 16419"/>
                    <a:gd name="T9" fmla="*/ 0 h 4020"/>
                  </a:gdLst>
                  <a:ahLst/>
                  <a:cxnLst>
                    <a:cxn ang="0">
                      <a:pos x="T0" y="T1"/>
                    </a:cxn>
                    <a:cxn ang="0">
                      <a:pos x="T2" y="T3"/>
                    </a:cxn>
                    <a:cxn ang="0">
                      <a:pos x="T4" y="T5"/>
                    </a:cxn>
                    <a:cxn ang="0">
                      <a:pos x="T6" y="T7"/>
                    </a:cxn>
                    <a:cxn ang="0">
                      <a:pos x="T8" y="T9"/>
                    </a:cxn>
                  </a:cxnLst>
                  <a:rect l="0" t="0" r="r" b="b"/>
                  <a:pathLst>
                    <a:path w="16419" h="4020">
                      <a:moveTo>
                        <a:pt x="0" y="0"/>
                      </a:moveTo>
                      <a:lnTo>
                        <a:pt x="0" y="4020"/>
                      </a:lnTo>
                      <a:lnTo>
                        <a:pt x="16415" y="4020"/>
                      </a:lnTo>
                      <a:lnTo>
                        <a:pt x="16419" y="2"/>
                      </a:lnTo>
                      <a:lnTo>
                        <a:pt x="0" y="0"/>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05" name="Freeform 149"/>
                <p:cNvSpPr>
                  <a:spLocks/>
                </p:cNvSpPr>
                <p:nvPr>
                  <p:custDataLst>
                    <p:tags r:id="rId150"/>
                  </p:custDataLst>
                </p:nvPr>
              </p:nvSpPr>
              <p:spPr bwMode="auto">
                <a:xfrm>
                  <a:off x="371" y="3356"/>
                  <a:ext cx="713" cy="225"/>
                </a:xfrm>
                <a:custGeom>
                  <a:avLst/>
                  <a:gdLst>
                    <a:gd name="T0" fmla="*/ 16347 w 16389"/>
                    <a:gd name="T1" fmla="*/ 3102 h 5628"/>
                    <a:gd name="T2" fmla="*/ 16132 w 16389"/>
                    <a:gd name="T3" fmla="*/ 3517 h 5628"/>
                    <a:gd name="T4" fmla="*/ 15745 w 16389"/>
                    <a:gd name="T5" fmla="*/ 3909 h 5628"/>
                    <a:gd name="T6" fmla="*/ 15203 w 16389"/>
                    <a:gd name="T7" fmla="*/ 4272 h 5628"/>
                    <a:gd name="T8" fmla="*/ 14518 w 16389"/>
                    <a:gd name="T9" fmla="*/ 4604 h 5628"/>
                    <a:gd name="T10" fmla="*/ 13704 w 16389"/>
                    <a:gd name="T11" fmla="*/ 4896 h 5628"/>
                    <a:gd name="T12" fmla="*/ 12776 w 16389"/>
                    <a:gd name="T13" fmla="*/ 5147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7 h 5628"/>
                    <a:gd name="T30" fmla="*/ 2685 w 16389"/>
                    <a:gd name="T31" fmla="*/ 4896 h 5628"/>
                    <a:gd name="T32" fmla="*/ 1871 w 16389"/>
                    <a:gd name="T33" fmla="*/ 4604 h 5628"/>
                    <a:gd name="T34" fmla="*/ 1186 w 16389"/>
                    <a:gd name="T35" fmla="*/ 4272 h 5628"/>
                    <a:gd name="T36" fmla="*/ 644 w 16389"/>
                    <a:gd name="T37" fmla="*/ 3909 h 5628"/>
                    <a:gd name="T38" fmla="*/ 257 w 16389"/>
                    <a:gd name="T39" fmla="*/ 3517 h 5628"/>
                    <a:gd name="T40" fmla="*/ 42 w 16389"/>
                    <a:gd name="T41" fmla="*/ 3102 h 5628"/>
                    <a:gd name="T42" fmla="*/ 10 w 16389"/>
                    <a:gd name="T43" fmla="*/ 2669 h 5628"/>
                    <a:gd name="T44" fmla="*/ 165 w 16389"/>
                    <a:gd name="T45" fmla="*/ 2247 h 5628"/>
                    <a:gd name="T46" fmla="*/ 496 w 16389"/>
                    <a:gd name="T47" fmla="*/ 1846 h 5628"/>
                    <a:gd name="T48" fmla="*/ 989 w 16389"/>
                    <a:gd name="T49" fmla="*/ 1473 h 5628"/>
                    <a:gd name="T50" fmla="*/ 1628 w 16389"/>
                    <a:gd name="T51" fmla="*/ 1130 h 5628"/>
                    <a:gd name="T52" fmla="*/ 2400 w 16389"/>
                    <a:gd name="T53" fmla="*/ 824 h 5628"/>
                    <a:gd name="T54" fmla="*/ 3292 w 16389"/>
                    <a:gd name="T55" fmla="*/ 559 h 5628"/>
                    <a:gd name="T56" fmla="*/ 4289 w 16389"/>
                    <a:gd name="T57" fmla="*/ 339 h 5628"/>
                    <a:gd name="T58" fmla="*/ 5378 w 16389"/>
                    <a:gd name="T59" fmla="*/ 170 h 5628"/>
                    <a:gd name="T60" fmla="*/ 6543 w 16389"/>
                    <a:gd name="T61" fmla="*/ 57 h 5628"/>
                    <a:gd name="T62" fmla="*/ 7773 w 16389"/>
                    <a:gd name="T63" fmla="*/ 3 h 5628"/>
                    <a:gd name="T64" fmla="*/ 9032 w 16389"/>
                    <a:gd name="T65" fmla="*/ 14 h 5628"/>
                    <a:gd name="T66" fmla="*/ 10241 w 16389"/>
                    <a:gd name="T67" fmla="*/ 88 h 5628"/>
                    <a:gd name="T68" fmla="*/ 11383 w 16389"/>
                    <a:gd name="T69" fmla="*/ 220 h 5628"/>
                    <a:gd name="T70" fmla="*/ 12443 w 16389"/>
                    <a:gd name="T71" fmla="*/ 406 h 5628"/>
                    <a:gd name="T72" fmla="*/ 13407 w 16389"/>
                    <a:gd name="T73" fmla="*/ 642 h 5628"/>
                    <a:gd name="T74" fmla="*/ 14260 w 16389"/>
                    <a:gd name="T75" fmla="*/ 922 h 5628"/>
                    <a:gd name="T76" fmla="*/ 14990 w 16389"/>
                    <a:gd name="T77" fmla="*/ 1241 h 5628"/>
                    <a:gd name="T78" fmla="*/ 15581 w 16389"/>
                    <a:gd name="T79" fmla="*/ 1594 h 5628"/>
                    <a:gd name="T80" fmla="*/ 16022 w 16389"/>
                    <a:gd name="T81" fmla="*/ 1977 h 5628"/>
                    <a:gd name="T82" fmla="*/ 16296 w 16389"/>
                    <a:gd name="T83" fmla="*/ 2385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2"/>
                      </a:lnTo>
                      <a:lnTo>
                        <a:pt x="16224" y="3381"/>
                      </a:lnTo>
                      <a:lnTo>
                        <a:pt x="16132" y="3517"/>
                      </a:lnTo>
                      <a:lnTo>
                        <a:pt x="16022" y="3650"/>
                      </a:lnTo>
                      <a:lnTo>
                        <a:pt x="15893" y="3781"/>
                      </a:lnTo>
                      <a:lnTo>
                        <a:pt x="15745" y="3909"/>
                      </a:lnTo>
                      <a:lnTo>
                        <a:pt x="15581" y="4033"/>
                      </a:lnTo>
                      <a:lnTo>
                        <a:pt x="15400" y="4155"/>
                      </a:lnTo>
                      <a:lnTo>
                        <a:pt x="15203" y="4272"/>
                      </a:lnTo>
                      <a:lnTo>
                        <a:pt x="14990" y="4387"/>
                      </a:lnTo>
                      <a:lnTo>
                        <a:pt x="14761" y="4497"/>
                      </a:lnTo>
                      <a:lnTo>
                        <a:pt x="14518" y="4604"/>
                      </a:lnTo>
                      <a:lnTo>
                        <a:pt x="14260" y="4706"/>
                      </a:lnTo>
                      <a:lnTo>
                        <a:pt x="13989" y="4803"/>
                      </a:lnTo>
                      <a:lnTo>
                        <a:pt x="13704" y="4896"/>
                      </a:lnTo>
                      <a:lnTo>
                        <a:pt x="13407" y="4985"/>
                      </a:lnTo>
                      <a:lnTo>
                        <a:pt x="13096" y="5069"/>
                      </a:lnTo>
                      <a:lnTo>
                        <a:pt x="12776" y="5147"/>
                      </a:lnTo>
                      <a:lnTo>
                        <a:pt x="12443" y="5220"/>
                      </a:lnTo>
                      <a:lnTo>
                        <a:pt x="12100" y="5289"/>
                      </a:lnTo>
                      <a:lnTo>
                        <a:pt x="11746" y="5351"/>
                      </a:lnTo>
                      <a:lnTo>
                        <a:pt x="11383" y="5407"/>
                      </a:lnTo>
                      <a:lnTo>
                        <a:pt x="11011" y="5457"/>
                      </a:lnTo>
                      <a:lnTo>
                        <a:pt x="10631" y="5502"/>
                      </a:lnTo>
                      <a:lnTo>
                        <a:pt x="10241" y="5539"/>
                      </a:lnTo>
                      <a:lnTo>
                        <a:pt x="9846" y="5571"/>
                      </a:lnTo>
                      <a:lnTo>
                        <a:pt x="9442" y="5596"/>
                      </a:lnTo>
                      <a:lnTo>
                        <a:pt x="9032" y="5614"/>
                      </a:lnTo>
                      <a:lnTo>
                        <a:pt x="8616" y="5624"/>
                      </a:lnTo>
                      <a:lnTo>
                        <a:pt x="8195" y="5628"/>
                      </a:lnTo>
                      <a:lnTo>
                        <a:pt x="7773" y="5624"/>
                      </a:lnTo>
                      <a:lnTo>
                        <a:pt x="7357" y="5614"/>
                      </a:lnTo>
                      <a:lnTo>
                        <a:pt x="6947" y="5596"/>
                      </a:lnTo>
                      <a:lnTo>
                        <a:pt x="6543" y="5571"/>
                      </a:lnTo>
                      <a:lnTo>
                        <a:pt x="6148" y="5539"/>
                      </a:lnTo>
                      <a:lnTo>
                        <a:pt x="5758" y="5502"/>
                      </a:lnTo>
                      <a:lnTo>
                        <a:pt x="5378" y="5457"/>
                      </a:lnTo>
                      <a:lnTo>
                        <a:pt x="5006" y="5407"/>
                      </a:lnTo>
                      <a:lnTo>
                        <a:pt x="4643" y="5351"/>
                      </a:lnTo>
                      <a:lnTo>
                        <a:pt x="4289" y="5289"/>
                      </a:lnTo>
                      <a:lnTo>
                        <a:pt x="3946" y="5220"/>
                      </a:lnTo>
                      <a:lnTo>
                        <a:pt x="3613" y="5147"/>
                      </a:lnTo>
                      <a:lnTo>
                        <a:pt x="3292" y="5069"/>
                      </a:lnTo>
                      <a:lnTo>
                        <a:pt x="2982" y="4985"/>
                      </a:lnTo>
                      <a:lnTo>
                        <a:pt x="2685" y="4896"/>
                      </a:lnTo>
                      <a:lnTo>
                        <a:pt x="2400" y="4803"/>
                      </a:lnTo>
                      <a:lnTo>
                        <a:pt x="2129" y="4706"/>
                      </a:lnTo>
                      <a:lnTo>
                        <a:pt x="1871" y="4604"/>
                      </a:lnTo>
                      <a:lnTo>
                        <a:pt x="1628" y="4497"/>
                      </a:lnTo>
                      <a:lnTo>
                        <a:pt x="1399" y="4387"/>
                      </a:lnTo>
                      <a:lnTo>
                        <a:pt x="1186" y="4272"/>
                      </a:lnTo>
                      <a:lnTo>
                        <a:pt x="989" y="4155"/>
                      </a:lnTo>
                      <a:lnTo>
                        <a:pt x="808" y="4033"/>
                      </a:lnTo>
                      <a:lnTo>
                        <a:pt x="644" y="3909"/>
                      </a:lnTo>
                      <a:lnTo>
                        <a:pt x="496" y="3781"/>
                      </a:lnTo>
                      <a:lnTo>
                        <a:pt x="367" y="3650"/>
                      </a:lnTo>
                      <a:lnTo>
                        <a:pt x="257" y="3517"/>
                      </a:lnTo>
                      <a:lnTo>
                        <a:pt x="165" y="3381"/>
                      </a:lnTo>
                      <a:lnTo>
                        <a:pt x="93" y="3242"/>
                      </a:lnTo>
                      <a:lnTo>
                        <a:pt x="42" y="3102"/>
                      </a:lnTo>
                      <a:lnTo>
                        <a:pt x="10" y="2959"/>
                      </a:lnTo>
                      <a:lnTo>
                        <a:pt x="0" y="2814"/>
                      </a:lnTo>
                      <a:lnTo>
                        <a:pt x="10" y="2669"/>
                      </a:lnTo>
                      <a:lnTo>
                        <a:pt x="42" y="2526"/>
                      </a:lnTo>
                      <a:lnTo>
                        <a:pt x="93" y="2385"/>
                      </a:lnTo>
                      <a:lnTo>
                        <a:pt x="165" y="2247"/>
                      </a:lnTo>
                      <a:lnTo>
                        <a:pt x="257" y="2111"/>
                      </a:lnTo>
                      <a:lnTo>
                        <a:pt x="367" y="1977"/>
                      </a:lnTo>
                      <a:lnTo>
                        <a:pt x="496" y="1846"/>
                      </a:lnTo>
                      <a:lnTo>
                        <a:pt x="644" y="1719"/>
                      </a:lnTo>
                      <a:lnTo>
                        <a:pt x="808" y="1594"/>
                      </a:lnTo>
                      <a:lnTo>
                        <a:pt x="989" y="1473"/>
                      </a:lnTo>
                      <a:lnTo>
                        <a:pt x="1186" y="1355"/>
                      </a:lnTo>
                      <a:lnTo>
                        <a:pt x="1399" y="1241"/>
                      </a:lnTo>
                      <a:lnTo>
                        <a:pt x="1628" y="1130"/>
                      </a:lnTo>
                      <a:lnTo>
                        <a:pt x="1871" y="1023"/>
                      </a:lnTo>
                      <a:lnTo>
                        <a:pt x="2129" y="922"/>
                      </a:lnTo>
                      <a:lnTo>
                        <a:pt x="2400" y="824"/>
                      </a:lnTo>
                      <a:lnTo>
                        <a:pt x="2685" y="730"/>
                      </a:lnTo>
                      <a:lnTo>
                        <a:pt x="2982" y="642"/>
                      </a:lnTo>
                      <a:lnTo>
                        <a:pt x="3292" y="559"/>
                      </a:lnTo>
                      <a:lnTo>
                        <a:pt x="3613" y="480"/>
                      </a:lnTo>
                      <a:lnTo>
                        <a:pt x="3946" y="406"/>
                      </a:lnTo>
                      <a:lnTo>
                        <a:pt x="4289" y="339"/>
                      </a:lnTo>
                      <a:lnTo>
                        <a:pt x="4643" y="277"/>
                      </a:lnTo>
                      <a:lnTo>
                        <a:pt x="5006" y="220"/>
                      </a:lnTo>
                      <a:lnTo>
                        <a:pt x="5378" y="170"/>
                      </a:lnTo>
                      <a:lnTo>
                        <a:pt x="5758" y="126"/>
                      </a:lnTo>
                      <a:lnTo>
                        <a:pt x="6148" y="88"/>
                      </a:lnTo>
                      <a:lnTo>
                        <a:pt x="6543" y="57"/>
                      </a:lnTo>
                      <a:lnTo>
                        <a:pt x="6947" y="32"/>
                      </a:lnTo>
                      <a:lnTo>
                        <a:pt x="7357" y="14"/>
                      </a:lnTo>
                      <a:lnTo>
                        <a:pt x="7773" y="3"/>
                      </a:lnTo>
                      <a:lnTo>
                        <a:pt x="8195" y="0"/>
                      </a:lnTo>
                      <a:lnTo>
                        <a:pt x="8616" y="3"/>
                      </a:lnTo>
                      <a:lnTo>
                        <a:pt x="9032" y="14"/>
                      </a:lnTo>
                      <a:lnTo>
                        <a:pt x="9442" y="32"/>
                      </a:lnTo>
                      <a:lnTo>
                        <a:pt x="9846" y="57"/>
                      </a:lnTo>
                      <a:lnTo>
                        <a:pt x="10241" y="88"/>
                      </a:lnTo>
                      <a:lnTo>
                        <a:pt x="10631" y="126"/>
                      </a:lnTo>
                      <a:lnTo>
                        <a:pt x="11011" y="170"/>
                      </a:lnTo>
                      <a:lnTo>
                        <a:pt x="11383" y="220"/>
                      </a:lnTo>
                      <a:lnTo>
                        <a:pt x="11746" y="277"/>
                      </a:lnTo>
                      <a:lnTo>
                        <a:pt x="12100" y="339"/>
                      </a:lnTo>
                      <a:lnTo>
                        <a:pt x="12443" y="406"/>
                      </a:lnTo>
                      <a:lnTo>
                        <a:pt x="12776" y="480"/>
                      </a:lnTo>
                      <a:lnTo>
                        <a:pt x="13096" y="559"/>
                      </a:lnTo>
                      <a:lnTo>
                        <a:pt x="13407" y="642"/>
                      </a:lnTo>
                      <a:lnTo>
                        <a:pt x="13704" y="730"/>
                      </a:lnTo>
                      <a:lnTo>
                        <a:pt x="13989" y="824"/>
                      </a:lnTo>
                      <a:lnTo>
                        <a:pt x="14260" y="922"/>
                      </a:lnTo>
                      <a:lnTo>
                        <a:pt x="14518" y="1023"/>
                      </a:lnTo>
                      <a:lnTo>
                        <a:pt x="14761" y="1130"/>
                      </a:lnTo>
                      <a:lnTo>
                        <a:pt x="14990" y="1241"/>
                      </a:lnTo>
                      <a:lnTo>
                        <a:pt x="15203" y="1355"/>
                      </a:lnTo>
                      <a:lnTo>
                        <a:pt x="15400" y="1473"/>
                      </a:lnTo>
                      <a:lnTo>
                        <a:pt x="15581" y="1594"/>
                      </a:lnTo>
                      <a:lnTo>
                        <a:pt x="15745" y="1719"/>
                      </a:lnTo>
                      <a:lnTo>
                        <a:pt x="15893" y="1846"/>
                      </a:lnTo>
                      <a:lnTo>
                        <a:pt x="16022" y="1977"/>
                      </a:lnTo>
                      <a:lnTo>
                        <a:pt x="16132" y="2111"/>
                      </a:lnTo>
                      <a:lnTo>
                        <a:pt x="16224" y="2247"/>
                      </a:lnTo>
                      <a:lnTo>
                        <a:pt x="16296" y="2385"/>
                      </a:lnTo>
                      <a:lnTo>
                        <a:pt x="16347" y="2526"/>
                      </a:lnTo>
                      <a:lnTo>
                        <a:pt x="16379" y="2669"/>
                      </a:lnTo>
                      <a:lnTo>
                        <a:pt x="16389" y="2814"/>
                      </a:lnTo>
                      <a:close/>
                    </a:path>
                  </a:pathLst>
                </a:custGeom>
                <a:solidFill>
                  <a:srgbClr val="B8CAD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06" name="Freeform 150"/>
                <p:cNvSpPr>
                  <a:spLocks/>
                </p:cNvSpPr>
                <p:nvPr>
                  <p:custDataLst>
                    <p:tags r:id="rId151"/>
                  </p:custDataLst>
                </p:nvPr>
              </p:nvSpPr>
              <p:spPr bwMode="auto">
                <a:xfrm>
                  <a:off x="725" y="3469"/>
                  <a:ext cx="361" cy="114"/>
                </a:xfrm>
                <a:custGeom>
                  <a:avLst/>
                  <a:gdLst>
                    <a:gd name="T0" fmla="*/ 472 w 8295"/>
                    <a:gd name="T1" fmla="*/ 2861 h 2864"/>
                    <a:gd name="T2" fmla="*/ 1300 w 8295"/>
                    <a:gd name="T3" fmla="*/ 2832 h 2864"/>
                    <a:gd name="T4" fmla="*/ 2102 w 8295"/>
                    <a:gd name="T5" fmla="*/ 2776 h 2864"/>
                    <a:gd name="T6" fmla="*/ 2873 w 8295"/>
                    <a:gd name="T7" fmla="*/ 2693 h 2864"/>
                    <a:gd name="T8" fmla="*/ 3609 w 8295"/>
                    <a:gd name="T9" fmla="*/ 2587 h 2864"/>
                    <a:gd name="T10" fmla="*/ 4308 w 8295"/>
                    <a:gd name="T11" fmla="*/ 2456 h 2864"/>
                    <a:gd name="T12" fmla="*/ 4964 w 8295"/>
                    <a:gd name="T13" fmla="*/ 2304 h 2864"/>
                    <a:gd name="T14" fmla="*/ 5426 w 8295"/>
                    <a:gd name="T15" fmla="*/ 2176 h 2864"/>
                    <a:gd name="T16" fmla="*/ 5718 w 8295"/>
                    <a:gd name="T17" fmla="*/ 2085 h 2864"/>
                    <a:gd name="T18" fmla="*/ 5998 w 8295"/>
                    <a:gd name="T19" fmla="*/ 1988 h 2864"/>
                    <a:gd name="T20" fmla="*/ 6264 w 8295"/>
                    <a:gd name="T21" fmla="*/ 1888 h 2864"/>
                    <a:gd name="T22" fmla="*/ 6516 w 8295"/>
                    <a:gd name="T23" fmla="*/ 1783 h 2864"/>
                    <a:gd name="T24" fmla="*/ 6754 w 8295"/>
                    <a:gd name="T25" fmla="*/ 1674 h 2864"/>
                    <a:gd name="T26" fmla="*/ 6977 w 8295"/>
                    <a:gd name="T27" fmla="*/ 1561 h 2864"/>
                    <a:gd name="T28" fmla="*/ 7184 w 8295"/>
                    <a:gd name="T29" fmla="*/ 1444 h 2864"/>
                    <a:gd name="T30" fmla="*/ 7376 w 8295"/>
                    <a:gd name="T31" fmla="*/ 1323 h 2864"/>
                    <a:gd name="T32" fmla="*/ 7551 w 8295"/>
                    <a:gd name="T33" fmla="*/ 1198 h 2864"/>
                    <a:gd name="T34" fmla="*/ 7709 w 8295"/>
                    <a:gd name="T35" fmla="*/ 1069 h 2864"/>
                    <a:gd name="T36" fmla="*/ 7850 w 8295"/>
                    <a:gd name="T37" fmla="*/ 938 h 2864"/>
                    <a:gd name="T38" fmla="*/ 7972 w 8295"/>
                    <a:gd name="T39" fmla="*/ 802 h 2864"/>
                    <a:gd name="T40" fmla="*/ 8076 w 8295"/>
                    <a:gd name="T41" fmla="*/ 663 h 2864"/>
                    <a:gd name="T42" fmla="*/ 8161 w 8295"/>
                    <a:gd name="T43" fmla="*/ 521 h 2864"/>
                    <a:gd name="T44" fmla="*/ 8226 w 8295"/>
                    <a:gd name="T45" fmla="*/ 376 h 2864"/>
                    <a:gd name="T46" fmla="*/ 8269 w 8295"/>
                    <a:gd name="T47" fmla="*/ 227 h 2864"/>
                    <a:gd name="T48" fmla="*/ 8292 w 8295"/>
                    <a:gd name="T49" fmla="*/ 76 h 2864"/>
                    <a:gd name="T50" fmla="*/ 8194 w 8295"/>
                    <a:gd name="T51" fmla="*/ 34 h 2864"/>
                    <a:gd name="T52" fmla="*/ 8180 w 8295"/>
                    <a:gd name="T53" fmla="*/ 172 h 2864"/>
                    <a:gd name="T54" fmla="*/ 8145 w 8295"/>
                    <a:gd name="T55" fmla="*/ 307 h 2864"/>
                    <a:gd name="T56" fmla="*/ 8089 w 8295"/>
                    <a:gd name="T57" fmla="*/ 441 h 2864"/>
                    <a:gd name="T58" fmla="*/ 8016 w 8295"/>
                    <a:gd name="T59" fmla="*/ 574 h 2864"/>
                    <a:gd name="T60" fmla="*/ 7922 w 8295"/>
                    <a:gd name="T61" fmla="*/ 706 h 2864"/>
                    <a:gd name="T62" fmla="*/ 7810 w 8295"/>
                    <a:gd name="T63" fmla="*/ 835 h 2864"/>
                    <a:gd name="T64" fmla="*/ 7679 w 8295"/>
                    <a:gd name="T65" fmla="*/ 963 h 2864"/>
                    <a:gd name="T66" fmla="*/ 7530 w 8295"/>
                    <a:gd name="T67" fmla="*/ 1087 h 2864"/>
                    <a:gd name="T68" fmla="*/ 7364 w 8295"/>
                    <a:gd name="T69" fmla="*/ 1209 h 2864"/>
                    <a:gd name="T70" fmla="*/ 7182 w 8295"/>
                    <a:gd name="T71" fmla="*/ 1328 h 2864"/>
                    <a:gd name="T72" fmla="*/ 6982 w 8295"/>
                    <a:gd name="T73" fmla="*/ 1444 h 2864"/>
                    <a:gd name="T74" fmla="*/ 6766 w 8295"/>
                    <a:gd name="T75" fmla="*/ 1556 h 2864"/>
                    <a:gd name="T76" fmla="*/ 6537 w 8295"/>
                    <a:gd name="T77" fmla="*/ 1664 h 2864"/>
                    <a:gd name="T78" fmla="*/ 6290 w 8295"/>
                    <a:gd name="T79" fmla="*/ 1769 h 2864"/>
                    <a:gd name="T80" fmla="*/ 6032 w 8295"/>
                    <a:gd name="T81" fmla="*/ 1869 h 2864"/>
                    <a:gd name="T82" fmla="*/ 5757 w 8295"/>
                    <a:gd name="T83" fmla="*/ 1965 h 2864"/>
                    <a:gd name="T84" fmla="*/ 5471 w 8295"/>
                    <a:gd name="T85" fmla="*/ 2058 h 2864"/>
                    <a:gd name="T86" fmla="*/ 5096 w 8295"/>
                    <a:gd name="T87" fmla="*/ 2165 h 2864"/>
                    <a:gd name="T88" fmla="*/ 4455 w 8295"/>
                    <a:gd name="T89" fmla="*/ 2322 h 2864"/>
                    <a:gd name="T90" fmla="*/ 3771 w 8295"/>
                    <a:gd name="T91" fmla="*/ 2457 h 2864"/>
                    <a:gd name="T92" fmla="*/ 3047 w 8295"/>
                    <a:gd name="T93" fmla="*/ 2569 h 2864"/>
                    <a:gd name="T94" fmla="*/ 2287 w 8295"/>
                    <a:gd name="T95" fmla="*/ 2658 h 2864"/>
                    <a:gd name="T96" fmla="*/ 1497 w 8295"/>
                    <a:gd name="T97" fmla="*/ 2720 h 2864"/>
                    <a:gd name="T98" fmla="*/ 678 w 8295"/>
                    <a:gd name="T99" fmla="*/ 2756 h 2864"/>
                    <a:gd name="T100" fmla="*/ 50 w 8295"/>
                    <a:gd name="T101" fmla="*/ 2764 h 2864"/>
                    <a:gd name="T102" fmla="*/ 33 w 8295"/>
                    <a:gd name="T103" fmla="*/ 2767 h 2864"/>
                    <a:gd name="T104" fmla="*/ 15 w 8295"/>
                    <a:gd name="T105" fmla="*/ 2776 h 2864"/>
                    <a:gd name="T106" fmla="*/ 0 w 8295"/>
                    <a:gd name="T107" fmla="*/ 2805 h 2864"/>
                    <a:gd name="T108" fmla="*/ 6 w 8295"/>
                    <a:gd name="T109" fmla="*/ 2841 h 2864"/>
                    <a:gd name="T110" fmla="*/ 23 w 8295"/>
                    <a:gd name="T111" fmla="*/ 2858 h 2864"/>
                    <a:gd name="T112" fmla="*/ 43 w 8295"/>
                    <a:gd name="T113" fmla="*/ 2864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4">
                      <a:moveTo>
                        <a:pt x="50" y="2864"/>
                      </a:moveTo>
                      <a:lnTo>
                        <a:pt x="50" y="2864"/>
                      </a:lnTo>
                      <a:lnTo>
                        <a:pt x="262" y="2864"/>
                      </a:lnTo>
                      <a:lnTo>
                        <a:pt x="472" y="2861"/>
                      </a:lnTo>
                      <a:lnTo>
                        <a:pt x="681" y="2856"/>
                      </a:lnTo>
                      <a:lnTo>
                        <a:pt x="888" y="2849"/>
                      </a:lnTo>
                      <a:lnTo>
                        <a:pt x="1095" y="2841"/>
                      </a:lnTo>
                      <a:lnTo>
                        <a:pt x="1300" y="2832"/>
                      </a:lnTo>
                      <a:lnTo>
                        <a:pt x="1503" y="2820"/>
                      </a:lnTo>
                      <a:lnTo>
                        <a:pt x="1704" y="2807"/>
                      </a:lnTo>
                      <a:lnTo>
                        <a:pt x="1904" y="2792"/>
                      </a:lnTo>
                      <a:lnTo>
                        <a:pt x="2102" y="2776"/>
                      </a:lnTo>
                      <a:lnTo>
                        <a:pt x="2296" y="2757"/>
                      </a:lnTo>
                      <a:lnTo>
                        <a:pt x="2491" y="2738"/>
                      </a:lnTo>
                      <a:lnTo>
                        <a:pt x="2683" y="2716"/>
                      </a:lnTo>
                      <a:lnTo>
                        <a:pt x="2873" y="2693"/>
                      </a:lnTo>
                      <a:lnTo>
                        <a:pt x="3060" y="2668"/>
                      </a:lnTo>
                      <a:lnTo>
                        <a:pt x="3246" y="2642"/>
                      </a:lnTo>
                      <a:lnTo>
                        <a:pt x="3429" y="2615"/>
                      </a:lnTo>
                      <a:lnTo>
                        <a:pt x="3609" y="2587"/>
                      </a:lnTo>
                      <a:lnTo>
                        <a:pt x="3788" y="2555"/>
                      </a:lnTo>
                      <a:lnTo>
                        <a:pt x="3964" y="2523"/>
                      </a:lnTo>
                      <a:lnTo>
                        <a:pt x="4137" y="2490"/>
                      </a:lnTo>
                      <a:lnTo>
                        <a:pt x="4308" y="2456"/>
                      </a:lnTo>
                      <a:lnTo>
                        <a:pt x="4476" y="2420"/>
                      </a:lnTo>
                      <a:lnTo>
                        <a:pt x="4642" y="2383"/>
                      </a:lnTo>
                      <a:lnTo>
                        <a:pt x="4804" y="2343"/>
                      </a:lnTo>
                      <a:lnTo>
                        <a:pt x="4964" y="2304"/>
                      </a:lnTo>
                      <a:lnTo>
                        <a:pt x="5122" y="2263"/>
                      </a:lnTo>
                      <a:lnTo>
                        <a:pt x="5275" y="2219"/>
                      </a:lnTo>
                      <a:lnTo>
                        <a:pt x="5351" y="2197"/>
                      </a:lnTo>
                      <a:lnTo>
                        <a:pt x="5426" y="2176"/>
                      </a:lnTo>
                      <a:lnTo>
                        <a:pt x="5500" y="2153"/>
                      </a:lnTo>
                      <a:lnTo>
                        <a:pt x="5574" y="2131"/>
                      </a:lnTo>
                      <a:lnTo>
                        <a:pt x="5646" y="2107"/>
                      </a:lnTo>
                      <a:lnTo>
                        <a:pt x="5718" y="2085"/>
                      </a:lnTo>
                      <a:lnTo>
                        <a:pt x="5789" y="2061"/>
                      </a:lnTo>
                      <a:lnTo>
                        <a:pt x="5859" y="2037"/>
                      </a:lnTo>
                      <a:lnTo>
                        <a:pt x="5930" y="2013"/>
                      </a:lnTo>
                      <a:lnTo>
                        <a:pt x="5998" y="1988"/>
                      </a:lnTo>
                      <a:lnTo>
                        <a:pt x="6066" y="1963"/>
                      </a:lnTo>
                      <a:lnTo>
                        <a:pt x="6133" y="1939"/>
                      </a:lnTo>
                      <a:lnTo>
                        <a:pt x="6199" y="1914"/>
                      </a:lnTo>
                      <a:lnTo>
                        <a:pt x="6264" y="1888"/>
                      </a:lnTo>
                      <a:lnTo>
                        <a:pt x="6328" y="1862"/>
                      </a:lnTo>
                      <a:lnTo>
                        <a:pt x="6391" y="1836"/>
                      </a:lnTo>
                      <a:lnTo>
                        <a:pt x="6454" y="1809"/>
                      </a:lnTo>
                      <a:lnTo>
                        <a:pt x="6516" y="1783"/>
                      </a:lnTo>
                      <a:lnTo>
                        <a:pt x="6577" y="1756"/>
                      </a:lnTo>
                      <a:lnTo>
                        <a:pt x="6637" y="1728"/>
                      </a:lnTo>
                      <a:lnTo>
                        <a:pt x="6695" y="1702"/>
                      </a:lnTo>
                      <a:lnTo>
                        <a:pt x="6754" y="1674"/>
                      </a:lnTo>
                      <a:lnTo>
                        <a:pt x="6811" y="1646"/>
                      </a:lnTo>
                      <a:lnTo>
                        <a:pt x="6867" y="1618"/>
                      </a:lnTo>
                      <a:lnTo>
                        <a:pt x="6922" y="1590"/>
                      </a:lnTo>
                      <a:lnTo>
                        <a:pt x="6977" y="1561"/>
                      </a:lnTo>
                      <a:lnTo>
                        <a:pt x="7030" y="1532"/>
                      </a:lnTo>
                      <a:lnTo>
                        <a:pt x="7082" y="1503"/>
                      </a:lnTo>
                      <a:lnTo>
                        <a:pt x="7133" y="1473"/>
                      </a:lnTo>
                      <a:lnTo>
                        <a:pt x="7184" y="1444"/>
                      </a:lnTo>
                      <a:lnTo>
                        <a:pt x="7233" y="1414"/>
                      </a:lnTo>
                      <a:lnTo>
                        <a:pt x="7282" y="1384"/>
                      </a:lnTo>
                      <a:lnTo>
                        <a:pt x="7329" y="1353"/>
                      </a:lnTo>
                      <a:lnTo>
                        <a:pt x="7376" y="1323"/>
                      </a:lnTo>
                      <a:lnTo>
                        <a:pt x="7421" y="1292"/>
                      </a:lnTo>
                      <a:lnTo>
                        <a:pt x="7465" y="1261"/>
                      </a:lnTo>
                      <a:lnTo>
                        <a:pt x="7509" y="1230"/>
                      </a:lnTo>
                      <a:lnTo>
                        <a:pt x="7551" y="1198"/>
                      </a:lnTo>
                      <a:lnTo>
                        <a:pt x="7592" y="1165"/>
                      </a:lnTo>
                      <a:lnTo>
                        <a:pt x="7632" y="1134"/>
                      </a:lnTo>
                      <a:lnTo>
                        <a:pt x="7670" y="1102"/>
                      </a:lnTo>
                      <a:lnTo>
                        <a:pt x="7709" y="1069"/>
                      </a:lnTo>
                      <a:lnTo>
                        <a:pt x="7746" y="1037"/>
                      </a:lnTo>
                      <a:lnTo>
                        <a:pt x="7782" y="1004"/>
                      </a:lnTo>
                      <a:lnTo>
                        <a:pt x="7816" y="971"/>
                      </a:lnTo>
                      <a:lnTo>
                        <a:pt x="7850" y="938"/>
                      </a:lnTo>
                      <a:lnTo>
                        <a:pt x="7882" y="904"/>
                      </a:lnTo>
                      <a:lnTo>
                        <a:pt x="7914" y="870"/>
                      </a:lnTo>
                      <a:lnTo>
                        <a:pt x="7944" y="836"/>
                      </a:lnTo>
                      <a:lnTo>
                        <a:pt x="7972" y="802"/>
                      </a:lnTo>
                      <a:lnTo>
                        <a:pt x="8000" y="768"/>
                      </a:lnTo>
                      <a:lnTo>
                        <a:pt x="8027" y="733"/>
                      </a:lnTo>
                      <a:lnTo>
                        <a:pt x="8052" y="699"/>
                      </a:lnTo>
                      <a:lnTo>
                        <a:pt x="8076" y="663"/>
                      </a:lnTo>
                      <a:lnTo>
                        <a:pt x="8099" y="628"/>
                      </a:lnTo>
                      <a:lnTo>
                        <a:pt x="8121" y="592"/>
                      </a:lnTo>
                      <a:lnTo>
                        <a:pt x="8141" y="557"/>
                      </a:lnTo>
                      <a:lnTo>
                        <a:pt x="8161" y="521"/>
                      </a:lnTo>
                      <a:lnTo>
                        <a:pt x="8180" y="484"/>
                      </a:lnTo>
                      <a:lnTo>
                        <a:pt x="8196" y="448"/>
                      </a:lnTo>
                      <a:lnTo>
                        <a:pt x="8212" y="412"/>
                      </a:lnTo>
                      <a:lnTo>
                        <a:pt x="8226" y="376"/>
                      </a:lnTo>
                      <a:lnTo>
                        <a:pt x="8238" y="338"/>
                      </a:lnTo>
                      <a:lnTo>
                        <a:pt x="8251" y="301"/>
                      </a:lnTo>
                      <a:lnTo>
                        <a:pt x="8261" y="265"/>
                      </a:lnTo>
                      <a:lnTo>
                        <a:pt x="8269" y="227"/>
                      </a:lnTo>
                      <a:lnTo>
                        <a:pt x="8277" y="189"/>
                      </a:lnTo>
                      <a:lnTo>
                        <a:pt x="8284" y="152"/>
                      </a:lnTo>
                      <a:lnTo>
                        <a:pt x="8289" y="114"/>
                      </a:lnTo>
                      <a:lnTo>
                        <a:pt x="8292" y="76"/>
                      </a:lnTo>
                      <a:lnTo>
                        <a:pt x="8294" y="38"/>
                      </a:lnTo>
                      <a:lnTo>
                        <a:pt x="8295" y="0"/>
                      </a:lnTo>
                      <a:lnTo>
                        <a:pt x="8195" y="0"/>
                      </a:lnTo>
                      <a:lnTo>
                        <a:pt x="8194" y="34"/>
                      </a:lnTo>
                      <a:lnTo>
                        <a:pt x="8192" y="69"/>
                      </a:lnTo>
                      <a:lnTo>
                        <a:pt x="8189" y="103"/>
                      </a:lnTo>
                      <a:lnTo>
                        <a:pt x="8185" y="138"/>
                      </a:lnTo>
                      <a:lnTo>
                        <a:pt x="8180" y="172"/>
                      </a:lnTo>
                      <a:lnTo>
                        <a:pt x="8172" y="205"/>
                      </a:lnTo>
                      <a:lnTo>
                        <a:pt x="8164" y="239"/>
                      </a:lnTo>
                      <a:lnTo>
                        <a:pt x="8155" y="273"/>
                      </a:lnTo>
                      <a:lnTo>
                        <a:pt x="8145" y="307"/>
                      </a:lnTo>
                      <a:lnTo>
                        <a:pt x="8132" y="340"/>
                      </a:lnTo>
                      <a:lnTo>
                        <a:pt x="8119" y="375"/>
                      </a:lnTo>
                      <a:lnTo>
                        <a:pt x="8105" y="408"/>
                      </a:lnTo>
                      <a:lnTo>
                        <a:pt x="8089" y="441"/>
                      </a:lnTo>
                      <a:lnTo>
                        <a:pt x="8072" y="475"/>
                      </a:lnTo>
                      <a:lnTo>
                        <a:pt x="8055" y="508"/>
                      </a:lnTo>
                      <a:lnTo>
                        <a:pt x="8035" y="541"/>
                      </a:lnTo>
                      <a:lnTo>
                        <a:pt x="8016" y="574"/>
                      </a:lnTo>
                      <a:lnTo>
                        <a:pt x="7993" y="608"/>
                      </a:lnTo>
                      <a:lnTo>
                        <a:pt x="7970" y="640"/>
                      </a:lnTo>
                      <a:lnTo>
                        <a:pt x="7947" y="673"/>
                      </a:lnTo>
                      <a:lnTo>
                        <a:pt x="7922" y="706"/>
                      </a:lnTo>
                      <a:lnTo>
                        <a:pt x="7895" y="738"/>
                      </a:lnTo>
                      <a:lnTo>
                        <a:pt x="7868" y="770"/>
                      </a:lnTo>
                      <a:lnTo>
                        <a:pt x="7839" y="803"/>
                      </a:lnTo>
                      <a:lnTo>
                        <a:pt x="7810" y="835"/>
                      </a:lnTo>
                      <a:lnTo>
                        <a:pt x="7779" y="867"/>
                      </a:lnTo>
                      <a:lnTo>
                        <a:pt x="7747" y="898"/>
                      </a:lnTo>
                      <a:lnTo>
                        <a:pt x="7714" y="930"/>
                      </a:lnTo>
                      <a:lnTo>
                        <a:pt x="7679" y="963"/>
                      </a:lnTo>
                      <a:lnTo>
                        <a:pt x="7644" y="994"/>
                      </a:lnTo>
                      <a:lnTo>
                        <a:pt x="7607" y="1025"/>
                      </a:lnTo>
                      <a:lnTo>
                        <a:pt x="7569" y="1056"/>
                      </a:lnTo>
                      <a:lnTo>
                        <a:pt x="7530" y="1087"/>
                      </a:lnTo>
                      <a:lnTo>
                        <a:pt x="7490" y="1118"/>
                      </a:lnTo>
                      <a:lnTo>
                        <a:pt x="7450" y="1148"/>
                      </a:lnTo>
                      <a:lnTo>
                        <a:pt x="7408" y="1179"/>
                      </a:lnTo>
                      <a:lnTo>
                        <a:pt x="7364" y="1209"/>
                      </a:lnTo>
                      <a:lnTo>
                        <a:pt x="7320" y="1239"/>
                      </a:lnTo>
                      <a:lnTo>
                        <a:pt x="7275" y="1269"/>
                      </a:lnTo>
                      <a:lnTo>
                        <a:pt x="7228" y="1299"/>
                      </a:lnTo>
                      <a:lnTo>
                        <a:pt x="7182" y="1328"/>
                      </a:lnTo>
                      <a:lnTo>
                        <a:pt x="7133" y="1357"/>
                      </a:lnTo>
                      <a:lnTo>
                        <a:pt x="7084" y="1386"/>
                      </a:lnTo>
                      <a:lnTo>
                        <a:pt x="7033" y="1415"/>
                      </a:lnTo>
                      <a:lnTo>
                        <a:pt x="6982" y="1444"/>
                      </a:lnTo>
                      <a:lnTo>
                        <a:pt x="6929" y="1472"/>
                      </a:lnTo>
                      <a:lnTo>
                        <a:pt x="6877" y="1501"/>
                      </a:lnTo>
                      <a:lnTo>
                        <a:pt x="6822" y="1529"/>
                      </a:lnTo>
                      <a:lnTo>
                        <a:pt x="6766" y="1556"/>
                      </a:lnTo>
                      <a:lnTo>
                        <a:pt x="6711" y="1584"/>
                      </a:lnTo>
                      <a:lnTo>
                        <a:pt x="6653" y="1610"/>
                      </a:lnTo>
                      <a:lnTo>
                        <a:pt x="6595" y="1637"/>
                      </a:lnTo>
                      <a:lnTo>
                        <a:pt x="6537" y="1664"/>
                      </a:lnTo>
                      <a:lnTo>
                        <a:pt x="6476" y="1691"/>
                      </a:lnTo>
                      <a:lnTo>
                        <a:pt x="6415" y="1717"/>
                      </a:lnTo>
                      <a:lnTo>
                        <a:pt x="6354" y="1743"/>
                      </a:lnTo>
                      <a:lnTo>
                        <a:pt x="6290" y="1769"/>
                      </a:lnTo>
                      <a:lnTo>
                        <a:pt x="6227" y="1795"/>
                      </a:lnTo>
                      <a:lnTo>
                        <a:pt x="6163" y="1820"/>
                      </a:lnTo>
                      <a:lnTo>
                        <a:pt x="6098" y="1845"/>
                      </a:lnTo>
                      <a:lnTo>
                        <a:pt x="6032" y="1869"/>
                      </a:lnTo>
                      <a:lnTo>
                        <a:pt x="5965" y="1894"/>
                      </a:lnTo>
                      <a:lnTo>
                        <a:pt x="5897" y="1918"/>
                      </a:lnTo>
                      <a:lnTo>
                        <a:pt x="5828" y="1942"/>
                      </a:lnTo>
                      <a:lnTo>
                        <a:pt x="5757" y="1965"/>
                      </a:lnTo>
                      <a:lnTo>
                        <a:pt x="5687" y="1989"/>
                      </a:lnTo>
                      <a:lnTo>
                        <a:pt x="5616" y="2012"/>
                      </a:lnTo>
                      <a:lnTo>
                        <a:pt x="5544" y="2035"/>
                      </a:lnTo>
                      <a:lnTo>
                        <a:pt x="5471" y="2058"/>
                      </a:lnTo>
                      <a:lnTo>
                        <a:pt x="5398" y="2079"/>
                      </a:lnTo>
                      <a:lnTo>
                        <a:pt x="5324" y="2101"/>
                      </a:lnTo>
                      <a:lnTo>
                        <a:pt x="5248" y="2123"/>
                      </a:lnTo>
                      <a:lnTo>
                        <a:pt x="5096" y="2165"/>
                      </a:lnTo>
                      <a:lnTo>
                        <a:pt x="4940" y="2207"/>
                      </a:lnTo>
                      <a:lnTo>
                        <a:pt x="4781" y="2246"/>
                      </a:lnTo>
                      <a:lnTo>
                        <a:pt x="4620" y="2284"/>
                      </a:lnTo>
                      <a:lnTo>
                        <a:pt x="4455" y="2322"/>
                      </a:lnTo>
                      <a:lnTo>
                        <a:pt x="4288" y="2358"/>
                      </a:lnTo>
                      <a:lnTo>
                        <a:pt x="4119" y="2392"/>
                      </a:lnTo>
                      <a:lnTo>
                        <a:pt x="3945" y="2425"/>
                      </a:lnTo>
                      <a:lnTo>
                        <a:pt x="3771" y="2457"/>
                      </a:lnTo>
                      <a:lnTo>
                        <a:pt x="3593" y="2487"/>
                      </a:lnTo>
                      <a:lnTo>
                        <a:pt x="3414" y="2516"/>
                      </a:lnTo>
                      <a:lnTo>
                        <a:pt x="3231" y="2543"/>
                      </a:lnTo>
                      <a:lnTo>
                        <a:pt x="3047" y="2569"/>
                      </a:lnTo>
                      <a:lnTo>
                        <a:pt x="2860" y="2594"/>
                      </a:lnTo>
                      <a:lnTo>
                        <a:pt x="2672" y="2617"/>
                      </a:lnTo>
                      <a:lnTo>
                        <a:pt x="2481" y="2637"/>
                      </a:lnTo>
                      <a:lnTo>
                        <a:pt x="2287" y="2658"/>
                      </a:lnTo>
                      <a:lnTo>
                        <a:pt x="2092" y="2676"/>
                      </a:lnTo>
                      <a:lnTo>
                        <a:pt x="1895" y="2692"/>
                      </a:lnTo>
                      <a:lnTo>
                        <a:pt x="1698" y="2707"/>
                      </a:lnTo>
                      <a:lnTo>
                        <a:pt x="1497" y="2720"/>
                      </a:lnTo>
                      <a:lnTo>
                        <a:pt x="1295" y="2731"/>
                      </a:lnTo>
                      <a:lnTo>
                        <a:pt x="1090" y="2742"/>
                      </a:lnTo>
                      <a:lnTo>
                        <a:pt x="885" y="2750"/>
                      </a:lnTo>
                      <a:lnTo>
                        <a:pt x="678" y="2756"/>
                      </a:lnTo>
                      <a:lnTo>
                        <a:pt x="470" y="2760"/>
                      </a:lnTo>
                      <a:lnTo>
                        <a:pt x="261" y="2762"/>
                      </a:lnTo>
                      <a:lnTo>
                        <a:pt x="50" y="2764"/>
                      </a:lnTo>
                      <a:lnTo>
                        <a:pt x="50" y="2764"/>
                      </a:lnTo>
                      <a:lnTo>
                        <a:pt x="50" y="2764"/>
                      </a:lnTo>
                      <a:lnTo>
                        <a:pt x="43" y="2765"/>
                      </a:lnTo>
                      <a:lnTo>
                        <a:pt x="38" y="2765"/>
                      </a:lnTo>
                      <a:lnTo>
                        <a:pt x="33" y="2767"/>
                      </a:lnTo>
                      <a:lnTo>
                        <a:pt x="28" y="2769"/>
                      </a:lnTo>
                      <a:lnTo>
                        <a:pt x="23" y="2771"/>
                      </a:lnTo>
                      <a:lnTo>
                        <a:pt x="19" y="2773"/>
                      </a:lnTo>
                      <a:lnTo>
                        <a:pt x="15" y="2776"/>
                      </a:lnTo>
                      <a:lnTo>
                        <a:pt x="12" y="2780"/>
                      </a:lnTo>
                      <a:lnTo>
                        <a:pt x="6" y="2787"/>
                      </a:lnTo>
                      <a:lnTo>
                        <a:pt x="3" y="2796"/>
                      </a:lnTo>
                      <a:lnTo>
                        <a:pt x="0" y="2805"/>
                      </a:lnTo>
                      <a:lnTo>
                        <a:pt x="0" y="2814"/>
                      </a:lnTo>
                      <a:lnTo>
                        <a:pt x="0" y="2824"/>
                      </a:lnTo>
                      <a:lnTo>
                        <a:pt x="3" y="2833"/>
                      </a:lnTo>
                      <a:lnTo>
                        <a:pt x="6" y="2841"/>
                      </a:lnTo>
                      <a:lnTo>
                        <a:pt x="12" y="2848"/>
                      </a:lnTo>
                      <a:lnTo>
                        <a:pt x="15" y="2853"/>
                      </a:lnTo>
                      <a:lnTo>
                        <a:pt x="19" y="2856"/>
                      </a:lnTo>
                      <a:lnTo>
                        <a:pt x="23" y="2858"/>
                      </a:lnTo>
                      <a:lnTo>
                        <a:pt x="28" y="2860"/>
                      </a:lnTo>
                      <a:lnTo>
                        <a:pt x="33" y="2862"/>
                      </a:lnTo>
                      <a:lnTo>
                        <a:pt x="38" y="2863"/>
                      </a:lnTo>
                      <a:lnTo>
                        <a:pt x="43" y="2864"/>
                      </a:lnTo>
                      <a:lnTo>
                        <a:pt x="50"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07" name="Freeform 151"/>
                <p:cNvSpPr>
                  <a:spLocks/>
                </p:cNvSpPr>
                <p:nvPr>
                  <p:custDataLst>
                    <p:tags r:id="rId152"/>
                  </p:custDataLst>
                </p:nvPr>
              </p:nvSpPr>
              <p:spPr bwMode="auto">
                <a:xfrm>
                  <a:off x="369" y="3467"/>
                  <a:ext cx="359" cy="116"/>
                </a:xfrm>
                <a:custGeom>
                  <a:avLst/>
                  <a:gdLst>
                    <a:gd name="T0" fmla="*/ 3 w 8246"/>
                    <a:gd name="T1" fmla="*/ 127 h 2915"/>
                    <a:gd name="T2" fmla="*/ 25 w 8246"/>
                    <a:gd name="T3" fmla="*/ 278 h 2915"/>
                    <a:gd name="T4" fmla="*/ 69 w 8246"/>
                    <a:gd name="T5" fmla="*/ 427 h 2915"/>
                    <a:gd name="T6" fmla="*/ 134 w 8246"/>
                    <a:gd name="T7" fmla="*/ 572 h 2915"/>
                    <a:gd name="T8" fmla="*/ 219 w 8246"/>
                    <a:gd name="T9" fmla="*/ 714 h 2915"/>
                    <a:gd name="T10" fmla="*/ 323 w 8246"/>
                    <a:gd name="T11" fmla="*/ 853 h 2915"/>
                    <a:gd name="T12" fmla="*/ 445 w 8246"/>
                    <a:gd name="T13" fmla="*/ 989 h 2915"/>
                    <a:gd name="T14" fmla="*/ 586 w 8246"/>
                    <a:gd name="T15" fmla="*/ 1120 h 2915"/>
                    <a:gd name="T16" fmla="*/ 744 w 8246"/>
                    <a:gd name="T17" fmla="*/ 1249 h 2915"/>
                    <a:gd name="T18" fmla="*/ 919 w 8246"/>
                    <a:gd name="T19" fmla="*/ 1374 h 2915"/>
                    <a:gd name="T20" fmla="*/ 1111 w 8246"/>
                    <a:gd name="T21" fmla="*/ 1495 h 2915"/>
                    <a:gd name="T22" fmla="*/ 1318 w 8246"/>
                    <a:gd name="T23" fmla="*/ 1612 h 2915"/>
                    <a:gd name="T24" fmla="*/ 1541 w 8246"/>
                    <a:gd name="T25" fmla="*/ 1725 h 2915"/>
                    <a:gd name="T26" fmla="*/ 1779 w 8246"/>
                    <a:gd name="T27" fmla="*/ 1834 h 2915"/>
                    <a:gd name="T28" fmla="*/ 2030 w 8246"/>
                    <a:gd name="T29" fmla="*/ 1939 h 2915"/>
                    <a:gd name="T30" fmla="*/ 2297 w 8246"/>
                    <a:gd name="T31" fmla="*/ 2039 h 2915"/>
                    <a:gd name="T32" fmla="*/ 2577 w 8246"/>
                    <a:gd name="T33" fmla="*/ 2136 h 2915"/>
                    <a:gd name="T34" fmla="*/ 2869 w 8246"/>
                    <a:gd name="T35" fmla="*/ 2227 h 2915"/>
                    <a:gd name="T36" fmla="*/ 3331 w 8246"/>
                    <a:gd name="T37" fmla="*/ 2355 h 2915"/>
                    <a:gd name="T38" fmla="*/ 3987 w 8246"/>
                    <a:gd name="T39" fmla="*/ 2507 h 2915"/>
                    <a:gd name="T40" fmla="*/ 4686 w 8246"/>
                    <a:gd name="T41" fmla="*/ 2638 h 2915"/>
                    <a:gd name="T42" fmla="*/ 5422 w 8246"/>
                    <a:gd name="T43" fmla="*/ 2744 h 2915"/>
                    <a:gd name="T44" fmla="*/ 6193 w 8246"/>
                    <a:gd name="T45" fmla="*/ 2827 h 2915"/>
                    <a:gd name="T46" fmla="*/ 6995 w 8246"/>
                    <a:gd name="T47" fmla="*/ 2883 h 2915"/>
                    <a:gd name="T48" fmla="*/ 7823 w 8246"/>
                    <a:gd name="T49" fmla="*/ 2912 h 2915"/>
                    <a:gd name="T50" fmla="*/ 8034 w 8246"/>
                    <a:gd name="T51" fmla="*/ 2813 h 2915"/>
                    <a:gd name="T52" fmla="*/ 7205 w 8246"/>
                    <a:gd name="T53" fmla="*/ 2793 h 2915"/>
                    <a:gd name="T54" fmla="*/ 6400 w 8246"/>
                    <a:gd name="T55" fmla="*/ 2743 h 2915"/>
                    <a:gd name="T56" fmla="*/ 5623 w 8246"/>
                    <a:gd name="T57" fmla="*/ 2668 h 2915"/>
                    <a:gd name="T58" fmla="*/ 4881 w 8246"/>
                    <a:gd name="T59" fmla="*/ 2567 h 2915"/>
                    <a:gd name="T60" fmla="*/ 4176 w 8246"/>
                    <a:gd name="T61" fmla="*/ 2443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1 h 2915"/>
                    <a:gd name="T76" fmla="*/ 1418 w 8246"/>
                    <a:gd name="T77" fmla="*/ 1552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9 h 2915"/>
                    <a:gd name="T94" fmla="*/ 175 w 8246"/>
                    <a:gd name="T95" fmla="*/ 426 h 2915"/>
                    <a:gd name="T96" fmla="*/ 131 w 8246"/>
                    <a:gd name="T97" fmla="*/ 290 h 2915"/>
                    <a:gd name="T98" fmla="*/ 106 w 8246"/>
                    <a:gd name="T99" fmla="*/ 154 h 2915"/>
                    <a:gd name="T100" fmla="*/ 100 w 8246"/>
                    <a:gd name="T101" fmla="*/ 51 h 2915"/>
                    <a:gd name="T102" fmla="*/ 98 w 8246"/>
                    <a:gd name="T103" fmla="*/ 33 h 2915"/>
                    <a:gd name="T104" fmla="*/ 88 w 8246"/>
                    <a:gd name="T105" fmla="*/ 17 h 2915"/>
                    <a:gd name="T106" fmla="*/ 60 w 8246"/>
                    <a:gd name="T107" fmla="*/ 1 h 2915"/>
                    <a:gd name="T108" fmla="*/ 23 w 8246"/>
                    <a:gd name="T109" fmla="*/ 7 h 2915"/>
                    <a:gd name="T110" fmla="*/ 6 w 8246"/>
                    <a:gd name="T111" fmla="*/ 24 h 2915"/>
                    <a:gd name="T112" fmla="*/ 0 w 8246"/>
                    <a:gd name="T113" fmla="*/ 45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1"/>
                      </a:moveTo>
                      <a:lnTo>
                        <a:pt x="0" y="51"/>
                      </a:lnTo>
                      <a:lnTo>
                        <a:pt x="1" y="89"/>
                      </a:lnTo>
                      <a:lnTo>
                        <a:pt x="3" y="127"/>
                      </a:lnTo>
                      <a:lnTo>
                        <a:pt x="6" y="165"/>
                      </a:lnTo>
                      <a:lnTo>
                        <a:pt x="11" y="203"/>
                      </a:lnTo>
                      <a:lnTo>
                        <a:pt x="18" y="240"/>
                      </a:lnTo>
                      <a:lnTo>
                        <a:pt x="25" y="278"/>
                      </a:lnTo>
                      <a:lnTo>
                        <a:pt x="34" y="316"/>
                      </a:lnTo>
                      <a:lnTo>
                        <a:pt x="44" y="352"/>
                      </a:lnTo>
                      <a:lnTo>
                        <a:pt x="56" y="389"/>
                      </a:lnTo>
                      <a:lnTo>
                        <a:pt x="69" y="427"/>
                      </a:lnTo>
                      <a:lnTo>
                        <a:pt x="83" y="463"/>
                      </a:lnTo>
                      <a:lnTo>
                        <a:pt x="99" y="499"/>
                      </a:lnTo>
                      <a:lnTo>
                        <a:pt x="115" y="535"/>
                      </a:lnTo>
                      <a:lnTo>
                        <a:pt x="134" y="572"/>
                      </a:lnTo>
                      <a:lnTo>
                        <a:pt x="154" y="608"/>
                      </a:lnTo>
                      <a:lnTo>
                        <a:pt x="174" y="643"/>
                      </a:lnTo>
                      <a:lnTo>
                        <a:pt x="196" y="679"/>
                      </a:lnTo>
                      <a:lnTo>
                        <a:pt x="219" y="714"/>
                      </a:lnTo>
                      <a:lnTo>
                        <a:pt x="243" y="750"/>
                      </a:lnTo>
                      <a:lnTo>
                        <a:pt x="268" y="784"/>
                      </a:lnTo>
                      <a:lnTo>
                        <a:pt x="295" y="819"/>
                      </a:lnTo>
                      <a:lnTo>
                        <a:pt x="323" y="853"/>
                      </a:lnTo>
                      <a:lnTo>
                        <a:pt x="351" y="887"/>
                      </a:lnTo>
                      <a:lnTo>
                        <a:pt x="381" y="921"/>
                      </a:lnTo>
                      <a:lnTo>
                        <a:pt x="413" y="955"/>
                      </a:lnTo>
                      <a:lnTo>
                        <a:pt x="445" y="989"/>
                      </a:lnTo>
                      <a:lnTo>
                        <a:pt x="479" y="1022"/>
                      </a:lnTo>
                      <a:lnTo>
                        <a:pt x="513" y="1055"/>
                      </a:lnTo>
                      <a:lnTo>
                        <a:pt x="549" y="1088"/>
                      </a:lnTo>
                      <a:lnTo>
                        <a:pt x="586" y="1120"/>
                      </a:lnTo>
                      <a:lnTo>
                        <a:pt x="624" y="1153"/>
                      </a:lnTo>
                      <a:lnTo>
                        <a:pt x="663" y="1185"/>
                      </a:lnTo>
                      <a:lnTo>
                        <a:pt x="703" y="1216"/>
                      </a:lnTo>
                      <a:lnTo>
                        <a:pt x="744" y="1249"/>
                      </a:lnTo>
                      <a:lnTo>
                        <a:pt x="786" y="1281"/>
                      </a:lnTo>
                      <a:lnTo>
                        <a:pt x="830" y="1312"/>
                      </a:lnTo>
                      <a:lnTo>
                        <a:pt x="874" y="1343"/>
                      </a:lnTo>
                      <a:lnTo>
                        <a:pt x="919" y="1374"/>
                      </a:lnTo>
                      <a:lnTo>
                        <a:pt x="966" y="1404"/>
                      </a:lnTo>
                      <a:lnTo>
                        <a:pt x="1013" y="1435"/>
                      </a:lnTo>
                      <a:lnTo>
                        <a:pt x="1062" y="1465"/>
                      </a:lnTo>
                      <a:lnTo>
                        <a:pt x="1111" y="1495"/>
                      </a:lnTo>
                      <a:lnTo>
                        <a:pt x="1162" y="1524"/>
                      </a:lnTo>
                      <a:lnTo>
                        <a:pt x="1212" y="1554"/>
                      </a:lnTo>
                      <a:lnTo>
                        <a:pt x="1265" y="1583"/>
                      </a:lnTo>
                      <a:lnTo>
                        <a:pt x="1318" y="1612"/>
                      </a:lnTo>
                      <a:lnTo>
                        <a:pt x="1373" y="1641"/>
                      </a:lnTo>
                      <a:lnTo>
                        <a:pt x="1428" y="1669"/>
                      </a:lnTo>
                      <a:lnTo>
                        <a:pt x="1484" y="1697"/>
                      </a:lnTo>
                      <a:lnTo>
                        <a:pt x="1541" y="1725"/>
                      </a:lnTo>
                      <a:lnTo>
                        <a:pt x="1600" y="1753"/>
                      </a:lnTo>
                      <a:lnTo>
                        <a:pt x="1658" y="1779"/>
                      </a:lnTo>
                      <a:lnTo>
                        <a:pt x="1718" y="1807"/>
                      </a:lnTo>
                      <a:lnTo>
                        <a:pt x="1779" y="1834"/>
                      </a:lnTo>
                      <a:lnTo>
                        <a:pt x="1841" y="1860"/>
                      </a:lnTo>
                      <a:lnTo>
                        <a:pt x="1904" y="1887"/>
                      </a:lnTo>
                      <a:lnTo>
                        <a:pt x="1967" y="1913"/>
                      </a:lnTo>
                      <a:lnTo>
                        <a:pt x="2030" y="1939"/>
                      </a:lnTo>
                      <a:lnTo>
                        <a:pt x="2096" y="1965"/>
                      </a:lnTo>
                      <a:lnTo>
                        <a:pt x="2162" y="1990"/>
                      </a:lnTo>
                      <a:lnTo>
                        <a:pt x="2229" y="2014"/>
                      </a:lnTo>
                      <a:lnTo>
                        <a:pt x="2297" y="2039"/>
                      </a:lnTo>
                      <a:lnTo>
                        <a:pt x="2365" y="2064"/>
                      </a:lnTo>
                      <a:lnTo>
                        <a:pt x="2436" y="2088"/>
                      </a:lnTo>
                      <a:lnTo>
                        <a:pt x="2506" y="2112"/>
                      </a:lnTo>
                      <a:lnTo>
                        <a:pt x="2577" y="2136"/>
                      </a:lnTo>
                      <a:lnTo>
                        <a:pt x="2649" y="2158"/>
                      </a:lnTo>
                      <a:lnTo>
                        <a:pt x="2721" y="2182"/>
                      </a:lnTo>
                      <a:lnTo>
                        <a:pt x="2794" y="2204"/>
                      </a:lnTo>
                      <a:lnTo>
                        <a:pt x="2869" y="2227"/>
                      </a:lnTo>
                      <a:lnTo>
                        <a:pt x="2944" y="2248"/>
                      </a:lnTo>
                      <a:lnTo>
                        <a:pt x="3020" y="2270"/>
                      </a:lnTo>
                      <a:lnTo>
                        <a:pt x="3173" y="2314"/>
                      </a:lnTo>
                      <a:lnTo>
                        <a:pt x="3331" y="2355"/>
                      </a:lnTo>
                      <a:lnTo>
                        <a:pt x="3491" y="2394"/>
                      </a:lnTo>
                      <a:lnTo>
                        <a:pt x="3653" y="2434"/>
                      </a:lnTo>
                      <a:lnTo>
                        <a:pt x="3819" y="2471"/>
                      </a:lnTo>
                      <a:lnTo>
                        <a:pt x="3987" y="2507"/>
                      </a:lnTo>
                      <a:lnTo>
                        <a:pt x="4158" y="2541"/>
                      </a:lnTo>
                      <a:lnTo>
                        <a:pt x="4331" y="2574"/>
                      </a:lnTo>
                      <a:lnTo>
                        <a:pt x="4507" y="2606"/>
                      </a:lnTo>
                      <a:lnTo>
                        <a:pt x="4686" y="2638"/>
                      </a:lnTo>
                      <a:lnTo>
                        <a:pt x="4866" y="2666"/>
                      </a:lnTo>
                      <a:lnTo>
                        <a:pt x="5049" y="2693"/>
                      </a:lnTo>
                      <a:lnTo>
                        <a:pt x="5235" y="2719"/>
                      </a:lnTo>
                      <a:lnTo>
                        <a:pt x="5422" y="2744"/>
                      </a:lnTo>
                      <a:lnTo>
                        <a:pt x="5612" y="2767"/>
                      </a:lnTo>
                      <a:lnTo>
                        <a:pt x="5804" y="2789"/>
                      </a:lnTo>
                      <a:lnTo>
                        <a:pt x="5998" y="2808"/>
                      </a:lnTo>
                      <a:lnTo>
                        <a:pt x="6193" y="2827"/>
                      </a:lnTo>
                      <a:lnTo>
                        <a:pt x="6391" y="2843"/>
                      </a:lnTo>
                      <a:lnTo>
                        <a:pt x="6591" y="2858"/>
                      </a:lnTo>
                      <a:lnTo>
                        <a:pt x="6792" y="2871"/>
                      </a:lnTo>
                      <a:lnTo>
                        <a:pt x="6995" y="2883"/>
                      </a:lnTo>
                      <a:lnTo>
                        <a:pt x="7200" y="2892"/>
                      </a:lnTo>
                      <a:lnTo>
                        <a:pt x="7407" y="2900"/>
                      </a:lnTo>
                      <a:lnTo>
                        <a:pt x="7614" y="2907"/>
                      </a:lnTo>
                      <a:lnTo>
                        <a:pt x="7823" y="2912"/>
                      </a:lnTo>
                      <a:lnTo>
                        <a:pt x="8034" y="2915"/>
                      </a:lnTo>
                      <a:lnTo>
                        <a:pt x="8246" y="2915"/>
                      </a:lnTo>
                      <a:lnTo>
                        <a:pt x="8246" y="2815"/>
                      </a:lnTo>
                      <a:lnTo>
                        <a:pt x="8034" y="2813"/>
                      </a:lnTo>
                      <a:lnTo>
                        <a:pt x="7825" y="2811"/>
                      </a:lnTo>
                      <a:lnTo>
                        <a:pt x="7617" y="2807"/>
                      </a:lnTo>
                      <a:lnTo>
                        <a:pt x="7410" y="2801"/>
                      </a:lnTo>
                      <a:lnTo>
                        <a:pt x="7205" y="2793"/>
                      </a:lnTo>
                      <a:lnTo>
                        <a:pt x="7000" y="2782"/>
                      </a:lnTo>
                      <a:lnTo>
                        <a:pt x="6798" y="2771"/>
                      </a:lnTo>
                      <a:lnTo>
                        <a:pt x="6597" y="2758"/>
                      </a:lnTo>
                      <a:lnTo>
                        <a:pt x="6400" y="2743"/>
                      </a:lnTo>
                      <a:lnTo>
                        <a:pt x="6203" y="2727"/>
                      </a:lnTo>
                      <a:lnTo>
                        <a:pt x="6008" y="2709"/>
                      </a:lnTo>
                      <a:lnTo>
                        <a:pt x="5814" y="2688"/>
                      </a:lnTo>
                      <a:lnTo>
                        <a:pt x="5623" y="2668"/>
                      </a:lnTo>
                      <a:lnTo>
                        <a:pt x="5435" y="2645"/>
                      </a:lnTo>
                      <a:lnTo>
                        <a:pt x="5248" y="2620"/>
                      </a:lnTo>
                      <a:lnTo>
                        <a:pt x="5064" y="2594"/>
                      </a:lnTo>
                      <a:lnTo>
                        <a:pt x="4881" y="2567"/>
                      </a:lnTo>
                      <a:lnTo>
                        <a:pt x="4702" y="2538"/>
                      </a:lnTo>
                      <a:lnTo>
                        <a:pt x="4524" y="2508"/>
                      </a:lnTo>
                      <a:lnTo>
                        <a:pt x="4350" y="2476"/>
                      </a:lnTo>
                      <a:lnTo>
                        <a:pt x="4176" y="2443"/>
                      </a:lnTo>
                      <a:lnTo>
                        <a:pt x="4007" y="2409"/>
                      </a:lnTo>
                      <a:lnTo>
                        <a:pt x="3839" y="2373"/>
                      </a:lnTo>
                      <a:lnTo>
                        <a:pt x="3675" y="2335"/>
                      </a:lnTo>
                      <a:lnTo>
                        <a:pt x="3514" y="2297"/>
                      </a:lnTo>
                      <a:lnTo>
                        <a:pt x="3355" y="2258"/>
                      </a:lnTo>
                      <a:lnTo>
                        <a:pt x="3199" y="2216"/>
                      </a:lnTo>
                      <a:lnTo>
                        <a:pt x="3047" y="2174"/>
                      </a:lnTo>
                      <a:lnTo>
                        <a:pt x="2971" y="2152"/>
                      </a:lnTo>
                      <a:lnTo>
                        <a:pt x="2897" y="2130"/>
                      </a:lnTo>
                      <a:lnTo>
                        <a:pt x="2824" y="2109"/>
                      </a:lnTo>
                      <a:lnTo>
                        <a:pt x="2751" y="2086"/>
                      </a:lnTo>
                      <a:lnTo>
                        <a:pt x="2679" y="2063"/>
                      </a:lnTo>
                      <a:lnTo>
                        <a:pt x="2608" y="2040"/>
                      </a:lnTo>
                      <a:lnTo>
                        <a:pt x="2538" y="2016"/>
                      </a:lnTo>
                      <a:lnTo>
                        <a:pt x="2467" y="1993"/>
                      </a:lnTo>
                      <a:lnTo>
                        <a:pt x="2398" y="1969"/>
                      </a:lnTo>
                      <a:lnTo>
                        <a:pt x="2330" y="1945"/>
                      </a:lnTo>
                      <a:lnTo>
                        <a:pt x="2263" y="1920"/>
                      </a:lnTo>
                      <a:lnTo>
                        <a:pt x="2197" y="1896"/>
                      </a:lnTo>
                      <a:lnTo>
                        <a:pt x="2132" y="1871"/>
                      </a:lnTo>
                      <a:lnTo>
                        <a:pt x="2068" y="1846"/>
                      </a:lnTo>
                      <a:lnTo>
                        <a:pt x="2004" y="1820"/>
                      </a:lnTo>
                      <a:lnTo>
                        <a:pt x="1941" y="1794"/>
                      </a:lnTo>
                      <a:lnTo>
                        <a:pt x="1880" y="1768"/>
                      </a:lnTo>
                      <a:lnTo>
                        <a:pt x="1819" y="1742"/>
                      </a:lnTo>
                      <a:lnTo>
                        <a:pt x="1758" y="1715"/>
                      </a:lnTo>
                      <a:lnTo>
                        <a:pt x="1700" y="1688"/>
                      </a:lnTo>
                      <a:lnTo>
                        <a:pt x="1642" y="1661"/>
                      </a:lnTo>
                      <a:lnTo>
                        <a:pt x="1584" y="1635"/>
                      </a:lnTo>
                      <a:lnTo>
                        <a:pt x="1529" y="1607"/>
                      </a:lnTo>
                      <a:lnTo>
                        <a:pt x="1473" y="1580"/>
                      </a:lnTo>
                      <a:lnTo>
                        <a:pt x="1418" y="1552"/>
                      </a:lnTo>
                      <a:lnTo>
                        <a:pt x="1366" y="1523"/>
                      </a:lnTo>
                      <a:lnTo>
                        <a:pt x="1313" y="1495"/>
                      </a:lnTo>
                      <a:lnTo>
                        <a:pt x="1262" y="1466"/>
                      </a:lnTo>
                      <a:lnTo>
                        <a:pt x="1211" y="1437"/>
                      </a:lnTo>
                      <a:lnTo>
                        <a:pt x="1162" y="1408"/>
                      </a:lnTo>
                      <a:lnTo>
                        <a:pt x="1113" y="1379"/>
                      </a:lnTo>
                      <a:lnTo>
                        <a:pt x="1066" y="1350"/>
                      </a:lnTo>
                      <a:lnTo>
                        <a:pt x="1020" y="1320"/>
                      </a:lnTo>
                      <a:lnTo>
                        <a:pt x="975" y="1290"/>
                      </a:lnTo>
                      <a:lnTo>
                        <a:pt x="931" y="1260"/>
                      </a:lnTo>
                      <a:lnTo>
                        <a:pt x="887" y="1230"/>
                      </a:lnTo>
                      <a:lnTo>
                        <a:pt x="845" y="1199"/>
                      </a:lnTo>
                      <a:lnTo>
                        <a:pt x="804" y="1169"/>
                      </a:lnTo>
                      <a:lnTo>
                        <a:pt x="765" y="1138"/>
                      </a:lnTo>
                      <a:lnTo>
                        <a:pt x="726" y="1107"/>
                      </a:lnTo>
                      <a:lnTo>
                        <a:pt x="688" y="1076"/>
                      </a:lnTo>
                      <a:lnTo>
                        <a:pt x="651" y="1045"/>
                      </a:lnTo>
                      <a:lnTo>
                        <a:pt x="616" y="1014"/>
                      </a:lnTo>
                      <a:lnTo>
                        <a:pt x="581" y="981"/>
                      </a:lnTo>
                      <a:lnTo>
                        <a:pt x="548" y="949"/>
                      </a:lnTo>
                      <a:lnTo>
                        <a:pt x="516" y="918"/>
                      </a:lnTo>
                      <a:lnTo>
                        <a:pt x="485" y="886"/>
                      </a:lnTo>
                      <a:lnTo>
                        <a:pt x="456" y="854"/>
                      </a:lnTo>
                      <a:lnTo>
                        <a:pt x="427" y="821"/>
                      </a:lnTo>
                      <a:lnTo>
                        <a:pt x="400" y="789"/>
                      </a:lnTo>
                      <a:lnTo>
                        <a:pt x="373" y="757"/>
                      </a:lnTo>
                      <a:lnTo>
                        <a:pt x="348" y="724"/>
                      </a:lnTo>
                      <a:lnTo>
                        <a:pt x="324" y="691"/>
                      </a:lnTo>
                      <a:lnTo>
                        <a:pt x="301" y="659"/>
                      </a:lnTo>
                      <a:lnTo>
                        <a:pt x="280" y="625"/>
                      </a:lnTo>
                      <a:lnTo>
                        <a:pt x="260" y="592"/>
                      </a:lnTo>
                      <a:lnTo>
                        <a:pt x="240" y="559"/>
                      </a:lnTo>
                      <a:lnTo>
                        <a:pt x="223" y="526"/>
                      </a:lnTo>
                      <a:lnTo>
                        <a:pt x="205" y="492"/>
                      </a:lnTo>
                      <a:lnTo>
                        <a:pt x="190" y="459"/>
                      </a:lnTo>
                      <a:lnTo>
                        <a:pt x="175" y="426"/>
                      </a:lnTo>
                      <a:lnTo>
                        <a:pt x="163" y="391"/>
                      </a:lnTo>
                      <a:lnTo>
                        <a:pt x="150" y="358"/>
                      </a:lnTo>
                      <a:lnTo>
                        <a:pt x="140" y="324"/>
                      </a:lnTo>
                      <a:lnTo>
                        <a:pt x="131" y="290"/>
                      </a:lnTo>
                      <a:lnTo>
                        <a:pt x="123" y="256"/>
                      </a:lnTo>
                      <a:lnTo>
                        <a:pt x="115" y="223"/>
                      </a:lnTo>
                      <a:lnTo>
                        <a:pt x="110" y="189"/>
                      </a:lnTo>
                      <a:lnTo>
                        <a:pt x="106" y="154"/>
                      </a:lnTo>
                      <a:lnTo>
                        <a:pt x="102" y="120"/>
                      </a:lnTo>
                      <a:lnTo>
                        <a:pt x="101" y="85"/>
                      </a:lnTo>
                      <a:lnTo>
                        <a:pt x="100" y="51"/>
                      </a:lnTo>
                      <a:lnTo>
                        <a:pt x="100" y="51"/>
                      </a:lnTo>
                      <a:lnTo>
                        <a:pt x="100" y="51"/>
                      </a:lnTo>
                      <a:lnTo>
                        <a:pt x="100" y="45"/>
                      </a:lnTo>
                      <a:lnTo>
                        <a:pt x="99" y="39"/>
                      </a:lnTo>
                      <a:lnTo>
                        <a:pt x="98" y="33"/>
                      </a:lnTo>
                      <a:lnTo>
                        <a:pt x="96" y="29"/>
                      </a:lnTo>
                      <a:lnTo>
                        <a:pt x="94" y="24"/>
                      </a:lnTo>
                      <a:lnTo>
                        <a:pt x="91" y="20"/>
                      </a:lnTo>
                      <a:lnTo>
                        <a:pt x="88" y="17"/>
                      </a:lnTo>
                      <a:lnTo>
                        <a:pt x="85" y="13"/>
                      </a:lnTo>
                      <a:lnTo>
                        <a:pt x="77" y="7"/>
                      </a:lnTo>
                      <a:lnTo>
                        <a:pt x="68" y="3"/>
                      </a:lnTo>
                      <a:lnTo>
                        <a:pt x="60" y="1"/>
                      </a:lnTo>
                      <a:lnTo>
                        <a:pt x="51" y="0"/>
                      </a:lnTo>
                      <a:lnTo>
                        <a:pt x="40" y="1"/>
                      </a:lnTo>
                      <a:lnTo>
                        <a:pt x="32" y="3"/>
                      </a:lnTo>
                      <a:lnTo>
                        <a:pt x="23" y="7"/>
                      </a:lnTo>
                      <a:lnTo>
                        <a:pt x="15" y="13"/>
                      </a:lnTo>
                      <a:lnTo>
                        <a:pt x="12" y="17"/>
                      </a:lnTo>
                      <a:lnTo>
                        <a:pt x="9" y="20"/>
                      </a:lnTo>
                      <a:lnTo>
                        <a:pt x="6" y="24"/>
                      </a:lnTo>
                      <a:lnTo>
                        <a:pt x="4" y="29"/>
                      </a:lnTo>
                      <a:lnTo>
                        <a:pt x="2" y="33"/>
                      </a:lnTo>
                      <a:lnTo>
                        <a:pt x="1" y="39"/>
                      </a:lnTo>
                      <a:lnTo>
                        <a:pt x="0" y="45"/>
                      </a:lnTo>
                      <a:lnTo>
                        <a:pt x="0" y="51"/>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08" name="Freeform 152"/>
                <p:cNvSpPr>
                  <a:spLocks/>
                </p:cNvSpPr>
                <p:nvPr>
                  <p:custDataLst>
                    <p:tags r:id="rId153"/>
                  </p:custDataLst>
                </p:nvPr>
              </p:nvSpPr>
              <p:spPr bwMode="auto">
                <a:xfrm>
                  <a:off x="369" y="3354"/>
                  <a:ext cx="361" cy="115"/>
                </a:xfrm>
                <a:custGeom>
                  <a:avLst/>
                  <a:gdLst>
                    <a:gd name="T0" fmla="*/ 7823 w 8296"/>
                    <a:gd name="T1" fmla="*/ 4 h 2865"/>
                    <a:gd name="T2" fmla="*/ 6995 w 8296"/>
                    <a:gd name="T3" fmla="*/ 33 h 2865"/>
                    <a:gd name="T4" fmla="*/ 6193 w 8296"/>
                    <a:gd name="T5" fmla="*/ 89 h 2865"/>
                    <a:gd name="T6" fmla="*/ 5422 w 8296"/>
                    <a:gd name="T7" fmla="*/ 171 h 2865"/>
                    <a:gd name="T8" fmla="*/ 4686 w 8296"/>
                    <a:gd name="T9" fmla="*/ 278 h 2865"/>
                    <a:gd name="T10" fmla="*/ 3987 w 8296"/>
                    <a:gd name="T11" fmla="*/ 409 h 2865"/>
                    <a:gd name="T12" fmla="*/ 3331 w 8296"/>
                    <a:gd name="T13" fmla="*/ 561 h 2865"/>
                    <a:gd name="T14" fmla="*/ 2721 w 8296"/>
                    <a:gd name="T15" fmla="*/ 734 h 2865"/>
                    <a:gd name="T16" fmla="*/ 2436 w 8296"/>
                    <a:gd name="T17" fmla="*/ 827 h 2865"/>
                    <a:gd name="T18" fmla="*/ 2162 w 8296"/>
                    <a:gd name="T19" fmla="*/ 925 h 2865"/>
                    <a:gd name="T20" fmla="*/ 1904 w 8296"/>
                    <a:gd name="T21" fmla="*/ 1029 h 2865"/>
                    <a:gd name="T22" fmla="*/ 1658 w 8296"/>
                    <a:gd name="T23" fmla="*/ 1135 h 2865"/>
                    <a:gd name="T24" fmla="*/ 1428 w 8296"/>
                    <a:gd name="T25" fmla="*/ 1247 h 2865"/>
                    <a:gd name="T26" fmla="*/ 1212 w 8296"/>
                    <a:gd name="T27" fmla="*/ 1362 h 2865"/>
                    <a:gd name="T28" fmla="*/ 1013 w 8296"/>
                    <a:gd name="T29" fmla="*/ 1481 h 2865"/>
                    <a:gd name="T30" fmla="*/ 830 w 8296"/>
                    <a:gd name="T31" fmla="*/ 1604 h 2865"/>
                    <a:gd name="T32" fmla="*/ 663 w 8296"/>
                    <a:gd name="T33" fmla="*/ 1731 h 2865"/>
                    <a:gd name="T34" fmla="*/ 513 w 8296"/>
                    <a:gd name="T35" fmla="*/ 1861 h 2865"/>
                    <a:gd name="T36" fmla="*/ 381 w 8296"/>
                    <a:gd name="T37" fmla="*/ 1995 h 2865"/>
                    <a:gd name="T38" fmla="*/ 268 w 8296"/>
                    <a:gd name="T39" fmla="*/ 2131 h 2865"/>
                    <a:gd name="T40" fmla="*/ 174 w 8296"/>
                    <a:gd name="T41" fmla="*/ 2272 h 2865"/>
                    <a:gd name="T42" fmla="*/ 99 w 8296"/>
                    <a:gd name="T43" fmla="*/ 2416 h 2865"/>
                    <a:gd name="T44" fmla="*/ 44 w 8296"/>
                    <a:gd name="T45" fmla="*/ 2563 h 2865"/>
                    <a:gd name="T46" fmla="*/ 11 w 8296"/>
                    <a:gd name="T47" fmla="*/ 2713 h 2865"/>
                    <a:gd name="T48" fmla="*/ 0 w 8296"/>
                    <a:gd name="T49" fmla="*/ 2865 h 2865"/>
                    <a:gd name="T50" fmla="*/ 106 w 8296"/>
                    <a:gd name="T51" fmla="*/ 2761 h 2865"/>
                    <a:gd name="T52" fmla="*/ 131 w 8296"/>
                    <a:gd name="T53" fmla="*/ 2625 h 2865"/>
                    <a:gd name="T54" fmla="*/ 175 w 8296"/>
                    <a:gd name="T55" fmla="*/ 2490 h 2865"/>
                    <a:gd name="T56" fmla="*/ 240 w 8296"/>
                    <a:gd name="T57" fmla="*/ 2357 h 2865"/>
                    <a:gd name="T58" fmla="*/ 324 w 8296"/>
                    <a:gd name="T59" fmla="*/ 2224 h 2865"/>
                    <a:gd name="T60" fmla="*/ 427 w 8296"/>
                    <a:gd name="T61" fmla="*/ 2094 h 2865"/>
                    <a:gd name="T62" fmla="*/ 548 w 8296"/>
                    <a:gd name="T63" fmla="*/ 1966 h 2865"/>
                    <a:gd name="T64" fmla="*/ 688 w 8296"/>
                    <a:gd name="T65" fmla="*/ 1839 h 2865"/>
                    <a:gd name="T66" fmla="*/ 845 w 8296"/>
                    <a:gd name="T67" fmla="*/ 1716 h 2865"/>
                    <a:gd name="T68" fmla="*/ 1020 w 8296"/>
                    <a:gd name="T69" fmla="*/ 1596 h 2865"/>
                    <a:gd name="T70" fmla="*/ 1211 w 8296"/>
                    <a:gd name="T71" fmla="*/ 1478 h 2865"/>
                    <a:gd name="T72" fmla="*/ 1418 w 8296"/>
                    <a:gd name="T73" fmla="*/ 1364 h 2865"/>
                    <a:gd name="T74" fmla="*/ 1642 w 8296"/>
                    <a:gd name="T75" fmla="*/ 1253 h 2865"/>
                    <a:gd name="T76" fmla="*/ 1880 w 8296"/>
                    <a:gd name="T77" fmla="*/ 1147 h 2865"/>
                    <a:gd name="T78" fmla="*/ 2132 w 8296"/>
                    <a:gd name="T79" fmla="*/ 1044 h 2865"/>
                    <a:gd name="T80" fmla="*/ 2398 w 8296"/>
                    <a:gd name="T81" fmla="*/ 946 h 2865"/>
                    <a:gd name="T82" fmla="*/ 2679 w 8296"/>
                    <a:gd name="T83" fmla="*/ 852 h 2865"/>
                    <a:gd name="T84" fmla="*/ 3199 w 8296"/>
                    <a:gd name="T85" fmla="*/ 700 h 2865"/>
                    <a:gd name="T86" fmla="*/ 3839 w 8296"/>
                    <a:gd name="T87" fmla="*/ 543 h 2865"/>
                    <a:gd name="T88" fmla="*/ 4524 w 8296"/>
                    <a:gd name="T89" fmla="*/ 408 h 2865"/>
                    <a:gd name="T90" fmla="*/ 5248 w 8296"/>
                    <a:gd name="T91" fmla="*/ 295 h 2865"/>
                    <a:gd name="T92" fmla="*/ 6008 w 8296"/>
                    <a:gd name="T93" fmla="*/ 207 h 2865"/>
                    <a:gd name="T94" fmla="*/ 6798 w 8296"/>
                    <a:gd name="T95" fmla="*/ 144 h 2865"/>
                    <a:gd name="T96" fmla="*/ 7617 w 8296"/>
                    <a:gd name="T97" fmla="*/ 109 h 2865"/>
                    <a:gd name="T98" fmla="*/ 8246 w 8296"/>
                    <a:gd name="T99" fmla="*/ 100 h 2865"/>
                    <a:gd name="T100" fmla="*/ 8263 w 8296"/>
                    <a:gd name="T101" fmla="*/ 98 h 2865"/>
                    <a:gd name="T102" fmla="*/ 8280 w 8296"/>
                    <a:gd name="T103" fmla="*/ 88 h 2865"/>
                    <a:gd name="T104" fmla="*/ 8295 w 8296"/>
                    <a:gd name="T105" fmla="*/ 60 h 2865"/>
                    <a:gd name="T106" fmla="*/ 8289 w 8296"/>
                    <a:gd name="T107" fmla="*/ 24 h 2865"/>
                    <a:gd name="T108" fmla="*/ 8272 w 8296"/>
                    <a:gd name="T109" fmla="*/ 6 h 2865"/>
                    <a:gd name="T110" fmla="*/ 8252 w 8296"/>
                    <a:gd name="T111" fmla="*/ 0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5">
                      <a:moveTo>
                        <a:pt x="8246" y="0"/>
                      </a:moveTo>
                      <a:lnTo>
                        <a:pt x="8246" y="0"/>
                      </a:lnTo>
                      <a:lnTo>
                        <a:pt x="8034" y="1"/>
                      </a:lnTo>
                      <a:lnTo>
                        <a:pt x="7823" y="4"/>
                      </a:lnTo>
                      <a:lnTo>
                        <a:pt x="7614" y="8"/>
                      </a:lnTo>
                      <a:lnTo>
                        <a:pt x="7407" y="14"/>
                      </a:lnTo>
                      <a:lnTo>
                        <a:pt x="7200" y="23"/>
                      </a:lnTo>
                      <a:lnTo>
                        <a:pt x="6995" y="33"/>
                      </a:lnTo>
                      <a:lnTo>
                        <a:pt x="6792" y="45"/>
                      </a:lnTo>
                      <a:lnTo>
                        <a:pt x="6591" y="57"/>
                      </a:lnTo>
                      <a:lnTo>
                        <a:pt x="6391" y="72"/>
                      </a:lnTo>
                      <a:lnTo>
                        <a:pt x="6193" y="89"/>
                      </a:lnTo>
                      <a:lnTo>
                        <a:pt x="5998" y="108"/>
                      </a:lnTo>
                      <a:lnTo>
                        <a:pt x="5804" y="127"/>
                      </a:lnTo>
                      <a:lnTo>
                        <a:pt x="5612" y="148"/>
                      </a:lnTo>
                      <a:lnTo>
                        <a:pt x="5422" y="171"/>
                      </a:lnTo>
                      <a:lnTo>
                        <a:pt x="5235" y="196"/>
                      </a:lnTo>
                      <a:lnTo>
                        <a:pt x="5049" y="221"/>
                      </a:lnTo>
                      <a:lnTo>
                        <a:pt x="4866" y="249"/>
                      </a:lnTo>
                      <a:lnTo>
                        <a:pt x="4686" y="278"/>
                      </a:lnTo>
                      <a:lnTo>
                        <a:pt x="4507" y="308"/>
                      </a:lnTo>
                      <a:lnTo>
                        <a:pt x="4331" y="341"/>
                      </a:lnTo>
                      <a:lnTo>
                        <a:pt x="4158" y="374"/>
                      </a:lnTo>
                      <a:lnTo>
                        <a:pt x="3987" y="409"/>
                      </a:lnTo>
                      <a:lnTo>
                        <a:pt x="3819" y="445"/>
                      </a:lnTo>
                      <a:lnTo>
                        <a:pt x="3653" y="482"/>
                      </a:lnTo>
                      <a:lnTo>
                        <a:pt x="3491" y="521"/>
                      </a:lnTo>
                      <a:lnTo>
                        <a:pt x="3331" y="561"/>
                      </a:lnTo>
                      <a:lnTo>
                        <a:pt x="3173" y="602"/>
                      </a:lnTo>
                      <a:lnTo>
                        <a:pt x="3020" y="645"/>
                      </a:lnTo>
                      <a:lnTo>
                        <a:pt x="2869" y="689"/>
                      </a:lnTo>
                      <a:lnTo>
                        <a:pt x="2721" y="734"/>
                      </a:lnTo>
                      <a:lnTo>
                        <a:pt x="2649" y="757"/>
                      </a:lnTo>
                      <a:lnTo>
                        <a:pt x="2577" y="780"/>
                      </a:lnTo>
                      <a:lnTo>
                        <a:pt x="2506" y="803"/>
                      </a:lnTo>
                      <a:lnTo>
                        <a:pt x="2436" y="827"/>
                      </a:lnTo>
                      <a:lnTo>
                        <a:pt x="2365" y="852"/>
                      </a:lnTo>
                      <a:lnTo>
                        <a:pt x="2297" y="876"/>
                      </a:lnTo>
                      <a:lnTo>
                        <a:pt x="2229" y="900"/>
                      </a:lnTo>
                      <a:lnTo>
                        <a:pt x="2162" y="925"/>
                      </a:lnTo>
                      <a:lnTo>
                        <a:pt x="2096" y="951"/>
                      </a:lnTo>
                      <a:lnTo>
                        <a:pt x="2030" y="976"/>
                      </a:lnTo>
                      <a:lnTo>
                        <a:pt x="1967" y="1002"/>
                      </a:lnTo>
                      <a:lnTo>
                        <a:pt x="1904" y="1029"/>
                      </a:lnTo>
                      <a:lnTo>
                        <a:pt x="1841" y="1055"/>
                      </a:lnTo>
                      <a:lnTo>
                        <a:pt x="1779" y="1082"/>
                      </a:lnTo>
                      <a:lnTo>
                        <a:pt x="1718" y="1109"/>
                      </a:lnTo>
                      <a:lnTo>
                        <a:pt x="1658" y="1135"/>
                      </a:lnTo>
                      <a:lnTo>
                        <a:pt x="1600" y="1163"/>
                      </a:lnTo>
                      <a:lnTo>
                        <a:pt x="1541" y="1190"/>
                      </a:lnTo>
                      <a:lnTo>
                        <a:pt x="1484" y="1218"/>
                      </a:lnTo>
                      <a:lnTo>
                        <a:pt x="1428" y="1247"/>
                      </a:lnTo>
                      <a:lnTo>
                        <a:pt x="1373" y="1275"/>
                      </a:lnTo>
                      <a:lnTo>
                        <a:pt x="1318" y="1304"/>
                      </a:lnTo>
                      <a:lnTo>
                        <a:pt x="1265" y="1333"/>
                      </a:lnTo>
                      <a:lnTo>
                        <a:pt x="1212" y="1362"/>
                      </a:lnTo>
                      <a:lnTo>
                        <a:pt x="1162" y="1391"/>
                      </a:lnTo>
                      <a:lnTo>
                        <a:pt x="1111" y="1421"/>
                      </a:lnTo>
                      <a:lnTo>
                        <a:pt x="1062" y="1451"/>
                      </a:lnTo>
                      <a:lnTo>
                        <a:pt x="1013" y="1481"/>
                      </a:lnTo>
                      <a:lnTo>
                        <a:pt x="966" y="1511"/>
                      </a:lnTo>
                      <a:lnTo>
                        <a:pt x="919" y="1542"/>
                      </a:lnTo>
                      <a:lnTo>
                        <a:pt x="874" y="1573"/>
                      </a:lnTo>
                      <a:lnTo>
                        <a:pt x="830" y="1604"/>
                      </a:lnTo>
                      <a:lnTo>
                        <a:pt x="786" y="1635"/>
                      </a:lnTo>
                      <a:lnTo>
                        <a:pt x="744" y="1666"/>
                      </a:lnTo>
                      <a:lnTo>
                        <a:pt x="703" y="1698"/>
                      </a:lnTo>
                      <a:lnTo>
                        <a:pt x="663" y="1731"/>
                      </a:lnTo>
                      <a:lnTo>
                        <a:pt x="624" y="1763"/>
                      </a:lnTo>
                      <a:lnTo>
                        <a:pt x="586" y="1795"/>
                      </a:lnTo>
                      <a:lnTo>
                        <a:pt x="549" y="1828"/>
                      </a:lnTo>
                      <a:lnTo>
                        <a:pt x="513" y="1861"/>
                      </a:lnTo>
                      <a:lnTo>
                        <a:pt x="479" y="1894"/>
                      </a:lnTo>
                      <a:lnTo>
                        <a:pt x="445" y="1927"/>
                      </a:lnTo>
                      <a:lnTo>
                        <a:pt x="413" y="1960"/>
                      </a:lnTo>
                      <a:lnTo>
                        <a:pt x="381" y="1995"/>
                      </a:lnTo>
                      <a:lnTo>
                        <a:pt x="351" y="2029"/>
                      </a:lnTo>
                      <a:lnTo>
                        <a:pt x="323" y="2063"/>
                      </a:lnTo>
                      <a:lnTo>
                        <a:pt x="295" y="2097"/>
                      </a:lnTo>
                      <a:lnTo>
                        <a:pt x="268" y="2131"/>
                      </a:lnTo>
                      <a:lnTo>
                        <a:pt x="243" y="2166"/>
                      </a:lnTo>
                      <a:lnTo>
                        <a:pt x="219" y="2202"/>
                      </a:lnTo>
                      <a:lnTo>
                        <a:pt x="196" y="2237"/>
                      </a:lnTo>
                      <a:lnTo>
                        <a:pt x="174" y="2272"/>
                      </a:lnTo>
                      <a:lnTo>
                        <a:pt x="154" y="2308"/>
                      </a:lnTo>
                      <a:lnTo>
                        <a:pt x="134" y="2343"/>
                      </a:lnTo>
                      <a:lnTo>
                        <a:pt x="115" y="2380"/>
                      </a:lnTo>
                      <a:lnTo>
                        <a:pt x="99" y="2416"/>
                      </a:lnTo>
                      <a:lnTo>
                        <a:pt x="83" y="2452"/>
                      </a:lnTo>
                      <a:lnTo>
                        <a:pt x="69" y="2489"/>
                      </a:lnTo>
                      <a:lnTo>
                        <a:pt x="56" y="2525"/>
                      </a:lnTo>
                      <a:lnTo>
                        <a:pt x="44" y="2563"/>
                      </a:lnTo>
                      <a:lnTo>
                        <a:pt x="34" y="2600"/>
                      </a:lnTo>
                      <a:lnTo>
                        <a:pt x="25" y="2637"/>
                      </a:lnTo>
                      <a:lnTo>
                        <a:pt x="18" y="2676"/>
                      </a:lnTo>
                      <a:lnTo>
                        <a:pt x="11" y="2713"/>
                      </a:lnTo>
                      <a:lnTo>
                        <a:pt x="6" y="2750"/>
                      </a:lnTo>
                      <a:lnTo>
                        <a:pt x="3" y="2788"/>
                      </a:lnTo>
                      <a:lnTo>
                        <a:pt x="1" y="2827"/>
                      </a:lnTo>
                      <a:lnTo>
                        <a:pt x="0" y="2865"/>
                      </a:lnTo>
                      <a:lnTo>
                        <a:pt x="100" y="2865"/>
                      </a:lnTo>
                      <a:lnTo>
                        <a:pt x="101" y="2830"/>
                      </a:lnTo>
                      <a:lnTo>
                        <a:pt x="102" y="2796"/>
                      </a:lnTo>
                      <a:lnTo>
                        <a:pt x="106" y="2761"/>
                      </a:lnTo>
                      <a:lnTo>
                        <a:pt x="110" y="2727"/>
                      </a:lnTo>
                      <a:lnTo>
                        <a:pt x="115" y="2693"/>
                      </a:lnTo>
                      <a:lnTo>
                        <a:pt x="123" y="2659"/>
                      </a:lnTo>
                      <a:lnTo>
                        <a:pt x="131" y="2625"/>
                      </a:lnTo>
                      <a:lnTo>
                        <a:pt x="140" y="2592"/>
                      </a:lnTo>
                      <a:lnTo>
                        <a:pt x="150" y="2558"/>
                      </a:lnTo>
                      <a:lnTo>
                        <a:pt x="163" y="2524"/>
                      </a:lnTo>
                      <a:lnTo>
                        <a:pt x="175" y="2490"/>
                      </a:lnTo>
                      <a:lnTo>
                        <a:pt x="190" y="2457"/>
                      </a:lnTo>
                      <a:lnTo>
                        <a:pt x="205" y="2423"/>
                      </a:lnTo>
                      <a:lnTo>
                        <a:pt x="223" y="2390"/>
                      </a:lnTo>
                      <a:lnTo>
                        <a:pt x="240" y="2357"/>
                      </a:lnTo>
                      <a:lnTo>
                        <a:pt x="260" y="2324"/>
                      </a:lnTo>
                      <a:lnTo>
                        <a:pt x="279" y="2291"/>
                      </a:lnTo>
                      <a:lnTo>
                        <a:pt x="301" y="2257"/>
                      </a:lnTo>
                      <a:lnTo>
                        <a:pt x="324" y="2224"/>
                      </a:lnTo>
                      <a:lnTo>
                        <a:pt x="348" y="2192"/>
                      </a:lnTo>
                      <a:lnTo>
                        <a:pt x="373" y="2159"/>
                      </a:lnTo>
                      <a:lnTo>
                        <a:pt x="400" y="2127"/>
                      </a:lnTo>
                      <a:lnTo>
                        <a:pt x="427" y="2094"/>
                      </a:lnTo>
                      <a:lnTo>
                        <a:pt x="456" y="2062"/>
                      </a:lnTo>
                      <a:lnTo>
                        <a:pt x="485" y="2030"/>
                      </a:lnTo>
                      <a:lnTo>
                        <a:pt x="516" y="1998"/>
                      </a:lnTo>
                      <a:lnTo>
                        <a:pt x="548" y="1966"/>
                      </a:lnTo>
                      <a:lnTo>
                        <a:pt x="581" y="1934"/>
                      </a:lnTo>
                      <a:lnTo>
                        <a:pt x="616" y="1902"/>
                      </a:lnTo>
                      <a:lnTo>
                        <a:pt x="651" y="1871"/>
                      </a:lnTo>
                      <a:lnTo>
                        <a:pt x="688" y="1839"/>
                      </a:lnTo>
                      <a:lnTo>
                        <a:pt x="726" y="1808"/>
                      </a:lnTo>
                      <a:lnTo>
                        <a:pt x="765" y="1777"/>
                      </a:lnTo>
                      <a:lnTo>
                        <a:pt x="804" y="1747"/>
                      </a:lnTo>
                      <a:lnTo>
                        <a:pt x="845" y="1716"/>
                      </a:lnTo>
                      <a:lnTo>
                        <a:pt x="887" y="1686"/>
                      </a:lnTo>
                      <a:lnTo>
                        <a:pt x="931" y="1656"/>
                      </a:lnTo>
                      <a:lnTo>
                        <a:pt x="975" y="1625"/>
                      </a:lnTo>
                      <a:lnTo>
                        <a:pt x="1020" y="1596"/>
                      </a:lnTo>
                      <a:lnTo>
                        <a:pt x="1066" y="1566"/>
                      </a:lnTo>
                      <a:lnTo>
                        <a:pt x="1113" y="1537"/>
                      </a:lnTo>
                      <a:lnTo>
                        <a:pt x="1162" y="1507"/>
                      </a:lnTo>
                      <a:lnTo>
                        <a:pt x="1211" y="1478"/>
                      </a:lnTo>
                      <a:lnTo>
                        <a:pt x="1262" y="1449"/>
                      </a:lnTo>
                      <a:lnTo>
                        <a:pt x="1313" y="1421"/>
                      </a:lnTo>
                      <a:lnTo>
                        <a:pt x="1366" y="1392"/>
                      </a:lnTo>
                      <a:lnTo>
                        <a:pt x="1418" y="1364"/>
                      </a:lnTo>
                      <a:lnTo>
                        <a:pt x="1473" y="1336"/>
                      </a:lnTo>
                      <a:lnTo>
                        <a:pt x="1529" y="1308"/>
                      </a:lnTo>
                      <a:lnTo>
                        <a:pt x="1584" y="1281"/>
                      </a:lnTo>
                      <a:lnTo>
                        <a:pt x="1642" y="1253"/>
                      </a:lnTo>
                      <a:lnTo>
                        <a:pt x="1700" y="1227"/>
                      </a:lnTo>
                      <a:lnTo>
                        <a:pt x="1758" y="1200"/>
                      </a:lnTo>
                      <a:lnTo>
                        <a:pt x="1819" y="1174"/>
                      </a:lnTo>
                      <a:lnTo>
                        <a:pt x="1880" y="1147"/>
                      </a:lnTo>
                      <a:lnTo>
                        <a:pt x="1941" y="1121"/>
                      </a:lnTo>
                      <a:lnTo>
                        <a:pt x="2004" y="1095"/>
                      </a:lnTo>
                      <a:lnTo>
                        <a:pt x="2068" y="1070"/>
                      </a:lnTo>
                      <a:lnTo>
                        <a:pt x="2132" y="1044"/>
                      </a:lnTo>
                      <a:lnTo>
                        <a:pt x="2197" y="1020"/>
                      </a:lnTo>
                      <a:lnTo>
                        <a:pt x="2263" y="995"/>
                      </a:lnTo>
                      <a:lnTo>
                        <a:pt x="2330" y="971"/>
                      </a:lnTo>
                      <a:lnTo>
                        <a:pt x="2398" y="946"/>
                      </a:lnTo>
                      <a:lnTo>
                        <a:pt x="2467" y="922"/>
                      </a:lnTo>
                      <a:lnTo>
                        <a:pt x="2538" y="898"/>
                      </a:lnTo>
                      <a:lnTo>
                        <a:pt x="2608" y="876"/>
                      </a:lnTo>
                      <a:lnTo>
                        <a:pt x="2679" y="852"/>
                      </a:lnTo>
                      <a:lnTo>
                        <a:pt x="2751" y="830"/>
                      </a:lnTo>
                      <a:lnTo>
                        <a:pt x="2897" y="785"/>
                      </a:lnTo>
                      <a:lnTo>
                        <a:pt x="3047" y="741"/>
                      </a:lnTo>
                      <a:lnTo>
                        <a:pt x="3199" y="700"/>
                      </a:lnTo>
                      <a:lnTo>
                        <a:pt x="3355" y="658"/>
                      </a:lnTo>
                      <a:lnTo>
                        <a:pt x="3514" y="619"/>
                      </a:lnTo>
                      <a:lnTo>
                        <a:pt x="3675" y="580"/>
                      </a:lnTo>
                      <a:lnTo>
                        <a:pt x="3839" y="543"/>
                      </a:lnTo>
                      <a:lnTo>
                        <a:pt x="4007" y="507"/>
                      </a:lnTo>
                      <a:lnTo>
                        <a:pt x="4176" y="473"/>
                      </a:lnTo>
                      <a:lnTo>
                        <a:pt x="4350" y="440"/>
                      </a:lnTo>
                      <a:lnTo>
                        <a:pt x="4524" y="408"/>
                      </a:lnTo>
                      <a:lnTo>
                        <a:pt x="4702" y="378"/>
                      </a:lnTo>
                      <a:lnTo>
                        <a:pt x="4881" y="349"/>
                      </a:lnTo>
                      <a:lnTo>
                        <a:pt x="5064" y="321"/>
                      </a:lnTo>
                      <a:lnTo>
                        <a:pt x="5248" y="295"/>
                      </a:lnTo>
                      <a:lnTo>
                        <a:pt x="5435" y="271"/>
                      </a:lnTo>
                      <a:lnTo>
                        <a:pt x="5623" y="248"/>
                      </a:lnTo>
                      <a:lnTo>
                        <a:pt x="5814" y="227"/>
                      </a:lnTo>
                      <a:lnTo>
                        <a:pt x="6008" y="207"/>
                      </a:lnTo>
                      <a:lnTo>
                        <a:pt x="6203" y="189"/>
                      </a:lnTo>
                      <a:lnTo>
                        <a:pt x="6400" y="173"/>
                      </a:lnTo>
                      <a:lnTo>
                        <a:pt x="6597" y="157"/>
                      </a:lnTo>
                      <a:lnTo>
                        <a:pt x="6798" y="144"/>
                      </a:lnTo>
                      <a:lnTo>
                        <a:pt x="7000" y="132"/>
                      </a:lnTo>
                      <a:lnTo>
                        <a:pt x="7205" y="123"/>
                      </a:lnTo>
                      <a:lnTo>
                        <a:pt x="7410" y="115"/>
                      </a:lnTo>
                      <a:lnTo>
                        <a:pt x="7617" y="109"/>
                      </a:lnTo>
                      <a:lnTo>
                        <a:pt x="7825" y="105"/>
                      </a:lnTo>
                      <a:lnTo>
                        <a:pt x="8034" y="101"/>
                      </a:lnTo>
                      <a:lnTo>
                        <a:pt x="8246" y="100"/>
                      </a:lnTo>
                      <a:lnTo>
                        <a:pt x="8246" y="100"/>
                      </a:lnTo>
                      <a:lnTo>
                        <a:pt x="8246" y="100"/>
                      </a:lnTo>
                      <a:lnTo>
                        <a:pt x="8252" y="100"/>
                      </a:lnTo>
                      <a:lnTo>
                        <a:pt x="8257" y="99"/>
                      </a:lnTo>
                      <a:lnTo>
                        <a:pt x="8263" y="98"/>
                      </a:lnTo>
                      <a:lnTo>
                        <a:pt x="8267" y="96"/>
                      </a:lnTo>
                      <a:lnTo>
                        <a:pt x="8272" y="94"/>
                      </a:lnTo>
                      <a:lnTo>
                        <a:pt x="8276" y="91"/>
                      </a:lnTo>
                      <a:lnTo>
                        <a:pt x="8280" y="88"/>
                      </a:lnTo>
                      <a:lnTo>
                        <a:pt x="8284" y="85"/>
                      </a:lnTo>
                      <a:lnTo>
                        <a:pt x="8289" y="78"/>
                      </a:lnTo>
                      <a:lnTo>
                        <a:pt x="8293" y="68"/>
                      </a:lnTo>
                      <a:lnTo>
                        <a:pt x="8295" y="60"/>
                      </a:lnTo>
                      <a:lnTo>
                        <a:pt x="8296" y="51"/>
                      </a:lnTo>
                      <a:lnTo>
                        <a:pt x="8295" y="41"/>
                      </a:lnTo>
                      <a:lnTo>
                        <a:pt x="8293" y="32"/>
                      </a:lnTo>
                      <a:lnTo>
                        <a:pt x="8289" y="24"/>
                      </a:lnTo>
                      <a:lnTo>
                        <a:pt x="8284" y="16"/>
                      </a:lnTo>
                      <a:lnTo>
                        <a:pt x="8280" y="12"/>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09" name="Freeform 153"/>
                <p:cNvSpPr>
                  <a:spLocks/>
                </p:cNvSpPr>
                <p:nvPr>
                  <p:custDataLst>
                    <p:tags r:id="rId154"/>
                  </p:custDataLst>
                </p:nvPr>
              </p:nvSpPr>
              <p:spPr bwMode="auto">
                <a:xfrm>
                  <a:off x="728" y="3354"/>
                  <a:ext cx="358" cy="115"/>
                </a:xfrm>
                <a:custGeom>
                  <a:avLst/>
                  <a:gdLst>
                    <a:gd name="T0" fmla="*/ 8239 w 8245"/>
                    <a:gd name="T1" fmla="*/ 2750 h 2865"/>
                    <a:gd name="T2" fmla="*/ 8211 w 8245"/>
                    <a:gd name="T3" fmla="*/ 2600 h 2865"/>
                    <a:gd name="T4" fmla="*/ 8162 w 8245"/>
                    <a:gd name="T5" fmla="*/ 2452 h 2865"/>
                    <a:gd name="T6" fmla="*/ 8091 w 8245"/>
                    <a:gd name="T7" fmla="*/ 2308 h 2865"/>
                    <a:gd name="T8" fmla="*/ 8002 w 8245"/>
                    <a:gd name="T9" fmla="*/ 2166 h 2865"/>
                    <a:gd name="T10" fmla="*/ 7894 w 8245"/>
                    <a:gd name="T11" fmla="*/ 2029 h 2865"/>
                    <a:gd name="T12" fmla="*/ 7766 w 8245"/>
                    <a:gd name="T13" fmla="*/ 1894 h 2865"/>
                    <a:gd name="T14" fmla="*/ 7620 w 8245"/>
                    <a:gd name="T15" fmla="*/ 1763 h 2865"/>
                    <a:gd name="T16" fmla="*/ 7459 w 8245"/>
                    <a:gd name="T17" fmla="*/ 1635 h 2865"/>
                    <a:gd name="T18" fmla="*/ 7279 w 8245"/>
                    <a:gd name="T19" fmla="*/ 1511 h 2865"/>
                    <a:gd name="T20" fmla="*/ 7083 w 8245"/>
                    <a:gd name="T21" fmla="*/ 1391 h 2865"/>
                    <a:gd name="T22" fmla="*/ 6872 w 8245"/>
                    <a:gd name="T23" fmla="*/ 1275 h 2865"/>
                    <a:gd name="T24" fmla="*/ 6645 w 8245"/>
                    <a:gd name="T25" fmla="*/ 1163 h 2865"/>
                    <a:gd name="T26" fmla="*/ 6404 w 8245"/>
                    <a:gd name="T27" fmla="*/ 1055 h 2865"/>
                    <a:gd name="T28" fmla="*/ 6149 w 8245"/>
                    <a:gd name="T29" fmla="*/ 951 h 2865"/>
                    <a:gd name="T30" fmla="*/ 5880 w 8245"/>
                    <a:gd name="T31" fmla="*/ 852 h 2865"/>
                    <a:gd name="T32" fmla="*/ 5596 w 8245"/>
                    <a:gd name="T33" fmla="*/ 757 h 2865"/>
                    <a:gd name="T34" fmla="*/ 5072 w 8245"/>
                    <a:gd name="T35" fmla="*/ 602 h 2865"/>
                    <a:gd name="T36" fmla="*/ 4426 w 8245"/>
                    <a:gd name="T37" fmla="*/ 445 h 2865"/>
                    <a:gd name="T38" fmla="*/ 3738 w 8245"/>
                    <a:gd name="T39" fmla="*/ 308 h 2865"/>
                    <a:gd name="T40" fmla="*/ 3010 w 8245"/>
                    <a:gd name="T41" fmla="*/ 196 h 2865"/>
                    <a:gd name="T42" fmla="*/ 2246 w 8245"/>
                    <a:gd name="T43" fmla="*/ 108 h 2865"/>
                    <a:gd name="T44" fmla="*/ 1453 w 8245"/>
                    <a:gd name="T45" fmla="*/ 45 h 2865"/>
                    <a:gd name="T46" fmla="*/ 631 w 8245"/>
                    <a:gd name="T47" fmla="*/ 8 h 2865"/>
                    <a:gd name="T48" fmla="*/ 0 w 8245"/>
                    <a:gd name="T49" fmla="*/ 100 h 2865"/>
                    <a:gd name="T50" fmla="*/ 835 w 8245"/>
                    <a:gd name="T51" fmla="*/ 115 h 2865"/>
                    <a:gd name="T52" fmla="*/ 1648 w 8245"/>
                    <a:gd name="T53" fmla="*/ 157 h 2865"/>
                    <a:gd name="T54" fmla="*/ 2431 w 8245"/>
                    <a:gd name="T55" fmla="*/ 227 h 2865"/>
                    <a:gd name="T56" fmla="*/ 3181 w 8245"/>
                    <a:gd name="T57" fmla="*/ 321 h 2865"/>
                    <a:gd name="T58" fmla="*/ 3895 w 8245"/>
                    <a:gd name="T59" fmla="*/ 440 h 2865"/>
                    <a:gd name="T60" fmla="*/ 4570 w 8245"/>
                    <a:gd name="T61" fmla="*/ 580 h 2865"/>
                    <a:gd name="T62" fmla="*/ 5198 w 8245"/>
                    <a:gd name="T63" fmla="*/ 741 h 2865"/>
                    <a:gd name="T64" fmla="*/ 5637 w 8245"/>
                    <a:gd name="T65" fmla="*/ 876 h 2865"/>
                    <a:gd name="T66" fmla="*/ 5915 w 8245"/>
                    <a:gd name="T67" fmla="*/ 971 h 2865"/>
                    <a:gd name="T68" fmla="*/ 6177 w 8245"/>
                    <a:gd name="T69" fmla="*/ 1070 h 2865"/>
                    <a:gd name="T70" fmla="*/ 6426 w 8245"/>
                    <a:gd name="T71" fmla="*/ 1174 h 2865"/>
                    <a:gd name="T72" fmla="*/ 6661 w 8245"/>
                    <a:gd name="T73" fmla="*/ 1281 h 2865"/>
                    <a:gd name="T74" fmla="*/ 6879 w 8245"/>
                    <a:gd name="T75" fmla="*/ 1392 h 2865"/>
                    <a:gd name="T76" fmla="*/ 7083 w 8245"/>
                    <a:gd name="T77" fmla="*/ 1507 h 2865"/>
                    <a:gd name="T78" fmla="*/ 7270 w 8245"/>
                    <a:gd name="T79" fmla="*/ 1625 h 2865"/>
                    <a:gd name="T80" fmla="*/ 7440 w 8245"/>
                    <a:gd name="T81" fmla="*/ 1747 h 2865"/>
                    <a:gd name="T82" fmla="*/ 7594 w 8245"/>
                    <a:gd name="T83" fmla="*/ 1871 h 2865"/>
                    <a:gd name="T84" fmla="*/ 7729 w 8245"/>
                    <a:gd name="T85" fmla="*/ 1998 h 2865"/>
                    <a:gd name="T86" fmla="*/ 7845 w 8245"/>
                    <a:gd name="T87" fmla="*/ 2127 h 2865"/>
                    <a:gd name="T88" fmla="*/ 7943 w 8245"/>
                    <a:gd name="T89" fmla="*/ 2257 h 2865"/>
                    <a:gd name="T90" fmla="*/ 8022 w 8245"/>
                    <a:gd name="T91" fmla="*/ 2390 h 2865"/>
                    <a:gd name="T92" fmla="*/ 8082 w 8245"/>
                    <a:gd name="T93" fmla="*/ 2524 h 2865"/>
                    <a:gd name="T94" fmla="*/ 8122 w 8245"/>
                    <a:gd name="T95" fmla="*/ 2659 h 2865"/>
                    <a:gd name="T96" fmla="*/ 8142 w 8245"/>
                    <a:gd name="T97" fmla="*/ 279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5">
                      <a:moveTo>
                        <a:pt x="8245" y="2865"/>
                      </a:moveTo>
                      <a:lnTo>
                        <a:pt x="8244" y="2827"/>
                      </a:lnTo>
                      <a:lnTo>
                        <a:pt x="8242" y="2788"/>
                      </a:lnTo>
                      <a:lnTo>
                        <a:pt x="8239" y="2750"/>
                      </a:lnTo>
                      <a:lnTo>
                        <a:pt x="8234" y="2713"/>
                      </a:lnTo>
                      <a:lnTo>
                        <a:pt x="8227" y="2676"/>
                      </a:lnTo>
                      <a:lnTo>
                        <a:pt x="8219" y="2637"/>
                      </a:lnTo>
                      <a:lnTo>
                        <a:pt x="8211" y="2600"/>
                      </a:lnTo>
                      <a:lnTo>
                        <a:pt x="8201" y="2563"/>
                      </a:lnTo>
                      <a:lnTo>
                        <a:pt x="8188" y="2525"/>
                      </a:lnTo>
                      <a:lnTo>
                        <a:pt x="8176" y="2489"/>
                      </a:lnTo>
                      <a:lnTo>
                        <a:pt x="8162" y="2452"/>
                      </a:lnTo>
                      <a:lnTo>
                        <a:pt x="8146" y="2416"/>
                      </a:lnTo>
                      <a:lnTo>
                        <a:pt x="8130" y="2380"/>
                      </a:lnTo>
                      <a:lnTo>
                        <a:pt x="8111" y="2343"/>
                      </a:lnTo>
                      <a:lnTo>
                        <a:pt x="8091" y="2308"/>
                      </a:lnTo>
                      <a:lnTo>
                        <a:pt x="8071" y="2272"/>
                      </a:lnTo>
                      <a:lnTo>
                        <a:pt x="8049" y="2237"/>
                      </a:lnTo>
                      <a:lnTo>
                        <a:pt x="8026" y="2202"/>
                      </a:lnTo>
                      <a:lnTo>
                        <a:pt x="8002" y="2166"/>
                      </a:lnTo>
                      <a:lnTo>
                        <a:pt x="7977" y="2131"/>
                      </a:lnTo>
                      <a:lnTo>
                        <a:pt x="7950" y="2097"/>
                      </a:lnTo>
                      <a:lnTo>
                        <a:pt x="7922" y="2063"/>
                      </a:lnTo>
                      <a:lnTo>
                        <a:pt x="7894" y="2029"/>
                      </a:lnTo>
                      <a:lnTo>
                        <a:pt x="7864" y="1995"/>
                      </a:lnTo>
                      <a:lnTo>
                        <a:pt x="7832" y="1960"/>
                      </a:lnTo>
                      <a:lnTo>
                        <a:pt x="7800" y="1927"/>
                      </a:lnTo>
                      <a:lnTo>
                        <a:pt x="7766" y="1894"/>
                      </a:lnTo>
                      <a:lnTo>
                        <a:pt x="7732" y="1861"/>
                      </a:lnTo>
                      <a:lnTo>
                        <a:pt x="7696" y="1828"/>
                      </a:lnTo>
                      <a:lnTo>
                        <a:pt x="7659" y="1795"/>
                      </a:lnTo>
                      <a:lnTo>
                        <a:pt x="7620" y="1763"/>
                      </a:lnTo>
                      <a:lnTo>
                        <a:pt x="7582" y="1731"/>
                      </a:lnTo>
                      <a:lnTo>
                        <a:pt x="7542" y="1698"/>
                      </a:lnTo>
                      <a:lnTo>
                        <a:pt x="7501" y="1666"/>
                      </a:lnTo>
                      <a:lnTo>
                        <a:pt x="7459" y="1635"/>
                      </a:lnTo>
                      <a:lnTo>
                        <a:pt x="7415" y="1604"/>
                      </a:lnTo>
                      <a:lnTo>
                        <a:pt x="7371" y="1573"/>
                      </a:lnTo>
                      <a:lnTo>
                        <a:pt x="7326" y="1542"/>
                      </a:lnTo>
                      <a:lnTo>
                        <a:pt x="7279" y="1511"/>
                      </a:lnTo>
                      <a:lnTo>
                        <a:pt x="7232" y="1481"/>
                      </a:lnTo>
                      <a:lnTo>
                        <a:pt x="7183" y="1451"/>
                      </a:lnTo>
                      <a:lnTo>
                        <a:pt x="7134" y="1421"/>
                      </a:lnTo>
                      <a:lnTo>
                        <a:pt x="7083" y="1391"/>
                      </a:lnTo>
                      <a:lnTo>
                        <a:pt x="7032" y="1362"/>
                      </a:lnTo>
                      <a:lnTo>
                        <a:pt x="6980" y="1333"/>
                      </a:lnTo>
                      <a:lnTo>
                        <a:pt x="6927" y="1304"/>
                      </a:lnTo>
                      <a:lnTo>
                        <a:pt x="6872" y="1275"/>
                      </a:lnTo>
                      <a:lnTo>
                        <a:pt x="6817" y="1247"/>
                      </a:lnTo>
                      <a:lnTo>
                        <a:pt x="6761" y="1218"/>
                      </a:lnTo>
                      <a:lnTo>
                        <a:pt x="6704" y="1190"/>
                      </a:lnTo>
                      <a:lnTo>
                        <a:pt x="6645" y="1163"/>
                      </a:lnTo>
                      <a:lnTo>
                        <a:pt x="6587" y="1135"/>
                      </a:lnTo>
                      <a:lnTo>
                        <a:pt x="6527" y="1109"/>
                      </a:lnTo>
                      <a:lnTo>
                        <a:pt x="6466" y="1082"/>
                      </a:lnTo>
                      <a:lnTo>
                        <a:pt x="6404" y="1055"/>
                      </a:lnTo>
                      <a:lnTo>
                        <a:pt x="6341" y="1029"/>
                      </a:lnTo>
                      <a:lnTo>
                        <a:pt x="6278" y="1002"/>
                      </a:lnTo>
                      <a:lnTo>
                        <a:pt x="6214" y="976"/>
                      </a:lnTo>
                      <a:lnTo>
                        <a:pt x="6149" y="951"/>
                      </a:lnTo>
                      <a:lnTo>
                        <a:pt x="6083" y="925"/>
                      </a:lnTo>
                      <a:lnTo>
                        <a:pt x="6016" y="900"/>
                      </a:lnTo>
                      <a:lnTo>
                        <a:pt x="5948" y="876"/>
                      </a:lnTo>
                      <a:lnTo>
                        <a:pt x="5880" y="852"/>
                      </a:lnTo>
                      <a:lnTo>
                        <a:pt x="5809" y="827"/>
                      </a:lnTo>
                      <a:lnTo>
                        <a:pt x="5739" y="803"/>
                      </a:lnTo>
                      <a:lnTo>
                        <a:pt x="5668" y="780"/>
                      </a:lnTo>
                      <a:lnTo>
                        <a:pt x="5596" y="757"/>
                      </a:lnTo>
                      <a:lnTo>
                        <a:pt x="5524" y="734"/>
                      </a:lnTo>
                      <a:lnTo>
                        <a:pt x="5376" y="689"/>
                      </a:lnTo>
                      <a:lnTo>
                        <a:pt x="5225" y="645"/>
                      </a:lnTo>
                      <a:lnTo>
                        <a:pt x="5072" y="602"/>
                      </a:lnTo>
                      <a:lnTo>
                        <a:pt x="4914" y="561"/>
                      </a:lnTo>
                      <a:lnTo>
                        <a:pt x="4754" y="521"/>
                      </a:lnTo>
                      <a:lnTo>
                        <a:pt x="4592" y="482"/>
                      </a:lnTo>
                      <a:lnTo>
                        <a:pt x="4426" y="445"/>
                      </a:lnTo>
                      <a:lnTo>
                        <a:pt x="4258" y="409"/>
                      </a:lnTo>
                      <a:lnTo>
                        <a:pt x="4087" y="374"/>
                      </a:lnTo>
                      <a:lnTo>
                        <a:pt x="3914" y="341"/>
                      </a:lnTo>
                      <a:lnTo>
                        <a:pt x="3738" y="308"/>
                      </a:lnTo>
                      <a:lnTo>
                        <a:pt x="3559" y="278"/>
                      </a:lnTo>
                      <a:lnTo>
                        <a:pt x="3379" y="249"/>
                      </a:lnTo>
                      <a:lnTo>
                        <a:pt x="3196" y="221"/>
                      </a:lnTo>
                      <a:lnTo>
                        <a:pt x="3010" y="196"/>
                      </a:lnTo>
                      <a:lnTo>
                        <a:pt x="2823" y="171"/>
                      </a:lnTo>
                      <a:lnTo>
                        <a:pt x="2633" y="148"/>
                      </a:lnTo>
                      <a:lnTo>
                        <a:pt x="2441" y="127"/>
                      </a:lnTo>
                      <a:lnTo>
                        <a:pt x="2246" y="108"/>
                      </a:lnTo>
                      <a:lnTo>
                        <a:pt x="2052" y="89"/>
                      </a:lnTo>
                      <a:lnTo>
                        <a:pt x="1854" y="72"/>
                      </a:lnTo>
                      <a:lnTo>
                        <a:pt x="1654" y="57"/>
                      </a:lnTo>
                      <a:lnTo>
                        <a:pt x="1453" y="45"/>
                      </a:lnTo>
                      <a:lnTo>
                        <a:pt x="1250" y="33"/>
                      </a:lnTo>
                      <a:lnTo>
                        <a:pt x="1045" y="23"/>
                      </a:lnTo>
                      <a:lnTo>
                        <a:pt x="838" y="14"/>
                      </a:lnTo>
                      <a:lnTo>
                        <a:pt x="631" y="8"/>
                      </a:lnTo>
                      <a:lnTo>
                        <a:pt x="422" y="4"/>
                      </a:lnTo>
                      <a:lnTo>
                        <a:pt x="212" y="1"/>
                      </a:lnTo>
                      <a:lnTo>
                        <a:pt x="0" y="0"/>
                      </a:lnTo>
                      <a:lnTo>
                        <a:pt x="0" y="100"/>
                      </a:lnTo>
                      <a:lnTo>
                        <a:pt x="211" y="101"/>
                      </a:lnTo>
                      <a:lnTo>
                        <a:pt x="420" y="105"/>
                      </a:lnTo>
                      <a:lnTo>
                        <a:pt x="628" y="109"/>
                      </a:lnTo>
                      <a:lnTo>
                        <a:pt x="835" y="115"/>
                      </a:lnTo>
                      <a:lnTo>
                        <a:pt x="1040" y="123"/>
                      </a:lnTo>
                      <a:lnTo>
                        <a:pt x="1245" y="132"/>
                      </a:lnTo>
                      <a:lnTo>
                        <a:pt x="1447" y="144"/>
                      </a:lnTo>
                      <a:lnTo>
                        <a:pt x="1648" y="157"/>
                      </a:lnTo>
                      <a:lnTo>
                        <a:pt x="1845" y="173"/>
                      </a:lnTo>
                      <a:lnTo>
                        <a:pt x="2042" y="189"/>
                      </a:lnTo>
                      <a:lnTo>
                        <a:pt x="2237" y="207"/>
                      </a:lnTo>
                      <a:lnTo>
                        <a:pt x="2431" y="227"/>
                      </a:lnTo>
                      <a:lnTo>
                        <a:pt x="2622" y="248"/>
                      </a:lnTo>
                      <a:lnTo>
                        <a:pt x="2810" y="271"/>
                      </a:lnTo>
                      <a:lnTo>
                        <a:pt x="2997" y="295"/>
                      </a:lnTo>
                      <a:lnTo>
                        <a:pt x="3181" y="321"/>
                      </a:lnTo>
                      <a:lnTo>
                        <a:pt x="3364" y="349"/>
                      </a:lnTo>
                      <a:lnTo>
                        <a:pt x="3543" y="378"/>
                      </a:lnTo>
                      <a:lnTo>
                        <a:pt x="3721" y="408"/>
                      </a:lnTo>
                      <a:lnTo>
                        <a:pt x="3895" y="440"/>
                      </a:lnTo>
                      <a:lnTo>
                        <a:pt x="4069" y="473"/>
                      </a:lnTo>
                      <a:lnTo>
                        <a:pt x="4238" y="507"/>
                      </a:lnTo>
                      <a:lnTo>
                        <a:pt x="4405" y="543"/>
                      </a:lnTo>
                      <a:lnTo>
                        <a:pt x="4570" y="580"/>
                      </a:lnTo>
                      <a:lnTo>
                        <a:pt x="4731" y="619"/>
                      </a:lnTo>
                      <a:lnTo>
                        <a:pt x="4890" y="658"/>
                      </a:lnTo>
                      <a:lnTo>
                        <a:pt x="5046" y="700"/>
                      </a:lnTo>
                      <a:lnTo>
                        <a:pt x="5198" y="741"/>
                      </a:lnTo>
                      <a:lnTo>
                        <a:pt x="5348" y="785"/>
                      </a:lnTo>
                      <a:lnTo>
                        <a:pt x="5494" y="830"/>
                      </a:lnTo>
                      <a:lnTo>
                        <a:pt x="5566" y="852"/>
                      </a:lnTo>
                      <a:lnTo>
                        <a:pt x="5637" y="876"/>
                      </a:lnTo>
                      <a:lnTo>
                        <a:pt x="5707" y="898"/>
                      </a:lnTo>
                      <a:lnTo>
                        <a:pt x="5778" y="922"/>
                      </a:lnTo>
                      <a:lnTo>
                        <a:pt x="5847" y="946"/>
                      </a:lnTo>
                      <a:lnTo>
                        <a:pt x="5915" y="971"/>
                      </a:lnTo>
                      <a:lnTo>
                        <a:pt x="5982" y="995"/>
                      </a:lnTo>
                      <a:lnTo>
                        <a:pt x="6048" y="1020"/>
                      </a:lnTo>
                      <a:lnTo>
                        <a:pt x="6113" y="1044"/>
                      </a:lnTo>
                      <a:lnTo>
                        <a:pt x="6177" y="1070"/>
                      </a:lnTo>
                      <a:lnTo>
                        <a:pt x="6241" y="1095"/>
                      </a:lnTo>
                      <a:lnTo>
                        <a:pt x="6304" y="1121"/>
                      </a:lnTo>
                      <a:lnTo>
                        <a:pt x="6365" y="1147"/>
                      </a:lnTo>
                      <a:lnTo>
                        <a:pt x="6426" y="1174"/>
                      </a:lnTo>
                      <a:lnTo>
                        <a:pt x="6487" y="1200"/>
                      </a:lnTo>
                      <a:lnTo>
                        <a:pt x="6545" y="1227"/>
                      </a:lnTo>
                      <a:lnTo>
                        <a:pt x="6603" y="1253"/>
                      </a:lnTo>
                      <a:lnTo>
                        <a:pt x="6661" y="1281"/>
                      </a:lnTo>
                      <a:lnTo>
                        <a:pt x="6716" y="1308"/>
                      </a:lnTo>
                      <a:lnTo>
                        <a:pt x="6772" y="1336"/>
                      </a:lnTo>
                      <a:lnTo>
                        <a:pt x="6827" y="1364"/>
                      </a:lnTo>
                      <a:lnTo>
                        <a:pt x="6879" y="1392"/>
                      </a:lnTo>
                      <a:lnTo>
                        <a:pt x="6932" y="1421"/>
                      </a:lnTo>
                      <a:lnTo>
                        <a:pt x="6983" y="1449"/>
                      </a:lnTo>
                      <a:lnTo>
                        <a:pt x="7034" y="1478"/>
                      </a:lnTo>
                      <a:lnTo>
                        <a:pt x="7083" y="1507"/>
                      </a:lnTo>
                      <a:lnTo>
                        <a:pt x="7132" y="1537"/>
                      </a:lnTo>
                      <a:lnTo>
                        <a:pt x="7178" y="1566"/>
                      </a:lnTo>
                      <a:lnTo>
                        <a:pt x="7225" y="1596"/>
                      </a:lnTo>
                      <a:lnTo>
                        <a:pt x="7270" y="1625"/>
                      </a:lnTo>
                      <a:lnTo>
                        <a:pt x="7314" y="1656"/>
                      </a:lnTo>
                      <a:lnTo>
                        <a:pt x="7358" y="1686"/>
                      </a:lnTo>
                      <a:lnTo>
                        <a:pt x="7400" y="1716"/>
                      </a:lnTo>
                      <a:lnTo>
                        <a:pt x="7440" y="1747"/>
                      </a:lnTo>
                      <a:lnTo>
                        <a:pt x="7480" y="1777"/>
                      </a:lnTo>
                      <a:lnTo>
                        <a:pt x="7519" y="1808"/>
                      </a:lnTo>
                      <a:lnTo>
                        <a:pt x="7557" y="1839"/>
                      </a:lnTo>
                      <a:lnTo>
                        <a:pt x="7594" y="1871"/>
                      </a:lnTo>
                      <a:lnTo>
                        <a:pt x="7629" y="1902"/>
                      </a:lnTo>
                      <a:lnTo>
                        <a:pt x="7664" y="1934"/>
                      </a:lnTo>
                      <a:lnTo>
                        <a:pt x="7697" y="1966"/>
                      </a:lnTo>
                      <a:lnTo>
                        <a:pt x="7729" y="1998"/>
                      </a:lnTo>
                      <a:lnTo>
                        <a:pt x="7760" y="2030"/>
                      </a:lnTo>
                      <a:lnTo>
                        <a:pt x="7789" y="2062"/>
                      </a:lnTo>
                      <a:lnTo>
                        <a:pt x="7818" y="2094"/>
                      </a:lnTo>
                      <a:lnTo>
                        <a:pt x="7845" y="2127"/>
                      </a:lnTo>
                      <a:lnTo>
                        <a:pt x="7872" y="2159"/>
                      </a:lnTo>
                      <a:lnTo>
                        <a:pt x="7897" y="2192"/>
                      </a:lnTo>
                      <a:lnTo>
                        <a:pt x="7920" y="2224"/>
                      </a:lnTo>
                      <a:lnTo>
                        <a:pt x="7943" y="2257"/>
                      </a:lnTo>
                      <a:lnTo>
                        <a:pt x="7966" y="2291"/>
                      </a:lnTo>
                      <a:lnTo>
                        <a:pt x="7985" y="2324"/>
                      </a:lnTo>
                      <a:lnTo>
                        <a:pt x="8005" y="2357"/>
                      </a:lnTo>
                      <a:lnTo>
                        <a:pt x="8022" y="2390"/>
                      </a:lnTo>
                      <a:lnTo>
                        <a:pt x="8039" y="2423"/>
                      </a:lnTo>
                      <a:lnTo>
                        <a:pt x="8055" y="2457"/>
                      </a:lnTo>
                      <a:lnTo>
                        <a:pt x="8069" y="2490"/>
                      </a:lnTo>
                      <a:lnTo>
                        <a:pt x="8082" y="2524"/>
                      </a:lnTo>
                      <a:lnTo>
                        <a:pt x="8095" y="2558"/>
                      </a:lnTo>
                      <a:lnTo>
                        <a:pt x="8105" y="2592"/>
                      </a:lnTo>
                      <a:lnTo>
                        <a:pt x="8114" y="2625"/>
                      </a:lnTo>
                      <a:lnTo>
                        <a:pt x="8122" y="2659"/>
                      </a:lnTo>
                      <a:lnTo>
                        <a:pt x="8130" y="2693"/>
                      </a:lnTo>
                      <a:lnTo>
                        <a:pt x="8135" y="2727"/>
                      </a:lnTo>
                      <a:lnTo>
                        <a:pt x="8139" y="2761"/>
                      </a:lnTo>
                      <a:lnTo>
                        <a:pt x="8142" y="2796"/>
                      </a:lnTo>
                      <a:lnTo>
                        <a:pt x="8144" y="2830"/>
                      </a:lnTo>
                      <a:lnTo>
                        <a:pt x="8145" y="2865"/>
                      </a:lnTo>
                      <a:lnTo>
                        <a:pt x="8245"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10" name="Freeform 154"/>
                <p:cNvSpPr>
                  <a:spLocks/>
                </p:cNvSpPr>
                <p:nvPr>
                  <p:custDataLst>
                    <p:tags r:id="rId155"/>
                  </p:custDataLst>
                </p:nvPr>
              </p:nvSpPr>
              <p:spPr bwMode="auto">
                <a:xfrm>
                  <a:off x="737" y="3387"/>
                  <a:ext cx="234" cy="73"/>
                </a:xfrm>
                <a:custGeom>
                  <a:avLst/>
                  <a:gdLst>
                    <a:gd name="T0" fmla="*/ 0 w 5393"/>
                    <a:gd name="T1" fmla="*/ 1426 h 1828"/>
                    <a:gd name="T2" fmla="*/ 1207 w 5393"/>
                    <a:gd name="T3" fmla="*/ 1828 h 1828"/>
                    <a:gd name="T4" fmla="*/ 4061 w 5393"/>
                    <a:gd name="T5" fmla="*/ 687 h 1828"/>
                    <a:gd name="T6" fmla="*/ 5393 w 5393"/>
                    <a:gd name="T7" fmla="*/ 1013 h 1828"/>
                    <a:gd name="T8" fmla="*/ 4690 w 5393"/>
                    <a:gd name="T9" fmla="*/ 0 h 1828"/>
                    <a:gd name="T10" fmla="*/ 1253 w 5393"/>
                    <a:gd name="T11" fmla="*/ 0 h 1828"/>
                    <a:gd name="T12" fmla="*/ 2690 w 5393"/>
                    <a:gd name="T13" fmla="*/ 352 h 1828"/>
                    <a:gd name="T14" fmla="*/ 0 w 5393"/>
                    <a:gd name="T15" fmla="*/ 1426 h 18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8">
                      <a:moveTo>
                        <a:pt x="0" y="1426"/>
                      </a:moveTo>
                      <a:lnTo>
                        <a:pt x="1207" y="1828"/>
                      </a:lnTo>
                      <a:lnTo>
                        <a:pt x="4061" y="687"/>
                      </a:lnTo>
                      <a:lnTo>
                        <a:pt x="5393" y="1013"/>
                      </a:lnTo>
                      <a:lnTo>
                        <a:pt x="4690" y="0"/>
                      </a:lnTo>
                      <a:lnTo>
                        <a:pt x="1253" y="0"/>
                      </a:lnTo>
                      <a:lnTo>
                        <a:pt x="2690" y="352"/>
                      </a:lnTo>
                      <a:lnTo>
                        <a:pt x="0"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11" name="Freeform 155"/>
                <p:cNvSpPr>
                  <a:spLocks/>
                </p:cNvSpPr>
                <p:nvPr>
                  <p:custDataLst>
                    <p:tags r:id="rId156"/>
                  </p:custDataLst>
                </p:nvPr>
              </p:nvSpPr>
              <p:spPr bwMode="auto">
                <a:xfrm>
                  <a:off x="480" y="3474"/>
                  <a:ext cx="235" cy="73"/>
                </a:xfrm>
                <a:custGeom>
                  <a:avLst/>
                  <a:gdLst>
                    <a:gd name="T0" fmla="*/ 5394 w 5394"/>
                    <a:gd name="T1" fmla="*/ 401 h 1827"/>
                    <a:gd name="T2" fmla="*/ 4186 w 5394"/>
                    <a:gd name="T3" fmla="*/ 0 h 1827"/>
                    <a:gd name="T4" fmla="*/ 1332 w 5394"/>
                    <a:gd name="T5" fmla="*/ 1140 h 1827"/>
                    <a:gd name="T6" fmla="*/ 0 w 5394"/>
                    <a:gd name="T7" fmla="*/ 814 h 1827"/>
                    <a:gd name="T8" fmla="*/ 702 w 5394"/>
                    <a:gd name="T9" fmla="*/ 1827 h 1827"/>
                    <a:gd name="T10" fmla="*/ 4140 w 5394"/>
                    <a:gd name="T11" fmla="*/ 1827 h 1827"/>
                    <a:gd name="T12" fmla="*/ 2704 w 5394"/>
                    <a:gd name="T13" fmla="*/ 1476 h 1827"/>
                    <a:gd name="T14" fmla="*/ 5394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5394" y="401"/>
                      </a:moveTo>
                      <a:lnTo>
                        <a:pt x="4186" y="0"/>
                      </a:lnTo>
                      <a:lnTo>
                        <a:pt x="1332" y="1140"/>
                      </a:lnTo>
                      <a:lnTo>
                        <a:pt x="0" y="814"/>
                      </a:lnTo>
                      <a:lnTo>
                        <a:pt x="702" y="1827"/>
                      </a:lnTo>
                      <a:lnTo>
                        <a:pt x="4140" y="1827"/>
                      </a:lnTo>
                      <a:lnTo>
                        <a:pt x="2704" y="1476"/>
                      </a:lnTo>
                      <a:lnTo>
                        <a:pt x="5394"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12" name="Freeform 156"/>
                <p:cNvSpPr>
                  <a:spLocks/>
                </p:cNvSpPr>
                <p:nvPr>
                  <p:custDataLst>
                    <p:tags r:id="rId157"/>
                  </p:custDataLst>
                </p:nvPr>
              </p:nvSpPr>
              <p:spPr bwMode="auto">
                <a:xfrm>
                  <a:off x="493" y="3385"/>
                  <a:ext cx="235" cy="73"/>
                </a:xfrm>
                <a:custGeom>
                  <a:avLst/>
                  <a:gdLst>
                    <a:gd name="T0" fmla="*/ 0 w 5394"/>
                    <a:gd name="T1" fmla="*/ 401 h 1827"/>
                    <a:gd name="T2" fmla="*/ 1208 w 5394"/>
                    <a:gd name="T3" fmla="*/ 0 h 1827"/>
                    <a:gd name="T4" fmla="*/ 4062 w 5394"/>
                    <a:gd name="T5" fmla="*/ 1140 h 1827"/>
                    <a:gd name="T6" fmla="*/ 5394 w 5394"/>
                    <a:gd name="T7" fmla="*/ 813 h 1827"/>
                    <a:gd name="T8" fmla="*/ 4691 w 5394"/>
                    <a:gd name="T9" fmla="*/ 1827 h 1827"/>
                    <a:gd name="T10" fmla="*/ 1253 w 5394"/>
                    <a:gd name="T11" fmla="*/ 1827 h 1827"/>
                    <a:gd name="T12" fmla="*/ 2690 w 5394"/>
                    <a:gd name="T13" fmla="*/ 1475 h 1827"/>
                    <a:gd name="T14" fmla="*/ 0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0" y="401"/>
                      </a:moveTo>
                      <a:lnTo>
                        <a:pt x="1208" y="0"/>
                      </a:lnTo>
                      <a:lnTo>
                        <a:pt x="4062" y="1140"/>
                      </a:lnTo>
                      <a:lnTo>
                        <a:pt x="5394" y="813"/>
                      </a:lnTo>
                      <a:lnTo>
                        <a:pt x="4691" y="1827"/>
                      </a:lnTo>
                      <a:lnTo>
                        <a:pt x="1253" y="1827"/>
                      </a:lnTo>
                      <a:lnTo>
                        <a:pt x="2690" y="1475"/>
                      </a:lnTo>
                      <a:lnTo>
                        <a:pt x="0"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13" name="Freeform 157"/>
                <p:cNvSpPr>
                  <a:spLocks/>
                </p:cNvSpPr>
                <p:nvPr>
                  <p:custDataLst>
                    <p:tags r:id="rId158"/>
                  </p:custDataLst>
                </p:nvPr>
              </p:nvSpPr>
              <p:spPr bwMode="auto">
                <a:xfrm>
                  <a:off x="729" y="3479"/>
                  <a:ext cx="235" cy="73"/>
                </a:xfrm>
                <a:custGeom>
                  <a:avLst/>
                  <a:gdLst>
                    <a:gd name="T0" fmla="*/ 5393 w 5393"/>
                    <a:gd name="T1" fmla="*/ 1426 h 1827"/>
                    <a:gd name="T2" fmla="*/ 4186 w 5393"/>
                    <a:gd name="T3" fmla="*/ 1827 h 1827"/>
                    <a:gd name="T4" fmla="*/ 1332 w 5393"/>
                    <a:gd name="T5" fmla="*/ 687 h 1827"/>
                    <a:gd name="T6" fmla="*/ 0 w 5393"/>
                    <a:gd name="T7" fmla="*/ 1012 h 1827"/>
                    <a:gd name="T8" fmla="*/ 702 w 5393"/>
                    <a:gd name="T9" fmla="*/ 0 h 1827"/>
                    <a:gd name="T10" fmla="*/ 4140 w 5393"/>
                    <a:gd name="T11" fmla="*/ 0 h 1827"/>
                    <a:gd name="T12" fmla="*/ 2703 w 5393"/>
                    <a:gd name="T13" fmla="*/ 352 h 1827"/>
                    <a:gd name="T14" fmla="*/ 5393 w 5393"/>
                    <a:gd name="T15" fmla="*/ 1426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7">
                      <a:moveTo>
                        <a:pt x="5393" y="1426"/>
                      </a:moveTo>
                      <a:lnTo>
                        <a:pt x="4186" y="1827"/>
                      </a:lnTo>
                      <a:lnTo>
                        <a:pt x="1332" y="687"/>
                      </a:lnTo>
                      <a:lnTo>
                        <a:pt x="0" y="1012"/>
                      </a:lnTo>
                      <a:lnTo>
                        <a:pt x="702" y="0"/>
                      </a:lnTo>
                      <a:lnTo>
                        <a:pt x="4140" y="0"/>
                      </a:lnTo>
                      <a:lnTo>
                        <a:pt x="2703" y="352"/>
                      </a:lnTo>
                      <a:lnTo>
                        <a:pt x="5393"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714" name="Rectangle 158"/>
                <p:cNvSpPr>
                  <a:spLocks noChangeArrowheads="1"/>
                </p:cNvSpPr>
                <p:nvPr>
                  <p:custDataLst>
                    <p:tags r:id="rId159"/>
                  </p:custDataLst>
                </p:nvPr>
              </p:nvSpPr>
              <p:spPr bwMode="auto">
                <a:xfrm>
                  <a:off x="369"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15" name="Rectangle 159"/>
                <p:cNvSpPr>
                  <a:spLocks noChangeArrowheads="1"/>
                </p:cNvSpPr>
                <p:nvPr>
                  <p:custDataLst>
                    <p:tags r:id="rId160"/>
                  </p:custDataLst>
                </p:nvPr>
              </p:nvSpPr>
              <p:spPr bwMode="auto">
                <a:xfrm>
                  <a:off x="369"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16" name="Rectangle 160"/>
                <p:cNvSpPr>
                  <a:spLocks noChangeArrowheads="1"/>
                </p:cNvSpPr>
                <p:nvPr>
                  <p:custDataLst>
                    <p:tags r:id="rId161"/>
                  </p:custDataLst>
                </p:nvPr>
              </p:nvSpPr>
              <p:spPr bwMode="auto">
                <a:xfrm>
                  <a:off x="369"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17" name="Rectangle 161"/>
                <p:cNvSpPr>
                  <a:spLocks noChangeArrowheads="1"/>
                </p:cNvSpPr>
                <p:nvPr>
                  <p:custDataLst>
                    <p:tags r:id="rId162"/>
                  </p:custDataLst>
                </p:nvPr>
              </p:nvSpPr>
              <p:spPr bwMode="auto">
                <a:xfrm>
                  <a:off x="1082"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18" name="Rectangle 162"/>
                <p:cNvSpPr>
                  <a:spLocks noChangeArrowheads="1"/>
                </p:cNvSpPr>
                <p:nvPr>
                  <p:custDataLst>
                    <p:tags r:id="rId163"/>
                  </p:custDataLst>
                </p:nvPr>
              </p:nvSpPr>
              <p:spPr bwMode="auto">
                <a:xfrm>
                  <a:off x="1082"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719" name="Rectangle 163"/>
                <p:cNvSpPr>
                  <a:spLocks noChangeArrowheads="1"/>
                </p:cNvSpPr>
                <p:nvPr>
                  <p:custDataLst>
                    <p:tags r:id="rId164"/>
                  </p:custDataLst>
                </p:nvPr>
              </p:nvSpPr>
              <p:spPr bwMode="auto">
                <a:xfrm>
                  <a:off x="1082"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grpSp>
        </p:grpSp>
        <p:grpSp>
          <p:nvGrpSpPr>
            <p:cNvPr id="545" name="Group 164"/>
            <p:cNvGrpSpPr>
              <a:grpSpLocks/>
            </p:cNvGrpSpPr>
            <p:nvPr>
              <p:custDataLst>
                <p:tags r:id="rId18"/>
              </p:custDataLst>
            </p:nvPr>
          </p:nvGrpSpPr>
          <p:grpSpPr bwMode="auto">
            <a:xfrm>
              <a:off x="1257" y="1891"/>
              <a:ext cx="90" cy="68"/>
              <a:chOff x="371" y="1706"/>
              <a:chExt cx="277" cy="199"/>
            </a:xfrm>
          </p:grpSpPr>
          <p:sp>
            <p:nvSpPr>
              <p:cNvPr id="672" name="AutoShape 165"/>
              <p:cNvSpPr>
                <a:spLocks noChangeArrowheads="1"/>
              </p:cNvSpPr>
              <p:nvPr/>
            </p:nvSpPr>
            <p:spPr bwMode="auto">
              <a:xfrm>
                <a:off x="371" y="1706"/>
                <a:ext cx="277" cy="199"/>
              </a:xfrm>
              <a:prstGeom prst="cube">
                <a:avLst>
                  <a:gd name="adj" fmla="val 25000"/>
                </a:avLst>
              </a:prstGeom>
              <a:solidFill>
                <a:srgbClr val="E3CAB3"/>
              </a:solidFill>
              <a:ln w="12700">
                <a:solidFill>
                  <a:srgbClr val="E3CAB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grpSp>
            <p:nvGrpSpPr>
              <p:cNvPr id="673" name="Group 166"/>
              <p:cNvGrpSpPr>
                <a:grpSpLocks/>
              </p:cNvGrpSpPr>
              <p:nvPr/>
            </p:nvGrpSpPr>
            <p:grpSpPr bwMode="auto">
              <a:xfrm>
                <a:off x="398" y="1789"/>
                <a:ext cx="182" cy="99"/>
                <a:chOff x="369" y="3354"/>
                <a:chExt cx="717" cy="390"/>
              </a:xfrm>
            </p:grpSpPr>
            <p:sp>
              <p:nvSpPr>
                <p:cNvPr id="674" name="AutoShape 167"/>
                <p:cNvSpPr>
                  <a:spLocks noChangeAspect="1" noChangeArrowheads="1" noTextEdit="1"/>
                </p:cNvSpPr>
                <p:nvPr>
                  <p:custDataLst>
                    <p:tags r:id="rId121"/>
                  </p:custDataLst>
                </p:nvPr>
              </p:nvSpPr>
              <p:spPr bwMode="auto">
                <a:xfrm>
                  <a:off x="369" y="3354"/>
                  <a:ext cx="717"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75" name="Freeform 168"/>
                <p:cNvSpPr>
                  <a:spLocks/>
                </p:cNvSpPr>
                <p:nvPr>
                  <p:custDataLst>
                    <p:tags r:id="rId122"/>
                  </p:custDataLst>
                </p:nvPr>
              </p:nvSpPr>
              <p:spPr bwMode="auto">
                <a:xfrm>
                  <a:off x="371" y="3517"/>
                  <a:ext cx="713" cy="225"/>
                </a:xfrm>
                <a:custGeom>
                  <a:avLst/>
                  <a:gdLst>
                    <a:gd name="T0" fmla="*/ 16347 w 16389"/>
                    <a:gd name="T1" fmla="*/ 3102 h 5628"/>
                    <a:gd name="T2" fmla="*/ 16132 w 16389"/>
                    <a:gd name="T3" fmla="*/ 3518 h 5628"/>
                    <a:gd name="T4" fmla="*/ 15745 w 16389"/>
                    <a:gd name="T5" fmla="*/ 3909 h 5628"/>
                    <a:gd name="T6" fmla="*/ 15203 w 16389"/>
                    <a:gd name="T7" fmla="*/ 4273 h 5628"/>
                    <a:gd name="T8" fmla="*/ 14518 w 16389"/>
                    <a:gd name="T9" fmla="*/ 4605 h 5628"/>
                    <a:gd name="T10" fmla="*/ 13704 w 16389"/>
                    <a:gd name="T11" fmla="*/ 4898 h 5628"/>
                    <a:gd name="T12" fmla="*/ 12776 w 16389"/>
                    <a:gd name="T13" fmla="*/ 5148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8 h 5628"/>
                    <a:gd name="T30" fmla="*/ 2685 w 16389"/>
                    <a:gd name="T31" fmla="*/ 4898 h 5628"/>
                    <a:gd name="T32" fmla="*/ 1871 w 16389"/>
                    <a:gd name="T33" fmla="*/ 4605 h 5628"/>
                    <a:gd name="T34" fmla="*/ 1186 w 16389"/>
                    <a:gd name="T35" fmla="*/ 4273 h 5628"/>
                    <a:gd name="T36" fmla="*/ 644 w 16389"/>
                    <a:gd name="T37" fmla="*/ 3909 h 5628"/>
                    <a:gd name="T38" fmla="*/ 257 w 16389"/>
                    <a:gd name="T39" fmla="*/ 3518 h 5628"/>
                    <a:gd name="T40" fmla="*/ 42 w 16389"/>
                    <a:gd name="T41" fmla="*/ 3102 h 5628"/>
                    <a:gd name="T42" fmla="*/ 10 w 16389"/>
                    <a:gd name="T43" fmla="*/ 2669 h 5628"/>
                    <a:gd name="T44" fmla="*/ 165 w 16389"/>
                    <a:gd name="T45" fmla="*/ 2247 h 5628"/>
                    <a:gd name="T46" fmla="*/ 496 w 16389"/>
                    <a:gd name="T47" fmla="*/ 1847 h 5628"/>
                    <a:gd name="T48" fmla="*/ 989 w 16389"/>
                    <a:gd name="T49" fmla="*/ 1474 h 5628"/>
                    <a:gd name="T50" fmla="*/ 1628 w 16389"/>
                    <a:gd name="T51" fmla="*/ 1131 h 5628"/>
                    <a:gd name="T52" fmla="*/ 2400 w 16389"/>
                    <a:gd name="T53" fmla="*/ 825 h 5628"/>
                    <a:gd name="T54" fmla="*/ 3292 w 16389"/>
                    <a:gd name="T55" fmla="*/ 560 h 5628"/>
                    <a:gd name="T56" fmla="*/ 4289 w 16389"/>
                    <a:gd name="T57" fmla="*/ 340 h 5628"/>
                    <a:gd name="T58" fmla="*/ 5378 w 16389"/>
                    <a:gd name="T59" fmla="*/ 171 h 5628"/>
                    <a:gd name="T60" fmla="*/ 6543 w 16389"/>
                    <a:gd name="T61" fmla="*/ 57 h 5628"/>
                    <a:gd name="T62" fmla="*/ 7773 w 16389"/>
                    <a:gd name="T63" fmla="*/ 4 h 5628"/>
                    <a:gd name="T64" fmla="*/ 9032 w 16389"/>
                    <a:gd name="T65" fmla="*/ 14 h 5628"/>
                    <a:gd name="T66" fmla="*/ 10241 w 16389"/>
                    <a:gd name="T67" fmla="*/ 89 h 5628"/>
                    <a:gd name="T68" fmla="*/ 11383 w 16389"/>
                    <a:gd name="T69" fmla="*/ 221 h 5628"/>
                    <a:gd name="T70" fmla="*/ 12443 w 16389"/>
                    <a:gd name="T71" fmla="*/ 408 h 5628"/>
                    <a:gd name="T72" fmla="*/ 13407 w 16389"/>
                    <a:gd name="T73" fmla="*/ 643 h 5628"/>
                    <a:gd name="T74" fmla="*/ 14260 w 16389"/>
                    <a:gd name="T75" fmla="*/ 922 h 5628"/>
                    <a:gd name="T76" fmla="*/ 14990 w 16389"/>
                    <a:gd name="T77" fmla="*/ 1241 h 5628"/>
                    <a:gd name="T78" fmla="*/ 15581 w 16389"/>
                    <a:gd name="T79" fmla="*/ 1595 h 5628"/>
                    <a:gd name="T80" fmla="*/ 16022 w 16389"/>
                    <a:gd name="T81" fmla="*/ 1978 h 5628"/>
                    <a:gd name="T82" fmla="*/ 16296 w 16389"/>
                    <a:gd name="T83" fmla="*/ 2386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3"/>
                      </a:lnTo>
                      <a:lnTo>
                        <a:pt x="16224" y="3381"/>
                      </a:lnTo>
                      <a:lnTo>
                        <a:pt x="16132" y="3518"/>
                      </a:lnTo>
                      <a:lnTo>
                        <a:pt x="16022" y="3651"/>
                      </a:lnTo>
                      <a:lnTo>
                        <a:pt x="15893" y="3782"/>
                      </a:lnTo>
                      <a:lnTo>
                        <a:pt x="15745" y="3909"/>
                      </a:lnTo>
                      <a:lnTo>
                        <a:pt x="15581" y="4034"/>
                      </a:lnTo>
                      <a:lnTo>
                        <a:pt x="15400" y="4155"/>
                      </a:lnTo>
                      <a:lnTo>
                        <a:pt x="15203" y="4273"/>
                      </a:lnTo>
                      <a:lnTo>
                        <a:pt x="14990" y="4387"/>
                      </a:lnTo>
                      <a:lnTo>
                        <a:pt x="14761" y="4498"/>
                      </a:lnTo>
                      <a:lnTo>
                        <a:pt x="14518" y="4605"/>
                      </a:lnTo>
                      <a:lnTo>
                        <a:pt x="14260" y="4706"/>
                      </a:lnTo>
                      <a:lnTo>
                        <a:pt x="13989" y="4804"/>
                      </a:lnTo>
                      <a:lnTo>
                        <a:pt x="13704" y="4898"/>
                      </a:lnTo>
                      <a:lnTo>
                        <a:pt x="13407" y="4986"/>
                      </a:lnTo>
                      <a:lnTo>
                        <a:pt x="13096" y="5069"/>
                      </a:lnTo>
                      <a:lnTo>
                        <a:pt x="12776" y="5148"/>
                      </a:lnTo>
                      <a:lnTo>
                        <a:pt x="12443" y="5222"/>
                      </a:lnTo>
                      <a:lnTo>
                        <a:pt x="12100" y="5289"/>
                      </a:lnTo>
                      <a:lnTo>
                        <a:pt x="11746" y="5351"/>
                      </a:lnTo>
                      <a:lnTo>
                        <a:pt x="11383" y="5408"/>
                      </a:lnTo>
                      <a:lnTo>
                        <a:pt x="11011" y="5458"/>
                      </a:lnTo>
                      <a:lnTo>
                        <a:pt x="10631" y="5502"/>
                      </a:lnTo>
                      <a:lnTo>
                        <a:pt x="10241" y="5540"/>
                      </a:lnTo>
                      <a:lnTo>
                        <a:pt x="9846" y="5571"/>
                      </a:lnTo>
                      <a:lnTo>
                        <a:pt x="9442" y="5596"/>
                      </a:lnTo>
                      <a:lnTo>
                        <a:pt x="9032" y="5614"/>
                      </a:lnTo>
                      <a:lnTo>
                        <a:pt x="8616" y="5625"/>
                      </a:lnTo>
                      <a:lnTo>
                        <a:pt x="8195" y="5628"/>
                      </a:lnTo>
                      <a:lnTo>
                        <a:pt x="7773" y="5625"/>
                      </a:lnTo>
                      <a:lnTo>
                        <a:pt x="7357" y="5614"/>
                      </a:lnTo>
                      <a:lnTo>
                        <a:pt x="6947" y="5596"/>
                      </a:lnTo>
                      <a:lnTo>
                        <a:pt x="6543" y="5571"/>
                      </a:lnTo>
                      <a:lnTo>
                        <a:pt x="6148" y="5540"/>
                      </a:lnTo>
                      <a:lnTo>
                        <a:pt x="5758" y="5502"/>
                      </a:lnTo>
                      <a:lnTo>
                        <a:pt x="5378" y="5458"/>
                      </a:lnTo>
                      <a:lnTo>
                        <a:pt x="5006" y="5408"/>
                      </a:lnTo>
                      <a:lnTo>
                        <a:pt x="4643" y="5351"/>
                      </a:lnTo>
                      <a:lnTo>
                        <a:pt x="4289" y="5289"/>
                      </a:lnTo>
                      <a:lnTo>
                        <a:pt x="3946" y="5222"/>
                      </a:lnTo>
                      <a:lnTo>
                        <a:pt x="3613" y="5148"/>
                      </a:lnTo>
                      <a:lnTo>
                        <a:pt x="3292" y="5069"/>
                      </a:lnTo>
                      <a:lnTo>
                        <a:pt x="2982" y="4986"/>
                      </a:lnTo>
                      <a:lnTo>
                        <a:pt x="2685" y="4898"/>
                      </a:lnTo>
                      <a:lnTo>
                        <a:pt x="2400" y="4804"/>
                      </a:lnTo>
                      <a:lnTo>
                        <a:pt x="2129" y="4706"/>
                      </a:lnTo>
                      <a:lnTo>
                        <a:pt x="1871" y="4605"/>
                      </a:lnTo>
                      <a:lnTo>
                        <a:pt x="1628" y="4498"/>
                      </a:lnTo>
                      <a:lnTo>
                        <a:pt x="1399" y="4387"/>
                      </a:lnTo>
                      <a:lnTo>
                        <a:pt x="1186" y="4273"/>
                      </a:lnTo>
                      <a:lnTo>
                        <a:pt x="989" y="4155"/>
                      </a:lnTo>
                      <a:lnTo>
                        <a:pt x="808" y="4034"/>
                      </a:lnTo>
                      <a:lnTo>
                        <a:pt x="644" y="3909"/>
                      </a:lnTo>
                      <a:lnTo>
                        <a:pt x="496" y="3782"/>
                      </a:lnTo>
                      <a:lnTo>
                        <a:pt x="367" y="3651"/>
                      </a:lnTo>
                      <a:lnTo>
                        <a:pt x="257" y="3518"/>
                      </a:lnTo>
                      <a:lnTo>
                        <a:pt x="165" y="3381"/>
                      </a:lnTo>
                      <a:lnTo>
                        <a:pt x="93" y="3243"/>
                      </a:lnTo>
                      <a:lnTo>
                        <a:pt x="42" y="3102"/>
                      </a:lnTo>
                      <a:lnTo>
                        <a:pt x="10" y="2959"/>
                      </a:lnTo>
                      <a:lnTo>
                        <a:pt x="0" y="2814"/>
                      </a:lnTo>
                      <a:lnTo>
                        <a:pt x="10" y="2669"/>
                      </a:lnTo>
                      <a:lnTo>
                        <a:pt x="42" y="2526"/>
                      </a:lnTo>
                      <a:lnTo>
                        <a:pt x="93" y="2386"/>
                      </a:lnTo>
                      <a:lnTo>
                        <a:pt x="165" y="2247"/>
                      </a:lnTo>
                      <a:lnTo>
                        <a:pt x="257" y="2111"/>
                      </a:lnTo>
                      <a:lnTo>
                        <a:pt x="367" y="1978"/>
                      </a:lnTo>
                      <a:lnTo>
                        <a:pt x="496" y="1847"/>
                      </a:lnTo>
                      <a:lnTo>
                        <a:pt x="644" y="1719"/>
                      </a:lnTo>
                      <a:lnTo>
                        <a:pt x="808" y="1595"/>
                      </a:lnTo>
                      <a:lnTo>
                        <a:pt x="989" y="1474"/>
                      </a:lnTo>
                      <a:lnTo>
                        <a:pt x="1186" y="1356"/>
                      </a:lnTo>
                      <a:lnTo>
                        <a:pt x="1399" y="1241"/>
                      </a:lnTo>
                      <a:lnTo>
                        <a:pt x="1628" y="1131"/>
                      </a:lnTo>
                      <a:lnTo>
                        <a:pt x="1871" y="1024"/>
                      </a:lnTo>
                      <a:lnTo>
                        <a:pt x="2129" y="922"/>
                      </a:lnTo>
                      <a:lnTo>
                        <a:pt x="2400" y="825"/>
                      </a:lnTo>
                      <a:lnTo>
                        <a:pt x="2685" y="732"/>
                      </a:lnTo>
                      <a:lnTo>
                        <a:pt x="2982" y="643"/>
                      </a:lnTo>
                      <a:lnTo>
                        <a:pt x="3292" y="560"/>
                      </a:lnTo>
                      <a:lnTo>
                        <a:pt x="3613" y="481"/>
                      </a:lnTo>
                      <a:lnTo>
                        <a:pt x="3946" y="408"/>
                      </a:lnTo>
                      <a:lnTo>
                        <a:pt x="4289" y="340"/>
                      </a:lnTo>
                      <a:lnTo>
                        <a:pt x="4643" y="277"/>
                      </a:lnTo>
                      <a:lnTo>
                        <a:pt x="5006" y="221"/>
                      </a:lnTo>
                      <a:lnTo>
                        <a:pt x="5378" y="171"/>
                      </a:lnTo>
                      <a:lnTo>
                        <a:pt x="5758" y="126"/>
                      </a:lnTo>
                      <a:lnTo>
                        <a:pt x="6148" y="89"/>
                      </a:lnTo>
                      <a:lnTo>
                        <a:pt x="6543" y="57"/>
                      </a:lnTo>
                      <a:lnTo>
                        <a:pt x="6947" y="32"/>
                      </a:lnTo>
                      <a:lnTo>
                        <a:pt x="7357" y="14"/>
                      </a:lnTo>
                      <a:lnTo>
                        <a:pt x="7773" y="4"/>
                      </a:lnTo>
                      <a:lnTo>
                        <a:pt x="8195" y="0"/>
                      </a:lnTo>
                      <a:lnTo>
                        <a:pt x="8616" y="4"/>
                      </a:lnTo>
                      <a:lnTo>
                        <a:pt x="9032" y="14"/>
                      </a:lnTo>
                      <a:lnTo>
                        <a:pt x="9442" y="32"/>
                      </a:lnTo>
                      <a:lnTo>
                        <a:pt x="9846" y="57"/>
                      </a:lnTo>
                      <a:lnTo>
                        <a:pt x="10241" y="89"/>
                      </a:lnTo>
                      <a:lnTo>
                        <a:pt x="10631" y="126"/>
                      </a:lnTo>
                      <a:lnTo>
                        <a:pt x="11011" y="171"/>
                      </a:lnTo>
                      <a:lnTo>
                        <a:pt x="11383" y="221"/>
                      </a:lnTo>
                      <a:lnTo>
                        <a:pt x="11746" y="277"/>
                      </a:lnTo>
                      <a:lnTo>
                        <a:pt x="12100" y="340"/>
                      </a:lnTo>
                      <a:lnTo>
                        <a:pt x="12443" y="408"/>
                      </a:lnTo>
                      <a:lnTo>
                        <a:pt x="12776" y="481"/>
                      </a:lnTo>
                      <a:lnTo>
                        <a:pt x="13096" y="560"/>
                      </a:lnTo>
                      <a:lnTo>
                        <a:pt x="13407" y="643"/>
                      </a:lnTo>
                      <a:lnTo>
                        <a:pt x="13704" y="732"/>
                      </a:lnTo>
                      <a:lnTo>
                        <a:pt x="13989" y="825"/>
                      </a:lnTo>
                      <a:lnTo>
                        <a:pt x="14260" y="922"/>
                      </a:lnTo>
                      <a:lnTo>
                        <a:pt x="14518" y="1024"/>
                      </a:lnTo>
                      <a:lnTo>
                        <a:pt x="14761" y="1131"/>
                      </a:lnTo>
                      <a:lnTo>
                        <a:pt x="14990" y="1241"/>
                      </a:lnTo>
                      <a:lnTo>
                        <a:pt x="15203" y="1356"/>
                      </a:lnTo>
                      <a:lnTo>
                        <a:pt x="15400" y="1474"/>
                      </a:lnTo>
                      <a:lnTo>
                        <a:pt x="15581" y="1595"/>
                      </a:lnTo>
                      <a:lnTo>
                        <a:pt x="15745" y="1719"/>
                      </a:lnTo>
                      <a:lnTo>
                        <a:pt x="15893" y="1847"/>
                      </a:lnTo>
                      <a:lnTo>
                        <a:pt x="16022" y="1978"/>
                      </a:lnTo>
                      <a:lnTo>
                        <a:pt x="16132" y="2111"/>
                      </a:lnTo>
                      <a:lnTo>
                        <a:pt x="16224" y="2247"/>
                      </a:lnTo>
                      <a:lnTo>
                        <a:pt x="16296" y="2386"/>
                      </a:lnTo>
                      <a:lnTo>
                        <a:pt x="16347" y="2526"/>
                      </a:lnTo>
                      <a:lnTo>
                        <a:pt x="16379" y="2669"/>
                      </a:lnTo>
                      <a:lnTo>
                        <a:pt x="16389" y="2814"/>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76" name="Freeform 169"/>
                <p:cNvSpPr>
                  <a:spLocks/>
                </p:cNvSpPr>
                <p:nvPr>
                  <p:custDataLst>
                    <p:tags r:id="rId123"/>
                  </p:custDataLst>
                </p:nvPr>
              </p:nvSpPr>
              <p:spPr bwMode="auto">
                <a:xfrm>
                  <a:off x="725" y="3629"/>
                  <a:ext cx="361" cy="115"/>
                </a:xfrm>
                <a:custGeom>
                  <a:avLst/>
                  <a:gdLst>
                    <a:gd name="T0" fmla="*/ 472 w 8295"/>
                    <a:gd name="T1" fmla="*/ 2861 h 2865"/>
                    <a:gd name="T2" fmla="*/ 1300 w 8295"/>
                    <a:gd name="T3" fmla="*/ 2832 h 2865"/>
                    <a:gd name="T4" fmla="*/ 2102 w 8295"/>
                    <a:gd name="T5" fmla="*/ 2776 h 2865"/>
                    <a:gd name="T6" fmla="*/ 2873 w 8295"/>
                    <a:gd name="T7" fmla="*/ 2694 h 2865"/>
                    <a:gd name="T8" fmla="*/ 3609 w 8295"/>
                    <a:gd name="T9" fmla="*/ 2587 h 2865"/>
                    <a:gd name="T10" fmla="*/ 4308 w 8295"/>
                    <a:gd name="T11" fmla="*/ 2456 h 2865"/>
                    <a:gd name="T12" fmla="*/ 4964 w 8295"/>
                    <a:gd name="T13" fmla="*/ 2304 h 2865"/>
                    <a:gd name="T14" fmla="*/ 5426 w 8295"/>
                    <a:gd name="T15" fmla="*/ 2177 h 2865"/>
                    <a:gd name="T16" fmla="*/ 5718 w 8295"/>
                    <a:gd name="T17" fmla="*/ 2085 h 2865"/>
                    <a:gd name="T18" fmla="*/ 5998 w 8295"/>
                    <a:gd name="T19" fmla="*/ 1989 h 2865"/>
                    <a:gd name="T20" fmla="*/ 6264 w 8295"/>
                    <a:gd name="T21" fmla="*/ 1889 h 2865"/>
                    <a:gd name="T22" fmla="*/ 6516 w 8295"/>
                    <a:gd name="T23" fmla="*/ 1783 h 2865"/>
                    <a:gd name="T24" fmla="*/ 6754 w 8295"/>
                    <a:gd name="T25" fmla="*/ 1675 h 2865"/>
                    <a:gd name="T26" fmla="*/ 6977 w 8295"/>
                    <a:gd name="T27" fmla="*/ 1561 h 2865"/>
                    <a:gd name="T28" fmla="*/ 7184 w 8295"/>
                    <a:gd name="T29" fmla="*/ 1444 h 2865"/>
                    <a:gd name="T30" fmla="*/ 7376 w 8295"/>
                    <a:gd name="T31" fmla="*/ 1323 h 2865"/>
                    <a:gd name="T32" fmla="*/ 7551 w 8295"/>
                    <a:gd name="T33" fmla="*/ 1199 h 2865"/>
                    <a:gd name="T34" fmla="*/ 7709 w 8295"/>
                    <a:gd name="T35" fmla="*/ 1070 h 2865"/>
                    <a:gd name="T36" fmla="*/ 7850 w 8295"/>
                    <a:gd name="T37" fmla="*/ 938 h 2865"/>
                    <a:gd name="T38" fmla="*/ 7972 w 8295"/>
                    <a:gd name="T39" fmla="*/ 802 h 2865"/>
                    <a:gd name="T40" fmla="*/ 8076 w 8295"/>
                    <a:gd name="T41" fmla="*/ 663 h 2865"/>
                    <a:gd name="T42" fmla="*/ 8161 w 8295"/>
                    <a:gd name="T43" fmla="*/ 522 h 2865"/>
                    <a:gd name="T44" fmla="*/ 8226 w 8295"/>
                    <a:gd name="T45" fmla="*/ 376 h 2865"/>
                    <a:gd name="T46" fmla="*/ 8269 w 8295"/>
                    <a:gd name="T47" fmla="*/ 228 h 2865"/>
                    <a:gd name="T48" fmla="*/ 8292 w 8295"/>
                    <a:gd name="T49" fmla="*/ 77 h 2865"/>
                    <a:gd name="T50" fmla="*/ 8194 w 8295"/>
                    <a:gd name="T51" fmla="*/ 35 h 2865"/>
                    <a:gd name="T52" fmla="*/ 8180 w 8295"/>
                    <a:gd name="T53" fmla="*/ 172 h 2865"/>
                    <a:gd name="T54" fmla="*/ 8145 w 8295"/>
                    <a:gd name="T55" fmla="*/ 307 h 2865"/>
                    <a:gd name="T56" fmla="*/ 8089 w 8295"/>
                    <a:gd name="T57" fmla="*/ 442 h 2865"/>
                    <a:gd name="T58" fmla="*/ 8016 w 8295"/>
                    <a:gd name="T59" fmla="*/ 574 h 2865"/>
                    <a:gd name="T60" fmla="*/ 7922 w 8295"/>
                    <a:gd name="T61" fmla="*/ 706 h 2865"/>
                    <a:gd name="T62" fmla="*/ 7810 w 8295"/>
                    <a:gd name="T63" fmla="*/ 835 h 2865"/>
                    <a:gd name="T64" fmla="*/ 7679 w 8295"/>
                    <a:gd name="T65" fmla="*/ 963 h 2865"/>
                    <a:gd name="T66" fmla="*/ 7530 w 8295"/>
                    <a:gd name="T67" fmla="*/ 1088 h 2865"/>
                    <a:gd name="T68" fmla="*/ 7364 w 8295"/>
                    <a:gd name="T69" fmla="*/ 1210 h 2865"/>
                    <a:gd name="T70" fmla="*/ 7182 w 8295"/>
                    <a:gd name="T71" fmla="*/ 1329 h 2865"/>
                    <a:gd name="T72" fmla="*/ 6982 w 8295"/>
                    <a:gd name="T73" fmla="*/ 1444 h 2865"/>
                    <a:gd name="T74" fmla="*/ 6766 w 8295"/>
                    <a:gd name="T75" fmla="*/ 1557 h 2865"/>
                    <a:gd name="T76" fmla="*/ 6537 w 8295"/>
                    <a:gd name="T77" fmla="*/ 1665 h 2865"/>
                    <a:gd name="T78" fmla="*/ 6290 w 8295"/>
                    <a:gd name="T79" fmla="*/ 1770 h 2865"/>
                    <a:gd name="T80" fmla="*/ 6032 w 8295"/>
                    <a:gd name="T81" fmla="*/ 1870 h 2865"/>
                    <a:gd name="T82" fmla="*/ 5757 w 8295"/>
                    <a:gd name="T83" fmla="*/ 1967 h 2865"/>
                    <a:gd name="T84" fmla="*/ 5471 w 8295"/>
                    <a:gd name="T85" fmla="*/ 2058 h 2865"/>
                    <a:gd name="T86" fmla="*/ 5096 w 8295"/>
                    <a:gd name="T87" fmla="*/ 2165 h 2865"/>
                    <a:gd name="T88" fmla="*/ 4455 w 8295"/>
                    <a:gd name="T89" fmla="*/ 2323 h 2865"/>
                    <a:gd name="T90" fmla="*/ 3771 w 8295"/>
                    <a:gd name="T91" fmla="*/ 2457 h 2865"/>
                    <a:gd name="T92" fmla="*/ 3047 w 8295"/>
                    <a:gd name="T93" fmla="*/ 2570 h 2865"/>
                    <a:gd name="T94" fmla="*/ 2287 w 8295"/>
                    <a:gd name="T95" fmla="*/ 2658 h 2865"/>
                    <a:gd name="T96" fmla="*/ 1497 w 8295"/>
                    <a:gd name="T97" fmla="*/ 2721 h 2865"/>
                    <a:gd name="T98" fmla="*/ 678 w 8295"/>
                    <a:gd name="T99" fmla="*/ 2756 h 2865"/>
                    <a:gd name="T100" fmla="*/ 50 w 8295"/>
                    <a:gd name="T101" fmla="*/ 2765 h 2865"/>
                    <a:gd name="T102" fmla="*/ 33 w 8295"/>
                    <a:gd name="T103" fmla="*/ 2767 h 2865"/>
                    <a:gd name="T104" fmla="*/ 15 w 8295"/>
                    <a:gd name="T105" fmla="*/ 2777 h 2865"/>
                    <a:gd name="T106" fmla="*/ 0 w 8295"/>
                    <a:gd name="T107" fmla="*/ 2805 h 2865"/>
                    <a:gd name="T108" fmla="*/ 6 w 8295"/>
                    <a:gd name="T109" fmla="*/ 2842 h 2865"/>
                    <a:gd name="T110" fmla="*/ 23 w 8295"/>
                    <a:gd name="T111" fmla="*/ 2859 h 2865"/>
                    <a:gd name="T112" fmla="*/ 43 w 8295"/>
                    <a:gd name="T113" fmla="*/ 2865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5">
                      <a:moveTo>
                        <a:pt x="50" y="2865"/>
                      </a:moveTo>
                      <a:lnTo>
                        <a:pt x="50" y="2865"/>
                      </a:lnTo>
                      <a:lnTo>
                        <a:pt x="262" y="2864"/>
                      </a:lnTo>
                      <a:lnTo>
                        <a:pt x="472" y="2861"/>
                      </a:lnTo>
                      <a:lnTo>
                        <a:pt x="681" y="2857"/>
                      </a:lnTo>
                      <a:lnTo>
                        <a:pt x="888" y="2851"/>
                      </a:lnTo>
                      <a:lnTo>
                        <a:pt x="1095" y="2842"/>
                      </a:lnTo>
                      <a:lnTo>
                        <a:pt x="1300" y="2832"/>
                      </a:lnTo>
                      <a:lnTo>
                        <a:pt x="1503" y="2820"/>
                      </a:lnTo>
                      <a:lnTo>
                        <a:pt x="1704" y="2808"/>
                      </a:lnTo>
                      <a:lnTo>
                        <a:pt x="1904" y="2793"/>
                      </a:lnTo>
                      <a:lnTo>
                        <a:pt x="2102" y="2776"/>
                      </a:lnTo>
                      <a:lnTo>
                        <a:pt x="2296" y="2757"/>
                      </a:lnTo>
                      <a:lnTo>
                        <a:pt x="2491" y="2738"/>
                      </a:lnTo>
                      <a:lnTo>
                        <a:pt x="2683" y="2717"/>
                      </a:lnTo>
                      <a:lnTo>
                        <a:pt x="2873" y="2694"/>
                      </a:lnTo>
                      <a:lnTo>
                        <a:pt x="3060" y="2669"/>
                      </a:lnTo>
                      <a:lnTo>
                        <a:pt x="3246" y="2644"/>
                      </a:lnTo>
                      <a:lnTo>
                        <a:pt x="3429" y="2616"/>
                      </a:lnTo>
                      <a:lnTo>
                        <a:pt x="3609" y="2587"/>
                      </a:lnTo>
                      <a:lnTo>
                        <a:pt x="3788" y="2557"/>
                      </a:lnTo>
                      <a:lnTo>
                        <a:pt x="3964" y="2524"/>
                      </a:lnTo>
                      <a:lnTo>
                        <a:pt x="4137" y="2491"/>
                      </a:lnTo>
                      <a:lnTo>
                        <a:pt x="4308" y="2456"/>
                      </a:lnTo>
                      <a:lnTo>
                        <a:pt x="4476" y="2420"/>
                      </a:lnTo>
                      <a:lnTo>
                        <a:pt x="4642" y="2383"/>
                      </a:lnTo>
                      <a:lnTo>
                        <a:pt x="4804" y="2344"/>
                      </a:lnTo>
                      <a:lnTo>
                        <a:pt x="4964" y="2304"/>
                      </a:lnTo>
                      <a:lnTo>
                        <a:pt x="5122" y="2263"/>
                      </a:lnTo>
                      <a:lnTo>
                        <a:pt x="5275" y="2220"/>
                      </a:lnTo>
                      <a:lnTo>
                        <a:pt x="5351" y="2198"/>
                      </a:lnTo>
                      <a:lnTo>
                        <a:pt x="5426" y="2177"/>
                      </a:lnTo>
                      <a:lnTo>
                        <a:pt x="5500" y="2154"/>
                      </a:lnTo>
                      <a:lnTo>
                        <a:pt x="5574" y="2131"/>
                      </a:lnTo>
                      <a:lnTo>
                        <a:pt x="5646" y="2108"/>
                      </a:lnTo>
                      <a:lnTo>
                        <a:pt x="5718" y="2085"/>
                      </a:lnTo>
                      <a:lnTo>
                        <a:pt x="5789" y="2062"/>
                      </a:lnTo>
                      <a:lnTo>
                        <a:pt x="5859" y="2038"/>
                      </a:lnTo>
                      <a:lnTo>
                        <a:pt x="5930" y="2013"/>
                      </a:lnTo>
                      <a:lnTo>
                        <a:pt x="5998" y="1989"/>
                      </a:lnTo>
                      <a:lnTo>
                        <a:pt x="6066" y="1965"/>
                      </a:lnTo>
                      <a:lnTo>
                        <a:pt x="6133" y="1940"/>
                      </a:lnTo>
                      <a:lnTo>
                        <a:pt x="6199" y="1914"/>
                      </a:lnTo>
                      <a:lnTo>
                        <a:pt x="6264" y="1889"/>
                      </a:lnTo>
                      <a:lnTo>
                        <a:pt x="6328" y="1863"/>
                      </a:lnTo>
                      <a:lnTo>
                        <a:pt x="6391" y="1836"/>
                      </a:lnTo>
                      <a:lnTo>
                        <a:pt x="6454" y="1810"/>
                      </a:lnTo>
                      <a:lnTo>
                        <a:pt x="6516" y="1783"/>
                      </a:lnTo>
                      <a:lnTo>
                        <a:pt x="6577" y="1756"/>
                      </a:lnTo>
                      <a:lnTo>
                        <a:pt x="6637" y="1730"/>
                      </a:lnTo>
                      <a:lnTo>
                        <a:pt x="6695" y="1702"/>
                      </a:lnTo>
                      <a:lnTo>
                        <a:pt x="6754" y="1675"/>
                      </a:lnTo>
                      <a:lnTo>
                        <a:pt x="6811" y="1647"/>
                      </a:lnTo>
                      <a:lnTo>
                        <a:pt x="6867" y="1619"/>
                      </a:lnTo>
                      <a:lnTo>
                        <a:pt x="6922" y="1590"/>
                      </a:lnTo>
                      <a:lnTo>
                        <a:pt x="6977" y="1561"/>
                      </a:lnTo>
                      <a:lnTo>
                        <a:pt x="7030" y="1532"/>
                      </a:lnTo>
                      <a:lnTo>
                        <a:pt x="7082" y="1503"/>
                      </a:lnTo>
                      <a:lnTo>
                        <a:pt x="7133" y="1474"/>
                      </a:lnTo>
                      <a:lnTo>
                        <a:pt x="7184" y="1444"/>
                      </a:lnTo>
                      <a:lnTo>
                        <a:pt x="7233" y="1414"/>
                      </a:lnTo>
                      <a:lnTo>
                        <a:pt x="7282" y="1384"/>
                      </a:lnTo>
                      <a:lnTo>
                        <a:pt x="7329" y="1354"/>
                      </a:lnTo>
                      <a:lnTo>
                        <a:pt x="7376" y="1323"/>
                      </a:lnTo>
                      <a:lnTo>
                        <a:pt x="7421" y="1292"/>
                      </a:lnTo>
                      <a:lnTo>
                        <a:pt x="7465" y="1261"/>
                      </a:lnTo>
                      <a:lnTo>
                        <a:pt x="7509" y="1230"/>
                      </a:lnTo>
                      <a:lnTo>
                        <a:pt x="7551" y="1199"/>
                      </a:lnTo>
                      <a:lnTo>
                        <a:pt x="7592" y="1167"/>
                      </a:lnTo>
                      <a:lnTo>
                        <a:pt x="7632" y="1134"/>
                      </a:lnTo>
                      <a:lnTo>
                        <a:pt x="7670" y="1102"/>
                      </a:lnTo>
                      <a:lnTo>
                        <a:pt x="7709" y="1070"/>
                      </a:lnTo>
                      <a:lnTo>
                        <a:pt x="7746" y="1037"/>
                      </a:lnTo>
                      <a:lnTo>
                        <a:pt x="7782" y="1004"/>
                      </a:lnTo>
                      <a:lnTo>
                        <a:pt x="7816" y="971"/>
                      </a:lnTo>
                      <a:lnTo>
                        <a:pt x="7850" y="938"/>
                      </a:lnTo>
                      <a:lnTo>
                        <a:pt x="7882" y="905"/>
                      </a:lnTo>
                      <a:lnTo>
                        <a:pt x="7914" y="870"/>
                      </a:lnTo>
                      <a:lnTo>
                        <a:pt x="7944" y="837"/>
                      </a:lnTo>
                      <a:lnTo>
                        <a:pt x="7972" y="802"/>
                      </a:lnTo>
                      <a:lnTo>
                        <a:pt x="8000" y="768"/>
                      </a:lnTo>
                      <a:lnTo>
                        <a:pt x="8027" y="734"/>
                      </a:lnTo>
                      <a:lnTo>
                        <a:pt x="8052" y="699"/>
                      </a:lnTo>
                      <a:lnTo>
                        <a:pt x="8076" y="663"/>
                      </a:lnTo>
                      <a:lnTo>
                        <a:pt x="8099" y="628"/>
                      </a:lnTo>
                      <a:lnTo>
                        <a:pt x="8121" y="593"/>
                      </a:lnTo>
                      <a:lnTo>
                        <a:pt x="8141" y="558"/>
                      </a:lnTo>
                      <a:lnTo>
                        <a:pt x="8161" y="522"/>
                      </a:lnTo>
                      <a:lnTo>
                        <a:pt x="8180" y="485"/>
                      </a:lnTo>
                      <a:lnTo>
                        <a:pt x="8196" y="449"/>
                      </a:lnTo>
                      <a:lnTo>
                        <a:pt x="8212" y="413"/>
                      </a:lnTo>
                      <a:lnTo>
                        <a:pt x="8226" y="376"/>
                      </a:lnTo>
                      <a:lnTo>
                        <a:pt x="8238" y="340"/>
                      </a:lnTo>
                      <a:lnTo>
                        <a:pt x="8251" y="302"/>
                      </a:lnTo>
                      <a:lnTo>
                        <a:pt x="8261" y="265"/>
                      </a:lnTo>
                      <a:lnTo>
                        <a:pt x="8269" y="228"/>
                      </a:lnTo>
                      <a:lnTo>
                        <a:pt x="8277" y="190"/>
                      </a:lnTo>
                      <a:lnTo>
                        <a:pt x="8284" y="152"/>
                      </a:lnTo>
                      <a:lnTo>
                        <a:pt x="8289" y="115"/>
                      </a:lnTo>
                      <a:lnTo>
                        <a:pt x="8292" y="77"/>
                      </a:lnTo>
                      <a:lnTo>
                        <a:pt x="8294" y="38"/>
                      </a:lnTo>
                      <a:lnTo>
                        <a:pt x="8295" y="0"/>
                      </a:lnTo>
                      <a:lnTo>
                        <a:pt x="8195" y="0"/>
                      </a:lnTo>
                      <a:lnTo>
                        <a:pt x="8194" y="35"/>
                      </a:lnTo>
                      <a:lnTo>
                        <a:pt x="8192" y="69"/>
                      </a:lnTo>
                      <a:lnTo>
                        <a:pt x="8189" y="104"/>
                      </a:lnTo>
                      <a:lnTo>
                        <a:pt x="8185" y="138"/>
                      </a:lnTo>
                      <a:lnTo>
                        <a:pt x="8180" y="172"/>
                      </a:lnTo>
                      <a:lnTo>
                        <a:pt x="8172" y="206"/>
                      </a:lnTo>
                      <a:lnTo>
                        <a:pt x="8164" y="240"/>
                      </a:lnTo>
                      <a:lnTo>
                        <a:pt x="8155" y="274"/>
                      </a:lnTo>
                      <a:lnTo>
                        <a:pt x="8145" y="307"/>
                      </a:lnTo>
                      <a:lnTo>
                        <a:pt x="8132" y="342"/>
                      </a:lnTo>
                      <a:lnTo>
                        <a:pt x="8119" y="375"/>
                      </a:lnTo>
                      <a:lnTo>
                        <a:pt x="8105" y="409"/>
                      </a:lnTo>
                      <a:lnTo>
                        <a:pt x="8089" y="442"/>
                      </a:lnTo>
                      <a:lnTo>
                        <a:pt x="8072" y="475"/>
                      </a:lnTo>
                      <a:lnTo>
                        <a:pt x="8055" y="508"/>
                      </a:lnTo>
                      <a:lnTo>
                        <a:pt x="8035" y="541"/>
                      </a:lnTo>
                      <a:lnTo>
                        <a:pt x="8016" y="574"/>
                      </a:lnTo>
                      <a:lnTo>
                        <a:pt x="7993" y="608"/>
                      </a:lnTo>
                      <a:lnTo>
                        <a:pt x="7970" y="641"/>
                      </a:lnTo>
                      <a:lnTo>
                        <a:pt x="7947" y="673"/>
                      </a:lnTo>
                      <a:lnTo>
                        <a:pt x="7922" y="706"/>
                      </a:lnTo>
                      <a:lnTo>
                        <a:pt x="7895" y="739"/>
                      </a:lnTo>
                      <a:lnTo>
                        <a:pt x="7868" y="771"/>
                      </a:lnTo>
                      <a:lnTo>
                        <a:pt x="7839" y="803"/>
                      </a:lnTo>
                      <a:lnTo>
                        <a:pt x="7810" y="835"/>
                      </a:lnTo>
                      <a:lnTo>
                        <a:pt x="7779" y="867"/>
                      </a:lnTo>
                      <a:lnTo>
                        <a:pt x="7747" y="899"/>
                      </a:lnTo>
                      <a:lnTo>
                        <a:pt x="7714" y="931"/>
                      </a:lnTo>
                      <a:lnTo>
                        <a:pt x="7679" y="963"/>
                      </a:lnTo>
                      <a:lnTo>
                        <a:pt x="7644" y="994"/>
                      </a:lnTo>
                      <a:lnTo>
                        <a:pt x="7607" y="1026"/>
                      </a:lnTo>
                      <a:lnTo>
                        <a:pt x="7569" y="1057"/>
                      </a:lnTo>
                      <a:lnTo>
                        <a:pt x="7530" y="1088"/>
                      </a:lnTo>
                      <a:lnTo>
                        <a:pt x="7490" y="1118"/>
                      </a:lnTo>
                      <a:lnTo>
                        <a:pt x="7450" y="1149"/>
                      </a:lnTo>
                      <a:lnTo>
                        <a:pt x="7408" y="1179"/>
                      </a:lnTo>
                      <a:lnTo>
                        <a:pt x="7364" y="1210"/>
                      </a:lnTo>
                      <a:lnTo>
                        <a:pt x="7320" y="1240"/>
                      </a:lnTo>
                      <a:lnTo>
                        <a:pt x="7275" y="1270"/>
                      </a:lnTo>
                      <a:lnTo>
                        <a:pt x="7228" y="1299"/>
                      </a:lnTo>
                      <a:lnTo>
                        <a:pt x="7182" y="1329"/>
                      </a:lnTo>
                      <a:lnTo>
                        <a:pt x="7133" y="1358"/>
                      </a:lnTo>
                      <a:lnTo>
                        <a:pt x="7084" y="1387"/>
                      </a:lnTo>
                      <a:lnTo>
                        <a:pt x="7033" y="1416"/>
                      </a:lnTo>
                      <a:lnTo>
                        <a:pt x="6982" y="1444"/>
                      </a:lnTo>
                      <a:lnTo>
                        <a:pt x="6929" y="1473"/>
                      </a:lnTo>
                      <a:lnTo>
                        <a:pt x="6877" y="1501"/>
                      </a:lnTo>
                      <a:lnTo>
                        <a:pt x="6822" y="1529"/>
                      </a:lnTo>
                      <a:lnTo>
                        <a:pt x="6766" y="1557"/>
                      </a:lnTo>
                      <a:lnTo>
                        <a:pt x="6711" y="1584"/>
                      </a:lnTo>
                      <a:lnTo>
                        <a:pt x="6653" y="1612"/>
                      </a:lnTo>
                      <a:lnTo>
                        <a:pt x="6595" y="1638"/>
                      </a:lnTo>
                      <a:lnTo>
                        <a:pt x="6537" y="1665"/>
                      </a:lnTo>
                      <a:lnTo>
                        <a:pt x="6476" y="1691"/>
                      </a:lnTo>
                      <a:lnTo>
                        <a:pt x="6415" y="1718"/>
                      </a:lnTo>
                      <a:lnTo>
                        <a:pt x="6354" y="1744"/>
                      </a:lnTo>
                      <a:lnTo>
                        <a:pt x="6290" y="1770"/>
                      </a:lnTo>
                      <a:lnTo>
                        <a:pt x="6227" y="1795"/>
                      </a:lnTo>
                      <a:lnTo>
                        <a:pt x="6163" y="1821"/>
                      </a:lnTo>
                      <a:lnTo>
                        <a:pt x="6098" y="1845"/>
                      </a:lnTo>
                      <a:lnTo>
                        <a:pt x="6032" y="1870"/>
                      </a:lnTo>
                      <a:lnTo>
                        <a:pt x="5965" y="1895"/>
                      </a:lnTo>
                      <a:lnTo>
                        <a:pt x="5897" y="1919"/>
                      </a:lnTo>
                      <a:lnTo>
                        <a:pt x="5828" y="1943"/>
                      </a:lnTo>
                      <a:lnTo>
                        <a:pt x="5757" y="1967"/>
                      </a:lnTo>
                      <a:lnTo>
                        <a:pt x="5687" y="1989"/>
                      </a:lnTo>
                      <a:lnTo>
                        <a:pt x="5616" y="2013"/>
                      </a:lnTo>
                      <a:lnTo>
                        <a:pt x="5544" y="2036"/>
                      </a:lnTo>
                      <a:lnTo>
                        <a:pt x="5471" y="2058"/>
                      </a:lnTo>
                      <a:lnTo>
                        <a:pt x="5398" y="2080"/>
                      </a:lnTo>
                      <a:lnTo>
                        <a:pt x="5324" y="2102"/>
                      </a:lnTo>
                      <a:lnTo>
                        <a:pt x="5248" y="2124"/>
                      </a:lnTo>
                      <a:lnTo>
                        <a:pt x="5096" y="2165"/>
                      </a:lnTo>
                      <a:lnTo>
                        <a:pt x="4940" y="2207"/>
                      </a:lnTo>
                      <a:lnTo>
                        <a:pt x="4781" y="2247"/>
                      </a:lnTo>
                      <a:lnTo>
                        <a:pt x="4620" y="2285"/>
                      </a:lnTo>
                      <a:lnTo>
                        <a:pt x="4455" y="2323"/>
                      </a:lnTo>
                      <a:lnTo>
                        <a:pt x="4288" y="2358"/>
                      </a:lnTo>
                      <a:lnTo>
                        <a:pt x="4119" y="2392"/>
                      </a:lnTo>
                      <a:lnTo>
                        <a:pt x="3945" y="2426"/>
                      </a:lnTo>
                      <a:lnTo>
                        <a:pt x="3771" y="2457"/>
                      </a:lnTo>
                      <a:lnTo>
                        <a:pt x="3593" y="2487"/>
                      </a:lnTo>
                      <a:lnTo>
                        <a:pt x="3414" y="2516"/>
                      </a:lnTo>
                      <a:lnTo>
                        <a:pt x="3231" y="2544"/>
                      </a:lnTo>
                      <a:lnTo>
                        <a:pt x="3047" y="2570"/>
                      </a:lnTo>
                      <a:lnTo>
                        <a:pt x="2860" y="2594"/>
                      </a:lnTo>
                      <a:lnTo>
                        <a:pt x="2672" y="2617"/>
                      </a:lnTo>
                      <a:lnTo>
                        <a:pt x="2481" y="2638"/>
                      </a:lnTo>
                      <a:lnTo>
                        <a:pt x="2287" y="2658"/>
                      </a:lnTo>
                      <a:lnTo>
                        <a:pt x="2092" y="2676"/>
                      </a:lnTo>
                      <a:lnTo>
                        <a:pt x="1895" y="2692"/>
                      </a:lnTo>
                      <a:lnTo>
                        <a:pt x="1698" y="2708"/>
                      </a:lnTo>
                      <a:lnTo>
                        <a:pt x="1497" y="2721"/>
                      </a:lnTo>
                      <a:lnTo>
                        <a:pt x="1295" y="2733"/>
                      </a:lnTo>
                      <a:lnTo>
                        <a:pt x="1090" y="2742"/>
                      </a:lnTo>
                      <a:lnTo>
                        <a:pt x="885" y="2750"/>
                      </a:lnTo>
                      <a:lnTo>
                        <a:pt x="678" y="2756"/>
                      </a:lnTo>
                      <a:lnTo>
                        <a:pt x="470" y="2761"/>
                      </a:lnTo>
                      <a:lnTo>
                        <a:pt x="261" y="2764"/>
                      </a:lnTo>
                      <a:lnTo>
                        <a:pt x="50" y="2765"/>
                      </a:lnTo>
                      <a:lnTo>
                        <a:pt x="50" y="2765"/>
                      </a:lnTo>
                      <a:lnTo>
                        <a:pt x="50" y="2765"/>
                      </a:lnTo>
                      <a:lnTo>
                        <a:pt x="43" y="2765"/>
                      </a:lnTo>
                      <a:lnTo>
                        <a:pt x="38" y="2766"/>
                      </a:lnTo>
                      <a:lnTo>
                        <a:pt x="33" y="2767"/>
                      </a:lnTo>
                      <a:lnTo>
                        <a:pt x="28" y="2769"/>
                      </a:lnTo>
                      <a:lnTo>
                        <a:pt x="23" y="2771"/>
                      </a:lnTo>
                      <a:lnTo>
                        <a:pt x="19" y="2774"/>
                      </a:lnTo>
                      <a:lnTo>
                        <a:pt x="15" y="2777"/>
                      </a:lnTo>
                      <a:lnTo>
                        <a:pt x="12" y="2780"/>
                      </a:lnTo>
                      <a:lnTo>
                        <a:pt x="6" y="2787"/>
                      </a:lnTo>
                      <a:lnTo>
                        <a:pt x="3" y="2797"/>
                      </a:lnTo>
                      <a:lnTo>
                        <a:pt x="0" y="2805"/>
                      </a:lnTo>
                      <a:lnTo>
                        <a:pt x="0" y="2814"/>
                      </a:lnTo>
                      <a:lnTo>
                        <a:pt x="0" y="2825"/>
                      </a:lnTo>
                      <a:lnTo>
                        <a:pt x="3" y="2833"/>
                      </a:lnTo>
                      <a:lnTo>
                        <a:pt x="6" y="2842"/>
                      </a:lnTo>
                      <a:lnTo>
                        <a:pt x="12" y="2849"/>
                      </a:lnTo>
                      <a:lnTo>
                        <a:pt x="15" y="2853"/>
                      </a:lnTo>
                      <a:lnTo>
                        <a:pt x="19" y="2856"/>
                      </a:lnTo>
                      <a:lnTo>
                        <a:pt x="23" y="2859"/>
                      </a:lnTo>
                      <a:lnTo>
                        <a:pt x="28" y="2861"/>
                      </a:lnTo>
                      <a:lnTo>
                        <a:pt x="33" y="2863"/>
                      </a:lnTo>
                      <a:lnTo>
                        <a:pt x="38" y="2864"/>
                      </a:lnTo>
                      <a:lnTo>
                        <a:pt x="43" y="2865"/>
                      </a:lnTo>
                      <a:lnTo>
                        <a:pt x="50"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77" name="Freeform 170"/>
                <p:cNvSpPr>
                  <a:spLocks/>
                </p:cNvSpPr>
                <p:nvPr>
                  <p:custDataLst>
                    <p:tags r:id="rId124"/>
                  </p:custDataLst>
                </p:nvPr>
              </p:nvSpPr>
              <p:spPr bwMode="auto">
                <a:xfrm>
                  <a:off x="369" y="3627"/>
                  <a:ext cx="359" cy="117"/>
                </a:xfrm>
                <a:custGeom>
                  <a:avLst/>
                  <a:gdLst>
                    <a:gd name="T0" fmla="*/ 3 w 8246"/>
                    <a:gd name="T1" fmla="*/ 127 h 2915"/>
                    <a:gd name="T2" fmla="*/ 25 w 8246"/>
                    <a:gd name="T3" fmla="*/ 278 h 2915"/>
                    <a:gd name="T4" fmla="*/ 69 w 8246"/>
                    <a:gd name="T5" fmla="*/ 426 h 2915"/>
                    <a:gd name="T6" fmla="*/ 134 w 8246"/>
                    <a:gd name="T7" fmla="*/ 572 h 2915"/>
                    <a:gd name="T8" fmla="*/ 219 w 8246"/>
                    <a:gd name="T9" fmla="*/ 713 h 2915"/>
                    <a:gd name="T10" fmla="*/ 323 w 8246"/>
                    <a:gd name="T11" fmla="*/ 852 h 2915"/>
                    <a:gd name="T12" fmla="*/ 445 w 8246"/>
                    <a:gd name="T13" fmla="*/ 988 h 2915"/>
                    <a:gd name="T14" fmla="*/ 586 w 8246"/>
                    <a:gd name="T15" fmla="*/ 1120 h 2915"/>
                    <a:gd name="T16" fmla="*/ 744 w 8246"/>
                    <a:gd name="T17" fmla="*/ 1249 h 2915"/>
                    <a:gd name="T18" fmla="*/ 919 w 8246"/>
                    <a:gd name="T19" fmla="*/ 1373 h 2915"/>
                    <a:gd name="T20" fmla="*/ 1111 w 8246"/>
                    <a:gd name="T21" fmla="*/ 1494 h 2915"/>
                    <a:gd name="T22" fmla="*/ 1318 w 8246"/>
                    <a:gd name="T23" fmla="*/ 1611 h 2915"/>
                    <a:gd name="T24" fmla="*/ 1541 w 8246"/>
                    <a:gd name="T25" fmla="*/ 1725 h 2915"/>
                    <a:gd name="T26" fmla="*/ 1779 w 8246"/>
                    <a:gd name="T27" fmla="*/ 1833 h 2915"/>
                    <a:gd name="T28" fmla="*/ 2030 w 8246"/>
                    <a:gd name="T29" fmla="*/ 1939 h 2915"/>
                    <a:gd name="T30" fmla="*/ 2297 w 8246"/>
                    <a:gd name="T31" fmla="*/ 2039 h 2915"/>
                    <a:gd name="T32" fmla="*/ 2577 w 8246"/>
                    <a:gd name="T33" fmla="*/ 2135 h 2915"/>
                    <a:gd name="T34" fmla="*/ 2869 w 8246"/>
                    <a:gd name="T35" fmla="*/ 2227 h 2915"/>
                    <a:gd name="T36" fmla="*/ 3331 w 8246"/>
                    <a:gd name="T37" fmla="*/ 2354 h 2915"/>
                    <a:gd name="T38" fmla="*/ 3987 w 8246"/>
                    <a:gd name="T39" fmla="*/ 2506 h 2915"/>
                    <a:gd name="T40" fmla="*/ 4686 w 8246"/>
                    <a:gd name="T41" fmla="*/ 2637 h 2915"/>
                    <a:gd name="T42" fmla="*/ 5422 w 8246"/>
                    <a:gd name="T43" fmla="*/ 2744 h 2915"/>
                    <a:gd name="T44" fmla="*/ 6193 w 8246"/>
                    <a:gd name="T45" fmla="*/ 2826 h 2915"/>
                    <a:gd name="T46" fmla="*/ 6995 w 8246"/>
                    <a:gd name="T47" fmla="*/ 2882 h 2915"/>
                    <a:gd name="T48" fmla="*/ 7823 w 8246"/>
                    <a:gd name="T49" fmla="*/ 2911 h 2915"/>
                    <a:gd name="T50" fmla="*/ 8034 w 8246"/>
                    <a:gd name="T51" fmla="*/ 2814 h 2915"/>
                    <a:gd name="T52" fmla="*/ 7205 w 8246"/>
                    <a:gd name="T53" fmla="*/ 2792 h 2915"/>
                    <a:gd name="T54" fmla="*/ 6400 w 8246"/>
                    <a:gd name="T55" fmla="*/ 2742 h 2915"/>
                    <a:gd name="T56" fmla="*/ 5623 w 8246"/>
                    <a:gd name="T57" fmla="*/ 2667 h 2915"/>
                    <a:gd name="T58" fmla="*/ 4881 w 8246"/>
                    <a:gd name="T59" fmla="*/ 2566 h 2915"/>
                    <a:gd name="T60" fmla="*/ 4176 w 8246"/>
                    <a:gd name="T61" fmla="*/ 2442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2 h 2915"/>
                    <a:gd name="T76" fmla="*/ 1418 w 8246"/>
                    <a:gd name="T77" fmla="*/ 1551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8 h 2915"/>
                    <a:gd name="T94" fmla="*/ 175 w 8246"/>
                    <a:gd name="T95" fmla="*/ 425 h 2915"/>
                    <a:gd name="T96" fmla="*/ 131 w 8246"/>
                    <a:gd name="T97" fmla="*/ 290 h 2915"/>
                    <a:gd name="T98" fmla="*/ 106 w 8246"/>
                    <a:gd name="T99" fmla="*/ 154 h 2915"/>
                    <a:gd name="T100" fmla="*/ 100 w 8246"/>
                    <a:gd name="T101" fmla="*/ 50 h 2915"/>
                    <a:gd name="T102" fmla="*/ 98 w 8246"/>
                    <a:gd name="T103" fmla="*/ 33 h 2915"/>
                    <a:gd name="T104" fmla="*/ 88 w 8246"/>
                    <a:gd name="T105" fmla="*/ 16 h 2915"/>
                    <a:gd name="T106" fmla="*/ 60 w 8246"/>
                    <a:gd name="T107" fmla="*/ 0 h 2915"/>
                    <a:gd name="T108" fmla="*/ 23 w 8246"/>
                    <a:gd name="T109" fmla="*/ 8 h 2915"/>
                    <a:gd name="T110" fmla="*/ 6 w 8246"/>
                    <a:gd name="T111" fmla="*/ 24 h 2915"/>
                    <a:gd name="T112" fmla="*/ 0 w 8246"/>
                    <a:gd name="T113" fmla="*/ 44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0"/>
                      </a:moveTo>
                      <a:lnTo>
                        <a:pt x="0" y="50"/>
                      </a:lnTo>
                      <a:lnTo>
                        <a:pt x="1" y="88"/>
                      </a:lnTo>
                      <a:lnTo>
                        <a:pt x="3" y="127"/>
                      </a:lnTo>
                      <a:lnTo>
                        <a:pt x="6" y="165"/>
                      </a:lnTo>
                      <a:lnTo>
                        <a:pt x="11" y="202"/>
                      </a:lnTo>
                      <a:lnTo>
                        <a:pt x="18" y="240"/>
                      </a:lnTo>
                      <a:lnTo>
                        <a:pt x="25" y="278"/>
                      </a:lnTo>
                      <a:lnTo>
                        <a:pt x="34" y="315"/>
                      </a:lnTo>
                      <a:lnTo>
                        <a:pt x="44" y="352"/>
                      </a:lnTo>
                      <a:lnTo>
                        <a:pt x="56" y="390"/>
                      </a:lnTo>
                      <a:lnTo>
                        <a:pt x="69" y="426"/>
                      </a:lnTo>
                      <a:lnTo>
                        <a:pt x="83" y="463"/>
                      </a:lnTo>
                      <a:lnTo>
                        <a:pt x="99" y="499"/>
                      </a:lnTo>
                      <a:lnTo>
                        <a:pt x="115" y="535"/>
                      </a:lnTo>
                      <a:lnTo>
                        <a:pt x="134" y="572"/>
                      </a:lnTo>
                      <a:lnTo>
                        <a:pt x="154" y="608"/>
                      </a:lnTo>
                      <a:lnTo>
                        <a:pt x="174" y="643"/>
                      </a:lnTo>
                      <a:lnTo>
                        <a:pt x="196" y="678"/>
                      </a:lnTo>
                      <a:lnTo>
                        <a:pt x="219" y="713"/>
                      </a:lnTo>
                      <a:lnTo>
                        <a:pt x="243" y="749"/>
                      </a:lnTo>
                      <a:lnTo>
                        <a:pt x="268" y="784"/>
                      </a:lnTo>
                      <a:lnTo>
                        <a:pt x="295" y="818"/>
                      </a:lnTo>
                      <a:lnTo>
                        <a:pt x="323" y="852"/>
                      </a:lnTo>
                      <a:lnTo>
                        <a:pt x="351" y="887"/>
                      </a:lnTo>
                      <a:lnTo>
                        <a:pt x="381" y="920"/>
                      </a:lnTo>
                      <a:lnTo>
                        <a:pt x="413" y="955"/>
                      </a:lnTo>
                      <a:lnTo>
                        <a:pt x="445" y="988"/>
                      </a:lnTo>
                      <a:lnTo>
                        <a:pt x="479" y="1021"/>
                      </a:lnTo>
                      <a:lnTo>
                        <a:pt x="513" y="1054"/>
                      </a:lnTo>
                      <a:lnTo>
                        <a:pt x="549" y="1087"/>
                      </a:lnTo>
                      <a:lnTo>
                        <a:pt x="586" y="1120"/>
                      </a:lnTo>
                      <a:lnTo>
                        <a:pt x="624" y="1152"/>
                      </a:lnTo>
                      <a:lnTo>
                        <a:pt x="663" y="1184"/>
                      </a:lnTo>
                      <a:lnTo>
                        <a:pt x="703" y="1217"/>
                      </a:lnTo>
                      <a:lnTo>
                        <a:pt x="744" y="1249"/>
                      </a:lnTo>
                      <a:lnTo>
                        <a:pt x="786" y="1280"/>
                      </a:lnTo>
                      <a:lnTo>
                        <a:pt x="830" y="1311"/>
                      </a:lnTo>
                      <a:lnTo>
                        <a:pt x="874" y="1342"/>
                      </a:lnTo>
                      <a:lnTo>
                        <a:pt x="919" y="1373"/>
                      </a:lnTo>
                      <a:lnTo>
                        <a:pt x="966" y="1404"/>
                      </a:lnTo>
                      <a:lnTo>
                        <a:pt x="1013" y="1434"/>
                      </a:lnTo>
                      <a:lnTo>
                        <a:pt x="1062" y="1464"/>
                      </a:lnTo>
                      <a:lnTo>
                        <a:pt x="1111" y="1494"/>
                      </a:lnTo>
                      <a:lnTo>
                        <a:pt x="1162" y="1524"/>
                      </a:lnTo>
                      <a:lnTo>
                        <a:pt x="1212" y="1553"/>
                      </a:lnTo>
                      <a:lnTo>
                        <a:pt x="1265" y="1582"/>
                      </a:lnTo>
                      <a:lnTo>
                        <a:pt x="1318" y="1611"/>
                      </a:lnTo>
                      <a:lnTo>
                        <a:pt x="1373" y="1640"/>
                      </a:lnTo>
                      <a:lnTo>
                        <a:pt x="1428" y="1669"/>
                      </a:lnTo>
                      <a:lnTo>
                        <a:pt x="1484" y="1697"/>
                      </a:lnTo>
                      <a:lnTo>
                        <a:pt x="1541" y="1725"/>
                      </a:lnTo>
                      <a:lnTo>
                        <a:pt x="1600" y="1752"/>
                      </a:lnTo>
                      <a:lnTo>
                        <a:pt x="1658" y="1780"/>
                      </a:lnTo>
                      <a:lnTo>
                        <a:pt x="1718" y="1806"/>
                      </a:lnTo>
                      <a:lnTo>
                        <a:pt x="1779" y="1833"/>
                      </a:lnTo>
                      <a:lnTo>
                        <a:pt x="1841" y="1860"/>
                      </a:lnTo>
                      <a:lnTo>
                        <a:pt x="1904" y="1886"/>
                      </a:lnTo>
                      <a:lnTo>
                        <a:pt x="1967" y="1913"/>
                      </a:lnTo>
                      <a:lnTo>
                        <a:pt x="2030" y="1939"/>
                      </a:lnTo>
                      <a:lnTo>
                        <a:pt x="2096" y="1964"/>
                      </a:lnTo>
                      <a:lnTo>
                        <a:pt x="2162" y="1990"/>
                      </a:lnTo>
                      <a:lnTo>
                        <a:pt x="2229" y="2015"/>
                      </a:lnTo>
                      <a:lnTo>
                        <a:pt x="2297" y="2039"/>
                      </a:lnTo>
                      <a:lnTo>
                        <a:pt x="2365" y="2063"/>
                      </a:lnTo>
                      <a:lnTo>
                        <a:pt x="2436" y="2088"/>
                      </a:lnTo>
                      <a:lnTo>
                        <a:pt x="2506" y="2112"/>
                      </a:lnTo>
                      <a:lnTo>
                        <a:pt x="2577" y="2135"/>
                      </a:lnTo>
                      <a:lnTo>
                        <a:pt x="2649" y="2158"/>
                      </a:lnTo>
                      <a:lnTo>
                        <a:pt x="2721" y="2181"/>
                      </a:lnTo>
                      <a:lnTo>
                        <a:pt x="2794" y="2204"/>
                      </a:lnTo>
                      <a:lnTo>
                        <a:pt x="2869" y="2227"/>
                      </a:lnTo>
                      <a:lnTo>
                        <a:pt x="2944" y="2248"/>
                      </a:lnTo>
                      <a:lnTo>
                        <a:pt x="3020" y="2270"/>
                      </a:lnTo>
                      <a:lnTo>
                        <a:pt x="3173" y="2313"/>
                      </a:lnTo>
                      <a:lnTo>
                        <a:pt x="3331" y="2354"/>
                      </a:lnTo>
                      <a:lnTo>
                        <a:pt x="3491" y="2394"/>
                      </a:lnTo>
                      <a:lnTo>
                        <a:pt x="3653" y="2433"/>
                      </a:lnTo>
                      <a:lnTo>
                        <a:pt x="3819" y="2470"/>
                      </a:lnTo>
                      <a:lnTo>
                        <a:pt x="3987" y="2506"/>
                      </a:lnTo>
                      <a:lnTo>
                        <a:pt x="4158" y="2541"/>
                      </a:lnTo>
                      <a:lnTo>
                        <a:pt x="4331" y="2574"/>
                      </a:lnTo>
                      <a:lnTo>
                        <a:pt x="4507" y="2607"/>
                      </a:lnTo>
                      <a:lnTo>
                        <a:pt x="4686" y="2637"/>
                      </a:lnTo>
                      <a:lnTo>
                        <a:pt x="4866" y="2666"/>
                      </a:lnTo>
                      <a:lnTo>
                        <a:pt x="5049" y="2694"/>
                      </a:lnTo>
                      <a:lnTo>
                        <a:pt x="5235" y="2719"/>
                      </a:lnTo>
                      <a:lnTo>
                        <a:pt x="5422" y="2744"/>
                      </a:lnTo>
                      <a:lnTo>
                        <a:pt x="5612" y="2767"/>
                      </a:lnTo>
                      <a:lnTo>
                        <a:pt x="5804" y="2788"/>
                      </a:lnTo>
                      <a:lnTo>
                        <a:pt x="5998" y="2807"/>
                      </a:lnTo>
                      <a:lnTo>
                        <a:pt x="6193" y="2826"/>
                      </a:lnTo>
                      <a:lnTo>
                        <a:pt x="6391" y="2843"/>
                      </a:lnTo>
                      <a:lnTo>
                        <a:pt x="6591" y="2858"/>
                      </a:lnTo>
                      <a:lnTo>
                        <a:pt x="6792" y="2870"/>
                      </a:lnTo>
                      <a:lnTo>
                        <a:pt x="6995" y="2882"/>
                      </a:lnTo>
                      <a:lnTo>
                        <a:pt x="7200" y="2892"/>
                      </a:lnTo>
                      <a:lnTo>
                        <a:pt x="7407" y="2901"/>
                      </a:lnTo>
                      <a:lnTo>
                        <a:pt x="7614" y="2907"/>
                      </a:lnTo>
                      <a:lnTo>
                        <a:pt x="7823" y="2911"/>
                      </a:lnTo>
                      <a:lnTo>
                        <a:pt x="8034" y="2914"/>
                      </a:lnTo>
                      <a:lnTo>
                        <a:pt x="8246" y="2915"/>
                      </a:lnTo>
                      <a:lnTo>
                        <a:pt x="8246" y="2815"/>
                      </a:lnTo>
                      <a:lnTo>
                        <a:pt x="8034" y="2814"/>
                      </a:lnTo>
                      <a:lnTo>
                        <a:pt x="7825" y="2811"/>
                      </a:lnTo>
                      <a:lnTo>
                        <a:pt x="7617" y="2806"/>
                      </a:lnTo>
                      <a:lnTo>
                        <a:pt x="7410" y="2800"/>
                      </a:lnTo>
                      <a:lnTo>
                        <a:pt x="7205" y="2792"/>
                      </a:lnTo>
                      <a:lnTo>
                        <a:pt x="7000" y="2783"/>
                      </a:lnTo>
                      <a:lnTo>
                        <a:pt x="6798" y="2771"/>
                      </a:lnTo>
                      <a:lnTo>
                        <a:pt x="6597" y="2758"/>
                      </a:lnTo>
                      <a:lnTo>
                        <a:pt x="6400" y="2742"/>
                      </a:lnTo>
                      <a:lnTo>
                        <a:pt x="6203" y="2726"/>
                      </a:lnTo>
                      <a:lnTo>
                        <a:pt x="6008" y="2708"/>
                      </a:lnTo>
                      <a:lnTo>
                        <a:pt x="5814" y="2688"/>
                      </a:lnTo>
                      <a:lnTo>
                        <a:pt x="5623" y="2667"/>
                      </a:lnTo>
                      <a:lnTo>
                        <a:pt x="5435" y="2644"/>
                      </a:lnTo>
                      <a:lnTo>
                        <a:pt x="5248" y="2620"/>
                      </a:lnTo>
                      <a:lnTo>
                        <a:pt x="5064" y="2594"/>
                      </a:lnTo>
                      <a:lnTo>
                        <a:pt x="4881" y="2566"/>
                      </a:lnTo>
                      <a:lnTo>
                        <a:pt x="4702" y="2537"/>
                      </a:lnTo>
                      <a:lnTo>
                        <a:pt x="4524" y="2507"/>
                      </a:lnTo>
                      <a:lnTo>
                        <a:pt x="4350" y="2476"/>
                      </a:lnTo>
                      <a:lnTo>
                        <a:pt x="4176" y="2442"/>
                      </a:lnTo>
                      <a:lnTo>
                        <a:pt x="4007" y="2408"/>
                      </a:lnTo>
                      <a:lnTo>
                        <a:pt x="3839" y="2373"/>
                      </a:lnTo>
                      <a:lnTo>
                        <a:pt x="3675" y="2335"/>
                      </a:lnTo>
                      <a:lnTo>
                        <a:pt x="3514" y="2297"/>
                      </a:lnTo>
                      <a:lnTo>
                        <a:pt x="3355" y="2257"/>
                      </a:lnTo>
                      <a:lnTo>
                        <a:pt x="3199" y="2215"/>
                      </a:lnTo>
                      <a:lnTo>
                        <a:pt x="3047" y="2174"/>
                      </a:lnTo>
                      <a:lnTo>
                        <a:pt x="2971" y="2152"/>
                      </a:lnTo>
                      <a:lnTo>
                        <a:pt x="2897" y="2130"/>
                      </a:lnTo>
                      <a:lnTo>
                        <a:pt x="2824" y="2108"/>
                      </a:lnTo>
                      <a:lnTo>
                        <a:pt x="2751" y="2086"/>
                      </a:lnTo>
                      <a:lnTo>
                        <a:pt x="2679" y="2063"/>
                      </a:lnTo>
                      <a:lnTo>
                        <a:pt x="2608" y="2039"/>
                      </a:lnTo>
                      <a:lnTo>
                        <a:pt x="2538" y="2017"/>
                      </a:lnTo>
                      <a:lnTo>
                        <a:pt x="2467" y="1993"/>
                      </a:lnTo>
                      <a:lnTo>
                        <a:pt x="2398" y="1969"/>
                      </a:lnTo>
                      <a:lnTo>
                        <a:pt x="2330" y="1945"/>
                      </a:lnTo>
                      <a:lnTo>
                        <a:pt x="2263" y="1920"/>
                      </a:lnTo>
                      <a:lnTo>
                        <a:pt x="2197" y="1895"/>
                      </a:lnTo>
                      <a:lnTo>
                        <a:pt x="2132" y="1871"/>
                      </a:lnTo>
                      <a:lnTo>
                        <a:pt x="2068" y="1845"/>
                      </a:lnTo>
                      <a:lnTo>
                        <a:pt x="2004" y="1820"/>
                      </a:lnTo>
                      <a:lnTo>
                        <a:pt x="1941" y="1794"/>
                      </a:lnTo>
                      <a:lnTo>
                        <a:pt x="1880" y="1768"/>
                      </a:lnTo>
                      <a:lnTo>
                        <a:pt x="1819" y="1741"/>
                      </a:lnTo>
                      <a:lnTo>
                        <a:pt x="1758" y="1715"/>
                      </a:lnTo>
                      <a:lnTo>
                        <a:pt x="1700" y="1688"/>
                      </a:lnTo>
                      <a:lnTo>
                        <a:pt x="1642" y="1662"/>
                      </a:lnTo>
                      <a:lnTo>
                        <a:pt x="1584" y="1634"/>
                      </a:lnTo>
                      <a:lnTo>
                        <a:pt x="1529" y="1607"/>
                      </a:lnTo>
                      <a:lnTo>
                        <a:pt x="1473" y="1579"/>
                      </a:lnTo>
                      <a:lnTo>
                        <a:pt x="1418" y="1551"/>
                      </a:lnTo>
                      <a:lnTo>
                        <a:pt x="1366" y="1523"/>
                      </a:lnTo>
                      <a:lnTo>
                        <a:pt x="1313" y="1494"/>
                      </a:lnTo>
                      <a:lnTo>
                        <a:pt x="1262" y="1466"/>
                      </a:lnTo>
                      <a:lnTo>
                        <a:pt x="1211" y="1437"/>
                      </a:lnTo>
                      <a:lnTo>
                        <a:pt x="1162" y="1408"/>
                      </a:lnTo>
                      <a:lnTo>
                        <a:pt x="1113" y="1379"/>
                      </a:lnTo>
                      <a:lnTo>
                        <a:pt x="1066" y="1349"/>
                      </a:lnTo>
                      <a:lnTo>
                        <a:pt x="1020" y="1320"/>
                      </a:lnTo>
                      <a:lnTo>
                        <a:pt x="975" y="1290"/>
                      </a:lnTo>
                      <a:lnTo>
                        <a:pt x="931" y="1260"/>
                      </a:lnTo>
                      <a:lnTo>
                        <a:pt x="887" y="1229"/>
                      </a:lnTo>
                      <a:lnTo>
                        <a:pt x="845" y="1199"/>
                      </a:lnTo>
                      <a:lnTo>
                        <a:pt x="804" y="1168"/>
                      </a:lnTo>
                      <a:lnTo>
                        <a:pt x="765" y="1138"/>
                      </a:lnTo>
                      <a:lnTo>
                        <a:pt x="726" y="1107"/>
                      </a:lnTo>
                      <a:lnTo>
                        <a:pt x="688" y="1076"/>
                      </a:lnTo>
                      <a:lnTo>
                        <a:pt x="651" y="1044"/>
                      </a:lnTo>
                      <a:lnTo>
                        <a:pt x="616" y="1013"/>
                      </a:lnTo>
                      <a:lnTo>
                        <a:pt x="581" y="981"/>
                      </a:lnTo>
                      <a:lnTo>
                        <a:pt x="548" y="949"/>
                      </a:lnTo>
                      <a:lnTo>
                        <a:pt x="516" y="917"/>
                      </a:lnTo>
                      <a:lnTo>
                        <a:pt x="485" y="885"/>
                      </a:lnTo>
                      <a:lnTo>
                        <a:pt x="456" y="853"/>
                      </a:lnTo>
                      <a:lnTo>
                        <a:pt x="427" y="821"/>
                      </a:lnTo>
                      <a:lnTo>
                        <a:pt x="400" y="789"/>
                      </a:lnTo>
                      <a:lnTo>
                        <a:pt x="373" y="756"/>
                      </a:lnTo>
                      <a:lnTo>
                        <a:pt x="348" y="724"/>
                      </a:lnTo>
                      <a:lnTo>
                        <a:pt x="324" y="691"/>
                      </a:lnTo>
                      <a:lnTo>
                        <a:pt x="301" y="658"/>
                      </a:lnTo>
                      <a:lnTo>
                        <a:pt x="280" y="624"/>
                      </a:lnTo>
                      <a:lnTo>
                        <a:pt x="260" y="591"/>
                      </a:lnTo>
                      <a:lnTo>
                        <a:pt x="240" y="558"/>
                      </a:lnTo>
                      <a:lnTo>
                        <a:pt x="223" y="525"/>
                      </a:lnTo>
                      <a:lnTo>
                        <a:pt x="205" y="492"/>
                      </a:lnTo>
                      <a:lnTo>
                        <a:pt x="190" y="459"/>
                      </a:lnTo>
                      <a:lnTo>
                        <a:pt x="175" y="425"/>
                      </a:lnTo>
                      <a:lnTo>
                        <a:pt x="163" y="392"/>
                      </a:lnTo>
                      <a:lnTo>
                        <a:pt x="150" y="357"/>
                      </a:lnTo>
                      <a:lnTo>
                        <a:pt x="140" y="324"/>
                      </a:lnTo>
                      <a:lnTo>
                        <a:pt x="131" y="290"/>
                      </a:lnTo>
                      <a:lnTo>
                        <a:pt x="123" y="256"/>
                      </a:lnTo>
                      <a:lnTo>
                        <a:pt x="115" y="222"/>
                      </a:lnTo>
                      <a:lnTo>
                        <a:pt x="110" y="188"/>
                      </a:lnTo>
                      <a:lnTo>
                        <a:pt x="106" y="154"/>
                      </a:lnTo>
                      <a:lnTo>
                        <a:pt x="102" y="119"/>
                      </a:lnTo>
                      <a:lnTo>
                        <a:pt x="101" y="85"/>
                      </a:lnTo>
                      <a:lnTo>
                        <a:pt x="100" y="50"/>
                      </a:lnTo>
                      <a:lnTo>
                        <a:pt x="100" y="50"/>
                      </a:lnTo>
                      <a:lnTo>
                        <a:pt x="100" y="50"/>
                      </a:lnTo>
                      <a:lnTo>
                        <a:pt x="100" y="44"/>
                      </a:lnTo>
                      <a:lnTo>
                        <a:pt x="99" y="39"/>
                      </a:lnTo>
                      <a:lnTo>
                        <a:pt x="98" y="33"/>
                      </a:lnTo>
                      <a:lnTo>
                        <a:pt x="96" y="28"/>
                      </a:lnTo>
                      <a:lnTo>
                        <a:pt x="94" y="24"/>
                      </a:lnTo>
                      <a:lnTo>
                        <a:pt x="91" y="20"/>
                      </a:lnTo>
                      <a:lnTo>
                        <a:pt x="88" y="16"/>
                      </a:lnTo>
                      <a:lnTo>
                        <a:pt x="85" y="13"/>
                      </a:lnTo>
                      <a:lnTo>
                        <a:pt x="77" y="8"/>
                      </a:lnTo>
                      <a:lnTo>
                        <a:pt x="68" y="3"/>
                      </a:lnTo>
                      <a:lnTo>
                        <a:pt x="60" y="0"/>
                      </a:lnTo>
                      <a:lnTo>
                        <a:pt x="51" y="0"/>
                      </a:lnTo>
                      <a:lnTo>
                        <a:pt x="40" y="0"/>
                      </a:lnTo>
                      <a:lnTo>
                        <a:pt x="32" y="3"/>
                      </a:lnTo>
                      <a:lnTo>
                        <a:pt x="23" y="8"/>
                      </a:lnTo>
                      <a:lnTo>
                        <a:pt x="15" y="13"/>
                      </a:lnTo>
                      <a:lnTo>
                        <a:pt x="12" y="16"/>
                      </a:lnTo>
                      <a:lnTo>
                        <a:pt x="9" y="20"/>
                      </a:lnTo>
                      <a:lnTo>
                        <a:pt x="6" y="24"/>
                      </a:lnTo>
                      <a:lnTo>
                        <a:pt x="4" y="28"/>
                      </a:lnTo>
                      <a:lnTo>
                        <a:pt x="2" y="33"/>
                      </a:lnTo>
                      <a:lnTo>
                        <a:pt x="1" y="39"/>
                      </a:lnTo>
                      <a:lnTo>
                        <a:pt x="0" y="44"/>
                      </a:lnTo>
                      <a:lnTo>
                        <a:pt x="0" y="5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78" name="Freeform 171"/>
                <p:cNvSpPr>
                  <a:spLocks/>
                </p:cNvSpPr>
                <p:nvPr>
                  <p:custDataLst>
                    <p:tags r:id="rId125"/>
                  </p:custDataLst>
                </p:nvPr>
              </p:nvSpPr>
              <p:spPr bwMode="auto">
                <a:xfrm>
                  <a:off x="369" y="3515"/>
                  <a:ext cx="361" cy="114"/>
                </a:xfrm>
                <a:custGeom>
                  <a:avLst/>
                  <a:gdLst>
                    <a:gd name="T0" fmla="*/ 7823 w 8296"/>
                    <a:gd name="T1" fmla="*/ 3 h 2864"/>
                    <a:gd name="T2" fmla="*/ 6995 w 8296"/>
                    <a:gd name="T3" fmla="*/ 32 h 2864"/>
                    <a:gd name="T4" fmla="*/ 6193 w 8296"/>
                    <a:gd name="T5" fmla="*/ 88 h 2864"/>
                    <a:gd name="T6" fmla="*/ 5422 w 8296"/>
                    <a:gd name="T7" fmla="*/ 171 h 2864"/>
                    <a:gd name="T8" fmla="*/ 4686 w 8296"/>
                    <a:gd name="T9" fmla="*/ 279 h 2864"/>
                    <a:gd name="T10" fmla="*/ 3987 w 8296"/>
                    <a:gd name="T11" fmla="*/ 409 h 2864"/>
                    <a:gd name="T12" fmla="*/ 3331 w 8296"/>
                    <a:gd name="T13" fmla="*/ 561 h 2864"/>
                    <a:gd name="T14" fmla="*/ 2721 w 8296"/>
                    <a:gd name="T15" fmla="*/ 734 h 2864"/>
                    <a:gd name="T16" fmla="*/ 2436 w 8296"/>
                    <a:gd name="T17" fmla="*/ 827 h 2864"/>
                    <a:gd name="T18" fmla="*/ 2162 w 8296"/>
                    <a:gd name="T19" fmla="*/ 925 h 2864"/>
                    <a:gd name="T20" fmla="*/ 1904 w 8296"/>
                    <a:gd name="T21" fmla="*/ 1028 h 2864"/>
                    <a:gd name="T22" fmla="*/ 1658 w 8296"/>
                    <a:gd name="T23" fmla="*/ 1136 h 2864"/>
                    <a:gd name="T24" fmla="*/ 1428 w 8296"/>
                    <a:gd name="T25" fmla="*/ 1246 h 2864"/>
                    <a:gd name="T26" fmla="*/ 1212 w 8296"/>
                    <a:gd name="T27" fmla="*/ 1361 h 2864"/>
                    <a:gd name="T28" fmla="*/ 1013 w 8296"/>
                    <a:gd name="T29" fmla="*/ 1481 h 2864"/>
                    <a:gd name="T30" fmla="*/ 830 w 8296"/>
                    <a:gd name="T31" fmla="*/ 1603 h 2864"/>
                    <a:gd name="T32" fmla="*/ 663 w 8296"/>
                    <a:gd name="T33" fmla="*/ 1730 h 2864"/>
                    <a:gd name="T34" fmla="*/ 513 w 8296"/>
                    <a:gd name="T35" fmla="*/ 1860 h 2864"/>
                    <a:gd name="T36" fmla="*/ 381 w 8296"/>
                    <a:gd name="T37" fmla="*/ 1994 h 2864"/>
                    <a:gd name="T38" fmla="*/ 268 w 8296"/>
                    <a:gd name="T39" fmla="*/ 2131 h 2864"/>
                    <a:gd name="T40" fmla="*/ 174 w 8296"/>
                    <a:gd name="T41" fmla="*/ 2272 h 2864"/>
                    <a:gd name="T42" fmla="*/ 99 w 8296"/>
                    <a:gd name="T43" fmla="*/ 2416 h 2864"/>
                    <a:gd name="T44" fmla="*/ 44 w 8296"/>
                    <a:gd name="T45" fmla="*/ 2563 h 2864"/>
                    <a:gd name="T46" fmla="*/ 11 w 8296"/>
                    <a:gd name="T47" fmla="*/ 2712 h 2864"/>
                    <a:gd name="T48" fmla="*/ 0 w 8296"/>
                    <a:gd name="T49" fmla="*/ 2864 h 2864"/>
                    <a:gd name="T50" fmla="*/ 106 w 8296"/>
                    <a:gd name="T51" fmla="*/ 2762 h 2864"/>
                    <a:gd name="T52" fmla="*/ 131 w 8296"/>
                    <a:gd name="T53" fmla="*/ 2625 h 2864"/>
                    <a:gd name="T54" fmla="*/ 175 w 8296"/>
                    <a:gd name="T55" fmla="*/ 2490 h 2864"/>
                    <a:gd name="T56" fmla="*/ 240 w 8296"/>
                    <a:gd name="T57" fmla="*/ 2356 h 2864"/>
                    <a:gd name="T58" fmla="*/ 324 w 8296"/>
                    <a:gd name="T59" fmla="*/ 2224 h 2864"/>
                    <a:gd name="T60" fmla="*/ 427 w 8296"/>
                    <a:gd name="T61" fmla="*/ 2094 h 2864"/>
                    <a:gd name="T62" fmla="*/ 548 w 8296"/>
                    <a:gd name="T63" fmla="*/ 1966 h 2864"/>
                    <a:gd name="T64" fmla="*/ 688 w 8296"/>
                    <a:gd name="T65" fmla="*/ 1839 h 2864"/>
                    <a:gd name="T66" fmla="*/ 845 w 8296"/>
                    <a:gd name="T67" fmla="*/ 1716 h 2864"/>
                    <a:gd name="T68" fmla="*/ 1020 w 8296"/>
                    <a:gd name="T69" fmla="*/ 1595 h 2864"/>
                    <a:gd name="T70" fmla="*/ 1211 w 8296"/>
                    <a:gd name="T71" fmla="*/ 1478 h 2864"/>
                    <a:gd name="T72" fmla="*/ 1418 w 8296"/>
                    <a:gd name="T73" fmla="*/ 1364 h 2864"/>
                    <a:gd name="T74" fmla="*/ 1642 w 8296"/>
                    <a:gd name="T75" fmla="*/ 1254 h 2864"/>
                    <a:gd name="T76" fmla="*/ 1880 w 8296"/>
                    <a:gd name="T77" fmla="*/ 1147 h 2864"/>
                    <a:gd name="T78" fmla="*/ 2132 w 8296"/>
                    <a:gd name="T79" fmla="*/ 1044 h 2864"/>
                    <a:gd name="T80" fmla="*/ 2398 w 8296"/>
                    <a:gd name="T81" fmla="*/ 946 h 2864"/>
                    <a:gd name="T82" fmla="*/ 2679 w 8296"/>
                    <a:gd name="T83" fmla="*/ 852 h 2864"/>
                    <a:gd name="T84" fmla="*/ 3199 w 8296"/>
                    <a:gd name="T85" fmla="*/ 699 h 2864"/>
                    <a:gd name="T86" fmla="*/ 3839 w 8296"/>
                    <a:gd name="T87" fmla="*/ 542 h 2864"/>
                    <a:gd name="T88" fmla="*/ 4524 w 8296"/>
                    <a:gd name="T89" fmla="*/ 408 h 2864"/>
                    <a:gd name="T90" fmla="*/ 5248 w 8296"/>
                    <a:gd name="T91" fmla="*/ 295 h 2864"/>
                    <a:gd name="T92" fmla="*/ 6008 w 8296"/>
                    <a:gd name="T93" fmla="*/ 207 h 2864"/>
                    <a:gd name="T94" fmla="*/ 6798 w 8296"/>
                    <a:gd name="T95" fmla="*/ 144 h 2864"/>
                    <a:gd name="T96" fmla="*/ 7617 w 8296"/>
                    <a:gd name="T97" fmla="*/ 108 h 2864"/>
                    <a:gd name="T98" fmla="*/ 8246 w 8296"/>
                    <a:gd name="T99" fmla="*/ 100 h 2864"/>
                    <a:gd name="T100" fmla="*/ 8263 w 8296"/>
                    <a:gd name="T101" fmla="*/ 97 h 2864"/>
                    <a:gd name="T102" fmla="*/ 8280 w 8296"/>
                    <a:gd name="T103" fmla="*/ 88 h 2864"/>
                    <a:gd name="T104" fmla="*/ 8295 w 8296"/>
                    <a:gd name="T105" fmla="*/ 59 h 2864"/>
                    <a:gd name="T106" fmla="*/ 8289 w 8296"/>
                    <a:gd name="T107" fmla="*/ 23 h 2864"/>
                    <a:gd name="T108" fmla="*/ 8272 w 8296"/>
                    <a:gd name="T109" fmla="*/ 6 h 2864"/>
                    <a:gd name="T110" fmla="*/ 8252 w 8296"/>
                    <a:gd name="T111" fmla="*/ 0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4">
                      <a:moveTo>
                        <a:pt x="8246" y="0"/>
                      </a:moveTo>
                      <a:lnTo>
                        <a:pt x="8246" y="0"/>
                      </a:lnTo>
                      <a:lnTo>
                        <a:pt x="8034" y="0"/>
                      </a:lnTo>
                      <a:lnTo>
                        <a:pt x="7823" y="3"/>
                      </a:lnTo>
                      <a:lnTo>
                        <a:pt x="7614" y="8"/>
                      </a:lnTo>
                      <a:lnTo>
                        <a:pt x="7407" y="15"/>
                      </a:lnTo>
                      <a:lnTo>
                        <a:pt x="7200" y="23"/>
                      </a:lnTo>
                      <a:lnTo>
                        <a:pt x="6995" y="32"/>
                      </a:lnTo>
                      <a:lnTo>
                        <a:pt x="6792" y="44"/>
                      </a:lnTo>
                      <a:lnTo>
                        <a:pt x="6591" y="57"/>
                      </a:lnTo>
                      <a:lnTo>
                        <a:pt x="6391" y="72"/>
                      </a:lnTo>
                      <a:lnTo>
                        <a:pt x="6193" y="88"/>
                      </a:lnTo>
                      <a:lnTo>
                        <a:pt x="5998" y="107"/>
                      </a:lnTo>
                      <a:lnTo>
                        <a:pt x="5804" y="126"/>
                      </a:lnTo>
                      <a:lnTo>
                        <a:pt x="5612" y="148"/>
                      </a:lnTo>
                      <a:lnTo>
                        <a:pt x="5422" y="171"/>
                      </a:lnTo>
                      <a:lnTo>
                        <a:pt x="5235" y="196"/>
                      </a:lnTo>
                      <a:lnTo>
                        <a:pt x="5049" y="222"/>
                      </a:lnTo>
                      <a:lnTo>
                        <a:pt x="4866" y="250"/>
                      </a:lnTo>
                      <a:lnTo>
                        <a:pt x="4686" y="279"/>
                      </a:lnTo>
                      <a:lnTo>
                        <a:pt x="4507" y="309"/>
                      </a:lnTo>
                      <a:lnTo>
                        <a:pt x="4331" y="341"/>
                      </a:lnTo>
                      <a:lnTo>
                        <a:pt x="4158" y="374"/>
                      </a:lnTo>
                      <a:lnTo>
                        <a:pt x="3987" y="409"/>
                      </a:lnTo>
                      <a:lnTo>
                        <a:pt x="3819" y="444"/>
                      </a:lnTo>
                      <a:lnTo>
                        <a:pt x="3653" y="482"/>
                      </a:lnTo>
                      <a:lnTo>
                        <a:pt x="3491" y="521"/>
                      </a:lnTo>
                      <a:lnTo>
                        <a:pt x="3331" y="561"/>
                      </a:lnTo>
                      <a:lnTo>
                        <a:pt x="3173" y="602"/>
                      </a:lnTo>
                      <a:lnTo>
                        <a:pt x="3020" y="645"/>
                      </a:lnTo>
                      <a:lnTo>
                        <a:pt x="2869" y="688"/>
                      </a:lnTo>
                      <a:lnTo>
                        <a:pt x="2721" y="734"/>
                      </a:lnTo>
                      <a:lnTo>
                        <a:pt x="2649" y="757"/>
                      </a:lnTo>
                      <a:lnTo>
                        <a:pt x="2577" y="779"/>
                      </a:lnTo>
                      <a:lnTo>
                        <a:pt x="2506" y="803"/>
                      </a:lnTo>
                      <a:lnTo>
                        <a:pt x="2436" y="827"/>
                      </a:lnTo>
                      <a:lnTo>
                        <a:pt x="2365" y="851"/>
                      </a:lnTo>
                      <a:lnTo>
                        <a:pt x="2297" y="876"/>
                      </a:lnTo>
                      <a:lnTo>
                        <a:pt x="2229" y="901"/>
                      </a:lnTo>
                      <a:lnTo>
                        <a:pt x="2162" y="925"/>
                      </a:lnTo>
                      <a:lnTo>
                        <a:pt x="2096" y="950"/>
                      </a:lnTo>
                      <a:lnTo>
                        <a:pt x="2030" y="976"/>
                      </a:lnTo>
                      <a:lnTo>
                        <a:pt x="1967" y="1002"/>
                      </a:lnTo>
                      <a:lnTo>
                        <a:pt x="1904" y="1028"/>
                      </a:lnTo>
                      <a:lnTo>
                        <a:pt x="1841" y="1055"/>
                      </a:lnTo>
                      <a:lnTo>
                        <a:pt x="1779" y="1081"/>
                      </a:lnTo>
                      <a:lnTo>
                        <a:pt x="1718" y="1108"/>
                      </a:lnTo>
                      <a:lnTo>
                        <a:pt x="1658" y="1136"/>
                      </a:lnTo>
                      <a:lnTo>
                        <a:pt x="1600" y="1162"/>
                      </a:lnTo>
                      <a:lnTo>
                        <a:pt x="1541" y="1190"/>
                      </a:lnTo>
                      <a:lnTo>
                        <a:pt x="1484" y="1218"/>
                      </a:lnTo>
                      <a:lnTo>
                        <a:pt x="1428" y="1246"/>
                      </a:lnTo>
                      <a:lnTo>
                        <a:pt x="1373" y="1275"/>
                      </a:lnTo>
                      <a:lnTo>
                        <a:pt x="1318" y="1303"/>
                      </a:lnTo>
                      <a:lnTo>
                        <a:pt x="1265" y="1332"/>
                      </a:lnTo>
                      <a:lnTo>
                        <a:pt x="1212" y="1361"/>
                      </a:lnTo>
                      <a:lnTo>
                        <a:pt x="1162" y="1391"/>
                      </a:lnTo>
                      <a:lnTo>
                        <a:pt x="1111" y="1420"/>
                      </a:lnTo>
                      <a:lnTo>
                        <a:pt x="1062" y="1450"/>
                      </a:lnTo>
                      <a:lnTo>
                        <a:pt x="1013" y="1481"/>
                      </a:lnTo>
                      <a:lnTo>
                        <a:pt x="966" y="1511"/>
                      </a:lnTo>
                      <a:lnTo>
                        <a:pt x="919" y="1542"/>
                      </a:lnTo>
                      <a:lnTo>
                        <a:pt x="874" y="1572"/>
                      </a:lnTo>
                      <a:lnTo>
                        <a:pt x="830" y="1603"/>
                      </a:lnTo>
                      <a:lnTo>
                        <a:pt x="786" y="1635"/>
                      </a:lnTo>
                      <a:lnTo>
                        <a:pt x="744" y="1667"/>
                      </a:lnTo>
                      <a:lnTo>
                        <a:pt x="703" y="1699"/>
                      </a:lnTo>
                      <a:lnTo>
                        <a:pt x="663" y="1730"/>
                      </a:lnTo>
                      <a:lnTo>
                        <a:pt x="624" y="1763"/>
                      </a:lnTo>
                      <a:lnTo>
                        <a:pt x="586" y="1795"/>
                      </a:lnTo>
                      <a:lnTo>
                        <a:pt x="549" y="1828"/>
                      </a:lnTo>
                      <a:lnTo>
                        <a:pt x="513" y="1860"/>
                      </a:lnTo>
                      <a:lnTo>
                        <a:pt x="479" y="1893"/>
                      </a:lnTo>
                      <a:lnTo>
                        <a:pt x="445" y="1926"/>
                      </a:lnTo>
                      <a:lnTo>
                        <a:pt x="413" y="1960"/>
                      </a:lnTo>
                      <a:lnTo>
                        <a:pt x="381" y="1994"/>
                      </a:lnTo>
                      <a:lnTo>
                        <a:pt x="351" y="2028"/>
                      </a:lnTo>
                      <a:lnTo>
                        <a:pt x="323" y="2062"/>
                      </a:lnTo>
                      <a:lnTo>
                        <a:pt x="295" y="2097"/>
                      </a:lnTo>
                      <a:lnTo>
                        <a:pt x="268" y="2131"/>
                      </a:lnTo>
                      <a:lnTo>
                        <a:pt x="243" y="2166"/>
                      </a:lnTo>
                      <a:lnTo>
                        <a:pt x="219" y="2201"/>
                      </a:lnTo>
                      <a:lnTo>
                        <a:pt x="196" y="2236"/>
                      </a:lnTo>
                      <a:lnTo>
                        <a:pt x="174" y="2272"/>
                      </a:lnTo>
                      <a:lnTo>
                        <a:pt x="154" y="2307"/>
                      </a:lnTo>
                      <a:lnTo>
                        <a:pt x="134" y="2343"/>
                      </a:lnTo>
                      <a:lnTo>
                        <a:pt x="115" y="2380"/>
                      </a:lnTo>
                      <a:lnTo>
                        <a:pt x="99" y="2416"/>
                      </a:lnTo>
                      <a:lnTo>
                        <a:pt x="83" y="2452"/>
                      </a:lnTo>
                      <a:lnTo>
                        <a:pt x="69" y="2488"/>
                      </a:lnTo>
                      <a:lnTo>
                        <a:pt x="56" y="2526"/>
                      </a:lnTo>
                      <a:lnTo>
                        <a:pt x="44" y="2563"/>
                      </a:lnTo>
                      <a:lnTo>
                        <a:pt x="34" y="2600"/>
                      </a:lnTo>
                      <a:lnTo>
                        <a:pt x="25" y="2637"/>
                      </a:lnTo>
                      <a:lnTo>
                        <a:pt x="18" y="2675"/>
                      </a:lnTo>
                      <a:lnTo>
                        <a:pt x="11" y="2712"/>
                      </a:lnTo>
                      <a:lnTo>
                        <a:pt x="6" y="2750"/>
                      </a:lnTo>
                      <a:lnTo>
                        <a:pt x="3" y="2788"/>
                      </a:lnTo>
                      <a:lnTo>
                        <a:pt x="1" y="2826"/>
                      </a:lnTo>
                      <a:lnTo>
                        <a:pt x="0" y="2864"/>
                      </a:lnTo>
                      <a:lnTo>
                        <a:pt x="100" y="2864"/>
                      </a:lnTo>
                      <a:lnTo>
                        <a:pt x="101" y="2830"/>
                      </a:lnTo>
                      <a:lnTo>
                        <a:pt x="102" y="2796"/>
                      </a:lnTo>
                      <a:lnTo>
                        <a:pt x="106" y="2762"/>
                      </a:lnTo>
                      <a:lnTo>
                        <a:pt x="110" y="2726"/>
                      </a:lnTo>
                      <a:lnTo>
                        <a:pt x="115" y="2693"/>
                      </a:lnTo>
                      <a:lnTo>
                        <a:pt x="123" y="2659"/>
                      </a:lnTo>
                      <a:lnTo>
                        <a:pt x="131" y="2625"/>
                      </a:lnTo>
                      <a:lnTo>
                        <a:pt x="140" y="2591"/>
                      </a:lnTo>
                      <a:lnTo>
                        <a:pt x="150" y="2558"/>
                      </a:lnTo>
                      <a:lnTo>
                        <a:pt x="163" y="2524"/>
                      </a:lnTo>
                      <a:lnTo>
                        <a:pt x="175" y="2490"/>
                      </a:lnTo>
                      <a:lnTo>
                        <a:pt x="190" y="2456"/>
                      </a:lnTo>
                      <a:lnTo>
                        <a:pt x="205" y="2423"/>
                      </a:lnTo>
                      <a:lnTo>
                        <a:pt x="223" y="2390"/>
                      </a:lnTo>
                      <a:lnTo>
                        <a:pt x="240" y="2356"/>
                      </a:lnTo>
                      <a:lnTo>
                        <a:pt x="260" y="2323"/>
                      </a:lnTo>
                      <a:lnTo>
                        <a:pt x="279" y="2290"/>
                      </a:lnTo>
                      <a:lnTo>
                        <a:pt x="301" y="2258"/>
                      </a:lnTo>
                      <a:lnTo>
                        <a:pt x="324" y="2224"/>
                      </a:lnTo>
                      <a:lnTo>
                        <a:pt x="348" y="2191"/>
                      </a:lnTo>
                      <a:lnTo>
                        <a:pt x="373" y="2159"/>
                      </a:lnTo>
                      <a:lnTo>
                        <a:pt x="400" y="2126"/>
                      </a:lnTo>
                      <a:lnTo>
                        <a:pt x="427" y="2094"/>
                      </a:lnTo>
                      <a:lnTo>
                        <a:pt x="456" y="2062"/>
                      </a:lnTo>
                      <a:lnTo>
                        <a:pt x="485" y="2030"/>
                      </a:lnTo>
                      <a:lnTo>
                        <a:pt x="516" y="1998"/>
                      </a:lnTo>
                      <a:lnTo>
                        <a:pt x="548" y="1966"/>
                      </a:lnTo>
                      <a:lnTo>
                        <a:pt x="581" y="1934"/>
                      </a:lnTo>
                      <a:lnTo>
                        <a:pt x="616" y="1902"/>
                      </a:lnTo>
                      <a:lnTo>
                        <a:pt x="651" y="1870"/>
                      </a:lnTo>
                      <a:lnTo>
                        <a:pt x="688" y="1839"/>
                      </a:lnTo>
                      <a:lnTo>
                        <a:pt x="726" y="1808"/>
                      </a:lnTo>
                      <a:lnTo>
                        <a:pt x="765" y="1777"/>
                      </a:lnTo>
                      <a:lnTo>
                        <a:pt x="804" y="1746"/>
                      </a:lnTo>
                      <a:lnTo>
                        <a:pt x="845" y="1716"/>
                      </a:lnTo>
                      <a:lnTo>
                        <a:pt x="887" y="1685"/>
                      </a:lnTo>
                      <a:lnTo>
                        <a:pt x="931" y="1655"/>
                      </a:lnTo>
                      <a:lnTo>
                        <a:pt x="975" y="1625"/>
                      </a:lnTo>
                      <a:lnTo>
                        <a:pt x="1020" y="1595"/>
                      </a:lnTo>
                      <a:lnTo>
                        <a:pt x="1066" y="1565"/>
                      </a:lnTo>
                      <a:lnTo>
                        <a:pt x="1113" y="1536"/>
                      </a:lnTo>
                      <a:lnTo>
                        <a:pt x="1162" y="1507"/>
                      </a:lnTo>
                      <a:lnTo>
                        <a:pt x="1211" y="1478"/>
                      </a:lnTo>
                      <a:lnTo>
                        <a:pt x="1262" y="1449"/>
                      </a:lnTo>
                      <a:lnTo>
                        <a:pt x="1313" y="1420"/>
                      </a:lnTo>
                      <a:lnTo>
                        <a:pt x="1366" y="1392"/>
                      </a:lnTo>
                      <a:lnTo>
                        <a:pt x="1418" y="1364"/>
                      </a:lnTo>
                      <a:lnTo>
                        <a:pt x="1473" y="1336"/>
                      </a:lnTo>
                      <a:lnTo>
                        <a:pt x="1529" y="1308"/>
                      </a:lnTo>
                      <a:lnTo>
                        <a:pt x="1584" y="1280"/>
                      </a:lnTo>
                      <a:lnTo>
                        <a:pt x="1642" y="1254"/>
                      </a:lnTo>
                      <a:lnTo>
                        <a:pt x="1700" y="1227"/>
                      </a:lnTo>
                      <a:lnTo>
                        <a:pt x="1758" y="1200"/>
                      </a:lnTo>
                      <a:lnTo>
                        <a:pt x="1819" y="1173"/>
                      </a:lnTo>
                      <a:lnTo>
                        <a:pt x="1880" y="1147"/>
                      </a:lnTo>
                      <a:lnTo>
                        <a:pt x="1941" y="1121"/>
                      </a:lnTo>
                      <a:lnTo>
                        <a:pt x="2004" y="1095"/>
                      </a:lnTo>
                      <a:lnTo>
                        <a:pt x="2068" y="1069"/>
                      </a:lnTo>
                      <a:lnTo>
                        <a:pt x="2132" y="1044"/>
                      </a:lnTo>
                      <a:lnTo>
                        <a:pt x="2197" y="1020"/>
                      </a:lnTo>
                      <a:lnTo>
                        <a:pt x="2263" y="995"/>
                      </a:lnTo>
                      <a:lnTo>
                        <a:pt x="2330" y="970"/>
                      </a:lnTo>
                      <a:lnTo>
                        <a:pt x="2398" y="946"/>
                      </a:lnTo>
                      <a:lnTo>
                        <a:pt x="2467" y="922"/>
                      </a:lnTo>
                      <a:lnTo>
                        <a:pt x="2538" y="899"/>
                      </a:lnTo>
                      <a:lnTo>
                        <a:pt x="2608" y="875"/>
                      </a:lnTo>
                      <a:lnTo>
                        <a:pt x="2679" y="852"/>
                      </a:lnTo>
                      <a:lnTo>
                        <a:pt x="2751" y="829"/>
                      </a:lnTo>
                      <a:lnTo>
                        <a:pt x="2897" y="785"/>
                      </a:lnTo>
                      <a:lnTo>
                        <a:pt x="3047" y="741"/>
                      </a:lnTo>
                      <a:lnTo>
                        <a:pt x="3199" y="699"/>
                      </a:lnTo>
                      <a:lnTo>
                        <a:pt x="3355" y="658"/>
                      </a:lnTo>
                      <a:lnTo>
                        <a:pt x="3514" y="618"/>
                      </a:lnTo>
                      <a:lnTo>
                        <a:pt x="3675" y="580"/>
                      </a:lnTo>
                      <a:lnTo>
                        <a:pt x="3839" y="542"/>
                      </a:lnTo>
                      <a:lnTo>
                        <a:pt x="4007" y="506"/>
                      </a:lnTo>
                      <a:lnTo>
                        <a:pt x="4176" y="472"/>
                      </a:lnTo>
                      <a:lnTo>
                        <a:pt x="4350" y="439"/>
                      </a:lnTo>
                      <a:lnTo>
                        <a:pt x="4524" y="408"/>
                      </a:lnTo>
                      <a:lnTo>
                        <a:pt x="4702" y="377"/>
                      </a:lnTo>
                      <a:lnTo>
                        <a:pt x="4881" y="348"/>
                      </a:lnTo>
                      <a:lnTo>
                        <a:pt x="5064" y="321"/>
                      </a:lnTo>
                      <a:lnTo>
                        <a:pt x="5248" y="295"/>
                      </a:lnTo>
                      <a:lnTo>
                        <a:pt x="5435" y="270"/>
                      </a:lnTo>
                      <a:lnTo>
                        <a:pt x="5623" y="247"/>
                      </a:lnTo>
                      <a:lnTo>
                        <a:pt x="5814" y="227"/>
                      </a:lnTo>
                      <a:lnTo>
                        <a:pt x="6008" y="207"/>
                      </a:lnTo>
                      <a:lnTo>
                        <a:pt x="6203" y="188"/>
                      </a:lnTo>
                      <a:lnTo>
                        <a:pt x="6400" y="172"/>
                      </a:lnTo>
                      <a:lnTo>
                        <a:pt x="6597" y="157"/>
                      </a:lnTo>
                      <a:lnTo>
                        <a:pt x="6798" y="144"/>
                      </a:lnTo>
                      <a:lnTo>
                        <a:pt x="7000" y="133"/>
                      </a:lnTo>
                      <a:lnTo>
                        <a:pt x="7205" y="122"/>
                      </a:lnTo>
                      <a:lnTo>
                        <a:pt x="7410" y="115"/>
                      </a:lnTo>
                      <a:lnTo>
                        <a:pt x="7617" y="108"/>
                      </a:lnTo>
                      <a:lnTo>
                        <a:pt x="7825" y="104"/>
                      </a:lnTo>
                      <a:lnTo>
                        <a:pt x="8034" y="102"/>
                      </a:lnTo>
                      <a:lnTo>
                        <a:pt x="8246" y="100"/>
                      </a:lnTo>
                      <a:lnTo>
                        <a:pt x="8246" y="100"/>
                      </a:lnTo>
                      <a:lnTo>
                        <a:pt x="8246" y="100"/>
                      </a:lnTo>
                      <a:lnTo>
                        <a:pt x="8252" y="99"/>
                      </a:lnTo>
                      <a:lnTo>
                        <a:pt x="8257" y="99"/>
                      </a:lnTo>
                      <a:lnTo>
                        <a:pt x="8263" y="97"/>
                      </a:lnTo>
                      <a:lnTo>
                        <a:pt x="8267" y="96"/>
                      </a:lnTo>
                      <a:lnTo>
                        <a:pt x="8272" y="93"/>
                      </a:lnTo>
                      <a:lnTo>
                        <a:pt x="8276" y="91"/>
                      </a:lnTo>
                      <a:lnTo>
                        <a:pt x="8280" y="88"/>
                      </a:lnTo>
                      <a:lnTo>
                        <a:pt x="8284" y="84"/>
                      </a:lnTo>
                      <a:lnTo>
                        <a:pt x="8289" y="77"/>
                      </a:lnTo>
                      <a:lnTo>
                        <a:pt x="8293" y="68"/>
                      </a:lnTo>
                      <a:lnTo>
                        <a:pt x="8295" y="59"/>
                      </a:lnTo>
                      <a:lnTo>
                        <a:pt x="8296" y="50"/>
                      </a:lnTo>
                      <a:lnTo>
                        <a:pt x="8295" y="40"/>
                      </a:lnTo>
                      <a:lnTo>
                        <a:pt x="8293" y="31"/>
                      </a:lnTo>
                      <a:lnTo>
                        <a:pt x="8289" y="23"/>
                      </a:lnTo>
                      <a:lnTo>
                        <a:pt x="8284" y="16"/>
                      </a:lnTo>
                      <a:lnTo>
                        <a:pt x="8280" y="13"/>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79" name="Freeform 172"/>
                <p:cNvSpPr>
                  <a:spLocks/>
                </p:cNvSpPr>
                <p:nvPr>
                  <p:custDataLst>
                    <p:tags r:id="rId126"/>
                  </p:custDataLst>
                </p:nvPr>
              </p:nvSpPr>
              <p:spPr bwMode="auto">
                <a:xfrm>
                  <a:off x="728" y="3515"/>
                  <a:ext cx="358" cy="114"/>
                </a:xfrm>
                <a:custGeom>
                  <a:avLst/>
                  <a:gdLst>
                    <a:gd name="T0" fmla="*/ 8239 w 8245"/>
                    <a:gd name="T1" fmla="*/ 2750 h 2864"/>
                    <a:gd name="T2" fmla="*/ 8211 w 8245"/>
                    <a:gd name="T3" fmla="*/ 2600 h 2864"/>
                    <a:gd name="T4" fmla="*/ 8162 w 8245"/>
                    <a:gd name="T5" fmla="*/ 2452 h 2864"/>
                    <a:gd name="T6" fmla="*/ 8091 w 8245"/>
                    <a:gd name="T7" fmla="*/ 2307 h 2864"/>
                    <a:gd name="T8" fmla="*/ 8002 w 8245"/>
                    <a:gd name="T9" fmla="*/ 2166 h 2864"/>
                    <a:gd name="T10" fmla="*/ 7894 w 8245"/>
                    <a:gd name="T11" fmla="*/ 2028 h 2864"/>
                    <a:gd name="T12" fmla="*/ 7766 w 8245"/>
                    <a:gd name="T13" fmla="*/ 1893 h 2864"/>
                    <a:gd name="T14" fmla="*/ 7620 w 8245"/>
                    <a:gd name="T15" fmla="*/ 1763 h 2864"/>
                    <a:gd name="T16" fmla="*/ 7459 w 8245"/>
                    <a:gd name="T17" fmla="*/ 1635 h 2864"/>
                    <a:gd name="T18" fmla="*/ 7279 w 8245"/>
                    <a:gd name="T19" fmla="*/ 1511 h 2864"/>
                    <a:gd name="T20" fmla="*/ 7083 w 8245"/>
                    <a:gd name="T21" fmla="*/ 1391 h 2864"/>
                    <a:gd name="T22" fmla="*/ 6872 w 8245"/>
                    <a:gd name="T23" fmla="*/ 1275 h 2864"/>
                    <a:gd name="T24" fmla="*/ 6645 w 8245"/>
                    <a:gd name="T25" fmla="*/ 1162 h 2864"/>
                    <a:gd name="T26" fmla="*/ 6404 w 8245"/>
                    <a:gd name="T27" fmla="*/ 1055 h 2864"/>
                    <a:gd name="T28" fmla="*/ 6149 w 8245"/>
                    <a:gd name="T29" fmla="*/ 950 h 2864"/>
                    <a:gd name="T30" fmla="*/ 5880 w 8245"/>
                    <a:gd name="T31" fmla="*/ 851 h 2864"/>
                    <a:gd name="T32" fmla="*/ 5596 w 8245"/>
                    <a:gd name="T33" fmla="*/ 757 h 2864"/>
                    <a:gd name="T34" fmla="*/ 5072 w 8245"/>
                    <a:gd name="T35" fmla="*/ 602 h 2864"/>
                    <a:gd name="T36" fmla="*/ 4426 w 8245"/>
                    <a:gd name="T37" fmla="*/ 444 h 2864"/>
                    <a:gd name="T38" fmla="*/ 3738 w 8245"/>
                    <a:gd name="T39" fmla="*/ 309 h 2864"/>
                    <a:gd name="T40" fmla="*/ 3010 w 8245"/>
                    <a:gd name="T41" fmla="*/ 196 h 2864"/>
                    <a:gd name="T42" fmla="*/ 2246 w 8245"/>
                    <a:gd name="T43" fmla="*/ 107 h 2864"/>
                    <a:gd name="T44" fmla="*/ 1453 w 8245"/>
                    <a:gd name="T45" fmla="*/ 44 h 2864"/>
                    <a:gd name="T46" fmla="*/ 631 w 8245"/>
                    <a:gd name="T47" fmla="*/ 8 h 2864"/>
                    <a:gd name="T48" fmla="*/ 0 w 8245"/>
                    <a:gd name="T49" fmla="*/ 100 h 2864"/>
                    <a:gd name="T50" fmla="*/ 835 w 8245"/>
                    <a:gd name="T51" fmla="*/ 115 h 2864"/>
                    <a:gd name="T52" fmla="*/ 1648 w 8245"/>
                    <a:gd name="T53" fmla="*/ 157 h 2864"/>
                    <a:gd name="T54" fmla="*/ 2431 w 8245"/>
                    <a:gd name="T55" fmla="*/ 227 h 2864"/>
                    <a:gd name="T56" fmla="*/ 3181 w 8245"/>
                    <a:gd name="T57" fmla="*/ 321 h 2864"/>
                    <a:gd name="T58" fmla="*/ 3895 w 8245"/>
                    <a:gd name="T59" fmla="*/ 439 h 2864"/>
                    <a:gd name="T60" fmla="*/ 4570 w 8245"/>
                    <a:gd name="T61" fmla="*/ 580 h 2864"/>
                    <a:gd name="T62" fmla="*/ 5198 w 8245"/>
                    <a:gd name="T63" fmla="*/ 741 h 2864"/>
                    <a:gd name="T64" fmla="*/ 5637 w 8245"/>
                    <a:gd name="T65" fmla="*/ 875 h 2864"/>
                    <a:gd name="T66" fmla="*/ 5915 w 8245"/>
                    <a:gd name="T67" fmla="*/ 970 h 2864"/>
                    <a:gd name="T68" fmla="*/ 6177 w 8245"/>
                    <a:gd name="T69" fmla="*/ 1069 h 2864"/>
                    <a:gd name="T70" fmla="*/ 6426 w 8245"/>
                    <a:gd name="T71" fmla="*/ 1173 h 2864"/>
                    <a:gd name="T72" fmla="*/ 6661 w 8245"/>
                    <a:gd name="T73" fmla="*/ 1280 h 2864"/>
                    <a:gd name="T74" fmla="*/ 6879 w 8245"/>
                    <a:gd name="T75" fmla="*/ 1392 h 2864"/>
                    <a:gd name="T76" fmla="*/ 7083 w 8245"/>
                    <a:gd name="T77" fmla="*/ 1507 h 2864"/>
                    <a:gd name="T78" fmla="*/ 7270 w 8245"/>
                    <a:gd name="T79" fmla="*/ 1625 h 2864"/>
                    <a:gd name="T80" fmla="*/ 7440 w 8245"/>
                    <a:gd name="T81" fmla="*/ 1746 h 2864"/>
                    <a:gd name="T82" fmla="*/ 7594 w 8245"/>
                    <a:gd name="T83" fmla="*/ 1870 h 2864"/>
                    <a:gd name="T84" fmla="*/ 7729 w 8245"/>
                    <a:gd name="T85" fmla="*/ 1998 h 2864"/>
                    <a:gd name="T86" fmla="*/ 7845 w 8245"/>
                    <a:gd name="T87" fmla="*/ 2126 h 2864"/>
                    <a:gd name="T88" fmla="*/ 7943 w 8245"/>
                    <a:gd name="T89" fmla="*/ 2258 h 2864"/>
                    <a:gd name="T90" fmla="*/ 8022 w 8245"/>
                    <a:gd name="T91" fmla="*/ 2390 h 2864"/>
                    <a:gd name="T92" fmla="*/ 8082 w 8245"/>
                    <a:gd name="T93" fmla="*/ 2524 h 2864"/>
                    <a:gd name="T94" fmla="*/ 8122 w 8245"/>
                    <a:gd name="T95" fmla="*/ 2659 h 2864"/>
                    <a:gd name="T96" fmla="*/ 8142 w 8245"/>
                    <a:gd name="T97" fmla="*/ 2796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4">
                      <a:moveTo>
                        <a:pt x="8245" y="2864"/>
                      </a:moveTo>
                      <a:lnTo>
                        <a:pt x="8244" y="2826"/>
                      </a:lnTo>
                      <a:lnTo>
                        <a:pt x="8242" y="2788"/>
                      </a:lnTo>
                      <a:lnTo>
                        <a:pt x="8239" y="2750"/>
                      </a:lnTo>
                      <a:lnTo>
                        <a:pt x="8234" y="2712"/>
                      </a:lnTo>
                      <a:lnTo>
                        <a:pt x="8227" y="2675"/>
                      </a:lnTo>
                      <a:lnTo>
                        <a:pt x="8219" y="2637"/>
                      </a:lnTo>
                      <a:lnTo>
                        <a:pt x="8211" y="2600"/>
                      </a:lnTo>
                      <a:lnTo>
                        <a:pt x="8201" y="2563"/>
                      </a:lnTo>
                      <a:lnTo>
                        <a:pt x="8188" y="2526"/>
                      </a:lnTo>
                      <a:lnTo>
                        <a:pt x="8176" y="2488"/>
                      </a:lnTo>
                      <a:lnTo>
                        <a:pt x="8162" y="2452"/>
                      </a:lnTo>
                      <a:lnTo>
                        <a:pt x="8146" y="2416"/>
                      </a:lnTo>
                      <a:lnTo>
                        <a:pt x="8130" y="2380"/>
                      </a:lnTo>
                      <a:lnTo>
                        <a:pt x="8111" y="2343"/>
                      </a:lnTo>
                      <a:lnTo>
                        <a:pt x="8091" y="2307"/>
                      </a:lnTo>
                      <a:lnTo>
                        <a:pt x="8071" y="2272"/>
                      </a:lnTo>
                      <a:lnTo>
                        <a:pt x="8049" y="2236"/>
                      </a:lnTo>
                      <a:lnTo>
                        <a:pt x="8026" y="2201"/>
                      </a:lnTo>
                      <a:lnTo>
                        <a:pt x="8002" y="2166"/>
                      </a:lnTo>
                      <a:lnTo>
                        <a:pt x="7977" y="2131"/>
                      </a:lnTo>
                      <a:lnTo>
                        <a:pt x="7950" y="2096"/>
                      </a:lnTo>
                      <a:lnTo>
                        <a:pt x="7922" y="2062"/>
                      </a:lnTo>
                      <a:lnTo>
                        <a:pt x="7894" y="2028"/>
                      </a:lnTo>
                      <a:lnTo>
                        <a:pt x="7864" y="1994"/>
                      </a:lnTo>
                      <a:lnTo>
                        <a:pt x="7832" y="1960"/>
                      </a:lnTo>
                      <a:lnTo>
                        <a:pt x="7800" y="1926"/>
                      </a:lnTo>
                      <a:lnTo>
                        <a:pt x="7766" y="1893"/>
                      </a:lnTo>
                      <a:lnTo>
                        <a:pt x="7732" y="1860"/>
                      </a:lnTo>
                      <a:lnTo>
                        <a:pt x="7696" y="1828"/>
                      </a:lnTo>
                      <a:lnTo>
                        <a:pt x="7659" y="1795"/>
                      </a:lnTo>
                      <a:lnTo>
                        <a:pt x="7620" y="1763"/>
                      </a:lnTo>
                      <a:lnTo>
                        <a:pt x="7582" y="1730"/>
                      </a:lnTo>
                      <a:lnTo>
                        <a:pt x="7542" y="1699"/>
                      </a:lnTo>
                      <a:lnTo>
                        <a:pt x="7501" y="1667"/>
                      </a:lnTo>
                      <a:lnTo>
                        <a:pt x="7459" y="1635"/>
                      </a:lnTo>
                      <a:lnTo>
                        <a:pt x="7415" y="1603"/>
                      </a:lnTo>
                      <a:lnTo>
                        <a:pt x="7371" y="1572"/>
                      </a:lnTo>
                      <a:lnTo>
                        <a:pt x="7326" y="1542"/>
                      </a:lnTo>
                      <a:lnTo>
                        <a:pt x="7279" y="1511"/>
                      </a:lnTo>
                      <a:lnTo>
                        <a:pt x="7232" y="1481"/>
                      </a:lnTo>
                      <a:lnTo>
                        <a:pt x="7183" y="1450"/>
                      </a:lnTo>
                      <a:lnTo>
                        <a:pt x="7134" y="1420"/>
                      </a:lnTo>
                      <a:lnTo>
                        <a:pt x="7083" y="1391"/>
                      </a:lnTo>
                      <a:lnTo>
                        <a:pt x="7032" y="1361"/>
                      </a:lnTo>
                      <a:lnTo>
                        <a:pt x="6980" y="1332"/>
                      </a:lnTo>
                      <a:lnTo>
                        <a:pt x="6927" y="1303"/>
                      </a:lnTo>
                      <a:lnTo>
                        <a:pt x="6872" y="1275"/>
                      </a:lnTo>
                      <a:lnTo>
                        <a:pt x="6817" y="1246"/>
                      </a:lnTo>
                      <a:lnTo>
                        <a:pt x="6761" y="1218"/>
                      </a:lnTo>
                      <a:lnTo>
                        <a:pt x="6704" y="1190"/>
                      </a:lnTo>
                      <a:lnTo>
                        <a:pt x="6645" y="1162"/>
                      </a:lnTo>
                      <a:lnTo>
                        <a:pt x="6587" y="1136"/>
                      </a:lnTo>
                      <a:lnTo>
                        <a:pt x="6527" y="1108"/>
                      </a:lnTo>
                      <a:lnTo>
                        <a:pt x="6466" y="1081"/>
                      </a:lnTo>
                      <a:lnTo>
                        <a:pt x="6404" y="1055"/>
                      </a:lnTo>
                      <a:lnTo>
                        <a:pt x="6341" y="1028"/>
                      </a:lnTo>
                      <a:lnTo>
                        <a:pt x="6278" y="1002"/>
                      </a:lnTo>
                      <a:lnTo>
                        <a:pt x="6214" y="976"/>
                      </a:lnTo>
                      <a:lnTo>
                        <a:pt x="6149" y="950"/>
                      </a:lnTo>
                      <a:lnTo>
                        <a:pt x="6083" y="925"/>
                      </a:lnTo>
                      <a:lnTo>
                        <a:pt x="6016" y="901"/>
                      </a:lnTo>
                      <a:lnTo>
                        <a:pt x="5948" y="876"/>
                      </a:lnTo>
                      <a:lnTo>
                        <a:pt x="5880" y="851"/>
                      </a:lnTo>
                      <a:lnTo>
                        <a:pt x="5809" y="827"/>
                      </a:lnTo>
                      <a:lnTo>
                        <a:pt x="5739" y="803"/>
                      </a:lnTo>
                      <a:lnTo>
                        <a:pt x="5668" y="779"/>
                      </a:lnTo>
                      <a:lnTo>
                        <a:pt x="5596" y="757"/>
                      </a:lnTo>
                      <a:lnTo>
                        <a:pt x="5524" y="734"/>
                      </a:lnTo>
                      <a:lnTo>
                        <a:pt x="5376" y="688"/>
                      </a:lnTo>
                      <a:lnTo>
                        <a:pt x="5225" y="645"/>
                      </a:lnTo>
                      <a:lnTo>
                        <a:pt x="5072" y="602"/>
                      </a:lnTo>
                      <a:lnTo>
                        <a:pt x="4914" y="561"/>
                      </a:lnTo>
                      <a:lnTo>
                        <a:pt x="4754" y="521"/>
                      </a:lnTo>
                      <a:lnTo>
                        <a:pt x="4592" y="482"/>
                      </a:lnTo>
                      <a:lnTo>
                        <a:pt x="4426" y="444"/>
                      </a:lnTo>
                      <a:lnTo>
                        <a:pt x="4258" y="409"/>
                      </a:lnTo>
                      <a:lnTo>
                        <a:pt x="4087" y="374"/>
                      </a:lnTo>
                      <a:lnTo>
                        <a:pt x="3914" y="341"/>
                      </a:lnTo>
                      <a:lnTo>
                        <a:pt x="3738" y="309"/>
                      </a:lnTo>
                      <a:lnTo>
                        <a:pt x="3559" y="279"/>
                      </a:lnTo>
                      <a:lnTo>
                        <a:pt x="3379" y="250"/>
                      </a:lnTo>
                      <a:lnTo>
                        <a:pt x="3196" y="222"/>
                      </a:lnTo>
                      <a:lnTo>
                        <a:pt x="3010" y="196"/>
                      </a:lnTo>
                      <a:lnTo>
                        <a:pt x="2823" y="171"/>
                      </a:lnTo>
                      <a:lnTo>
                        <a:pt x="2633" y="148"/>
                      </a:lnTo>
                      <a:lnTo>
                        <a:pt x="2441" y="126"/>
                      </a:lnTo>
                      <a:lnTo>
                        <a:pt x="2246" y="107"/>
                      </a:lnTo>
                      <a:lnTo>
                        <a:pt x="2052" y="88"/>
                      </a:lnTo>
                      <a:lnTo>
                        <a:pt x="1854" y="72"/>
                      </a:lnTo>
                      <a:lnTo>
                        <a:pt x="1654" y="57"/>
                      </a:lnTo>
                      <a:lnTo>
                        <a:pt x="1453" y="44"/>
                      </a:lnTo>
                      <a:lnTo>
                        <a:pt x="1250" y="32"/>
                      </a:lnTo>
                      <a:lnTo>
                        <a:pt x="1045" y="23"/>
                      </a:lnTo>
                      <a:lnTo>
                        <a:pt x="838" y="15"/>
                      </a:lnTo>
                      <a:lnTo>
                        <a:pt x="631" y="8"/>
                      </a:lnTo>
                      <a:lnTo>
                        <a:pt x="422" y="3"/>
                      </a:lnTo>
                      <a:lnTo>
                        <a:pt x="212" y="0"/>
                      </a:lnTo>
                      <a:lnTo>
                        <a:pt x="0" y="0"/>
                      </a:lnTo>
                      <a:lnTo>
                        <a:pt x="0" y="100"/>
                      </a:lnTo>
                      <a:lnTo>
                        <a:pt x="211" y="102"/>
                      </a:lnTo>
                      <a:lnTo>
                        <a:pt x="420" y="104"/>
                      </a:lnTo>
                      <a:lnTo>
                        <a:pt x="628" y="108"/>
                      </a:lnTo>
                      <a:lnTo>
                        <a:pt x="835" y="115"/>
                      </a:lnTo>
                      <a:lnTo>
                        <a:pt x="1040" y="122"/>
                      </a:lnTo>
                      <a:lnTo>
                        <a:pt x="1245" y="133"/>
                      </a:lnTo>
                      <a:lnTo>
                        <a:pt x="1447" y="144"/>
                      </a:lnTo>
                      <a:lnTo>
                        <a:pt x="1648" y="157"/>
                      </a:lnTo>
                      <a:lnTo>
                        <a:pt x="1845" y="172"/>
                      </a:lnTo>
                      <a:lnTo>
                        <a:pt x="2042" y="188"/>
                      </a:lnTo>
                      <a:lnTo>
                        <a:pt x="2237" y="207"/>
                      </a:lnTo>
                      <a:lnTo>
                        <a:pt x="2431" y="227"/>
                      </a:lnTo>
                      <a:lnTo>
                        <a:pt x="2622" y="247"/>
                      </a:lnTo>
                      <a:lnTo>
                        <a:pt x="2810" y="270"/>
                      </a:lnTo>
                      <a:lnTo>
                        <a:pt x="2997" y="295"/>
                      </a:lnTo>
                      <a:lnTo>
                        <a:pt x="3181" y="321"/>
                      </a:lnTo>
                      <a:lnTo>
                        <a:pt x="3364" y="348"/>
                      </a:lnTo>
                      <a:lnTo>
                        <a:pt x="3543" y="377"/>
                      </a:lnTo>
                      <a:lnTo>
                        <a:pt x="3721" y="408"/>
                      </a:lnTo>
                      <a:lnTo>
                        <a:pt x="3895" y="439"/>
                      </a:lnTo>
                      <a:lnTo>
                        <a:pt x="4069" y="472"/>
                      </a:lnTo>
                      <a:lnTo>
                        <a:pt x="4238" y="506"/>
                      </a:lnTo>
                      <a:lnTo>
                        <a:pt x="4405" y="542"/>
                      </a:lnTo>
                      <a:lnTo>
                        <a:pt x="4570" y="580"/>
                      </a:lnTo>
                      <a:lnTo>
                        <a:pt x="4731" y="618"/>
                      </a:lnTo>
                      <a:lnTo>
                        <a:pt x="4890" y="658"/>
                      </a:lnTo>
                      <a:lnTo>
                        <a:pt x="5046" y="699"/>
                      </a:lnTo>
                      <a:lnTo>
                        <a:pt x="5198" y="741"/>
                      </a:lnTo>
                      <a:lnTo>
                        <a:pt x="5348" y="785"/>
                      </a:lnTo>
                      <a:lnTo>
                        <a:pt x="5494" y="829"/>
                      </a:lnTo>
                      <a:lnTo>
                        <a:pt x="5566" y="852"/>
                      </a:lnTo>
                      <a:lnTo>
                        <a:pt x="5637" y="875"/>
                      </a:lnTo>
                      <a:lnTo>
                        <a:pt x="5707" y="899"/>
                      </a:lnTo>
                      <a:lnTo>
                        <a:pt x="5778" y="922"/>
                      </a:lnTo>
                      <a:lnTo>
                        <a:pt x="5847" y="946"/>
                      </a:lnTo>
                      <a:lnTo>
                        <a:pt x="5915" y="970"/>
                      </a:lnTo>
                      <a:lnTo>
                        <a:pt x="5982" y="995"/>
                      </a:lnTo>
                      <a:lnTo>
                        <a:pt x="6048" y="1020"/>
                      </a:lnTo>
                      <a:lnTo>
                        <a:pt x="6113" y="1044"/>
                      </a:lnTo>
                      <a:lnTo>
                        <a:pt x="6177" y="1069"/>
                      </a:lnTo>
                      <a:lnTo>
                        <a:pt x="6241" y="1095"/>
                      </a:lnTo>
                      <a:lnTo>
                        <a:pt x="6304" y="1121"/>
                      </a:lnTo>
                      <a:lnTo>
                        <a:pt x="6365" y="1147"/>
                      </a:lnTo>
                      <a:lnTo>
                        <a:pt x="6426" y="1173"/>
                      </a:lnTo>
                      <a:lnTo>
                        <a:pt x="6487" y="1200"/>
                      </a:lnTo>
                      <a:lnTo>
                        <a:pt x="6545" y="1227"/>
                      </a:lnTo>
                      <a:lnTo>
                        <a:pt x="6603" y="1254"/>
                      </a:lnTo>
                      <a:lnTo>
                        <a:pt x="6661" y="1280"/>
                      </a:lnTo>
                      <a:lnTo>
                        <a:pt x="6716" y="1308"/>
                      </a:lnTo>
                      <a:lnTo>
                        <a:pt x="6772" y="1336"/>
                      </a:lnTo>
                      <a:lnTo>
                        <a:pt x="6827" y="1364"/>
                      </a:lnTo>
                      <a:lnTo>
                        <a:pt x="6879" y="1392"/>
                      </a:lnTo>
                      <a:lnTo>
                        <a:pt x="6932" y="1420"/>
                      </a:lnTo>
                      <a:lnTo>
                        <a:pt x="6983" y="1449"/>
                      </a:lnTo>
                      <a:lnTo>
                        <a:pt x="7034" y="1478"/>
                      </a:lnTo>
                      <a:lnTo>
                        <a:pt x="7083" y="1507"/>
                      </a:lnTo>
                      <a:lnTo>
                        <a:pt x="7132" y="1536"/>
                      </a:lnTo>
                      <a:lnTo>
                        <a:pt x="7178" y="1565"/>
                      </a:lnTo>
                      <a:lnTo>
                        <a:pt x="7225" y="1595"/>
                      </a:lnTo>
                      <a:lnTo>
                        <a:pt x="7270" y="1625"/>
                      </a:lnTo>
                      <a:lnTo>
                        <a:pt x="7314" y="1655"/>
                      </a:lnTo>
                      <a:lnTo>
                        <a:pt x="7358" y="1685"/>
                      </a:lnTo>
                      <a:lnTo>
                        <a:pt x="7400" y="1716"/>
                      </a:lnTo>
                      <a:lnTo>
                        <a:pt x="7440" y="1746"/>
                      </a:lnTo>
                      <a:lnTo>
                        <a:pt x="7480" y="1777"/>
                      </a:lnTo>
                      <a:lnTo>
                        <a:pt x="7519" y="1808"/>
                      </a:lnTo>
                      <a:lnTo>
                        <a:pt x="7557" y="1839"/>
                      </a:lnTo>
                      <a:lnTo>
                        <a:pt x="7594" y="1870"/>
                      </a:lnTo>
                      <a:lnTo>
                        <a:pt x="7629" y="1902"/>
                      </a:lnTo>
                      <a:lnTo>
                        <a:pt x="7664" y="1934"/>
                      </a:lnTo>
                      <a:lnTo>
                        <a:pt x="7697" y="1966"/>
                      </a:lnTo>
                      <a:lnTo>
                        <a:pt x="7729" y="1998"/>
                      </a:lnTo>
                      <a:lnTo>
                        <a:pt x="7760" y="2030"/>
                      </a:lnTo>
                      <a:lnTo>
                        <a:pt x="7789" y="2062"/>
                      </a:lnTo>
                      <a:lnTo>
                        <a:pt x="7818" y="2094"/>
                      </a:lnTo>
                      <a:lnTo>
                        <a:pt x="7845" y="2126"/>
                      </a:lnTo>
                      <a:lnTo>
                        <a:pt x="7872" y="2159"/>
                      </a:lnTo>
                      <a:lnTo>
                        <a:pt x="7897" y="2191"/>
                      </a:lnTo>
                      <a:lnTo>
                        <a:pt x="7920" y="2224"/>
                      </a:lnTo>
                      <a:lnTo>
                        <a:pt x="7943" y="2258"/>
                      </a:lnTo>
                      <a:lnTo>
                        <a:pt x="7966" y="2290"/>
                      </a:lnTo>
                      <a:lnTo>
                        <a:pt x="7985" y="2323"/>
                      </a:lnTo>
                      <a:lnTo>
                        <a:pt x="8005" y="2356"/>
                      </a:lnTo>
                      <a:lnTo>
                        <a:pt x="8022" y="2390"/>
                      </a:lnTo>
                      <a:lnTo>
                        <a:pt x="8039" y="2423"/>
                      </a:lnTo>
                      <a:lnTo>
                        <a:pt x="8055" y="2456"/>
                      </a:lnTo>
                      <a:lnTo>
                        <a:pt x="8069" y="2489"/>
                      </a:lnTo>
                      <a:lnTo>
                        <a:pt x="8082" y="2524"/>
                      </a:lnTo>
                      <a:lnTo>
                        <a:pt x="8095" y="2558"/>
                      </a:lnTo>
                      <a:lnTo>
                        <a:pt x="8105" y="2591"/>
                      </a:lnTo>
                      <a:lnTo>
                        <a:pt x="8114" y="2625"/>
                      </a:lnTo>
                      <a:lnTo>
                        <a:pt x="8122" y="2659"/>
                      </a:lnTo>
                      <a:lnTo>
                        <a:pt x="8130" y="2693"/>
                      </a:lnTo>
                      <a:lnTo>
                        <a:pt x="8135" y="2726"/>
                      </a:lnTo>
                      <a:lnTo>
                        <a:pt x="8139" y="2762"/>
                      </a:lnTo>
                      <a:lnTo>
                        <a:pt x="8142" y="2796"/>
                      </a:lnTo>
                      <a:lnTo>
                        <a:pt x="8144" y="2830"/>
                      </a:lnTo>
                      <a:lnTo>
                        <a:pt x="8145" y="2864"/>
                      </a:lnTo>
                      <a:lnTo>
                        <a:pt x="8245"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80" name="Freeform 173"/>
                <p:cNvSpPr>
                  <a:spLocks/>
                </p:cNvSpPr>
                <p:nvPr>
                  <p:custDataLst>
                    <p:tags r:id="rId127"/>
                  </p:custDataLst>
                </p:nvPr>
              </p:nvSpPr>
              <p:spPr bwMode="auto">
                <a:xfrm>
                  <a:off x="370" y="3472"/>
                  <a:ext cx="714" cy="160"/>
                </a:xfrm>
                <a:custGeom>
                  <a:avLst/>
                  <a:gdLst>
                    <a:gd name="T0" fmla="*/ 0 w 16419"/>
                    <a:gd name="T1" fmla="*/ 0 h 4020"/>
                    <a:gd name="T2" fmla="*/ 0 w 16419"/>
                    <a:gd name="T3" fmla="*/ 4020 h 4020"/>
                    <a:gd name="T4" fmla="*/ 16415 w 16419"/>
                    <a:gd name="T5" fmla="*/ 4020 h 4020"/>
                    <a:gd name="T6" fmla="*/ 16419 w 16419"/>
                    <a:gd name="T7" fmla="*/ 2 h 4020"/>
                    <a:gd name="T8" fmla="*/ 0 w 16419"/>
                    <a:gd name="T9" fmla="*/ 0 h 4020"/>
                  </a:gdLst>
                  <a:ahLst/>
                  <a:cxnLst>
                    <a:cxn ang="0">
                      <a:pos x="T0" y="T1"/>
                    </a:cxn>
                    <a:cxn ang="0">
                      <a:pos x="T2" y="T3"/>
                    </a:cxn>
                    <a:cxn ang="0">
                      <a:pos x="T4" y="T5"/>
                    </a:cxn>
                    <a:cxn ang="0">
                      <a:pos x="T6" y="T7"/>
                    </a:cxn>
                    <a:cxn ang="0">
                      <a:pos x="T8" y="T9"/>
                    </a:cxn>
                  </a:cxnLst>
                  <a:rect l="0" t="0" r="r" b="b"/>
                  <a:pathLst>
                    <a:path w="16419" h="4020">
                      <a:moveTo>
                        <a:pt x="0" y="0"/>
                      </a:moveTo>
                      <a:lnTo>
                        <a:pt x="0" y="4020"/>
                      </a:lnTo>
                      <a:lnTo>
                        <a:pt x="16415" y="4020"/>
                      </a:lnTo>
                      <a:lnTo>
                        <a:pt x="16419" y="2"/>
                      </a:lnTo>
                      <a:lnTo>
                        <a:pt x="0" y="0"/>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81" name="Freeform 174"/>
                <p:cNvSpPr>
                  <a:spLocks/>
                </p:cNvSpPr>
                <p:nvPr>
                  <p:custDataLst>
                    <p:tags r:id="rId128"/>
                  </p:custDataLst>
                </p:nvPr>
              </p:nvSpPr>
              <p:spPr bwMode="auto">
                <a:xfrm>
                  <a:off x="371" y="3356"/>
                  <a:ext cx="713" cy="225"/>
                </a:xfrm>
                <a:custGeom>
                  <a:avLst/>
                  <a:gdLst>
                    <a:gd name="T0" fmla="*/ 16347 w 16389"/>
                    <a:gd name="T1" fmla="*/ 3102 h 5628"/>
                    <a:gd name="T2" fmla="*/ 16132 w 16389"/>
                    <a:gd name="T3" fmla="*/ 3517 h 5628"/>
                    <a:gd name="T4" fmla="*/ 15745 w 16389"/>
                    <a:gd name="T5" fmla="*/ 3909 h 5628"/>
                    <a:gd name="T6" fmla="*/ 15203 w 16389"/>
                    <a:gd name="T7" fmla="*/ 4272 h 5628"/>
                    <a:gd name="T8" fmla="*/ 14518 w 16389"/>
                    <a:gd name="T9" fmla="*/ 4604 h 5628"/>
                    <a:gd name="T10" fmla="*/ 13704 w 16389"/>
                    <a:gd name="T11" fmla="*/ 4896 h 5628"/>
                    <a:gd name="T12" fmla="*/ 12776 w 16389"/>
                    <a:gd name="T13" fmla="*/ 5147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7 h 5628"/>
                    <a:gd name="T30" fmla="*/ 2685 w 16389"/>
                    <a:gd name="T31" fmla="*/ 4896 h 5628"/>
                    <a:gd name="T32" fmla="*/ 1871 w 16389"/>
                    <a:gd name="T33" fmla="*/ 4604 h 5628"/>
                    <a:gd name="T34" fmla="*/ 1186 w 16389"/>
                    <a:gd name="T35" fmla="*/ 4272 h 5628"/>
                    <a:gd name="T36" fmla="*/ 644 w 16389"/>
                    <a:gd name="T37" fmla="*/ 3909 h 5628"/>
                    <a:gd name="T38" fmla="*/ 257 w 16389"/>
                    <a:gd name="T39" fmla="*/ 3517 h 5628"/>
                    <a:gd name="T40" fmla="*/ 42 w 16389"/>
                    <a:gd name="T41" fmla="*/ 3102 h 5628"/>
                    <a:gd name="T42" fmla="*/ 10 w 16389"/>
                    <a:gd name="T43" fmla="*/ 2669 h 5628"/>
                    <a:gd name="T44" fmla="*/ 165 w 16389"/>
                    <a:gd name="T45" fmla="*/ 2247 h 5628"/>
                    <a:gd name="T46" fmla="*/ 496 w 16389"/>
                    <a:gd name="T47" fmla="*/ 1846 h 5628"/>
                    <a:gd name="T48" fmla="*/ 989 w 16389"/>
                    <a:gd name="T49" fmla="*/ 1473 h 5628"/>
                    <a:gd name="T50" fmla="*/ 1628 w 16389"/>
                    <a:gd name="T51" fmla="*/ 1130 h 5628"/>
                    <a:gd name="T52" fmla="*/ 2400 w 16389"/>
                    <a:gd name="T53" fmla="*/ 824 h 5628"/>
                    <a:gd name="T54" fmla="*/ 3292 w 16389"/>
                    <a:gd name="T55" fmla="*/ 559 h 5628"/>
                    <a:gd name="T56" fmla="*/ 4289 w 16389"/>
                    <a:gd name="T57" fmla="*/ 339 h 5628"/>
                    <a:gd name="T58" fmla="*/ 5378 w 16389"/>
                    <a:gd name="T59" fmla="*/ 170 h 5628"/>
                    <a:gd name="T60" fmla="*/ 6543 w 16389"/>
                    <a:gd name="T61" fmla="*/ 57 h 5628"/>
                    <a:gd name="T62" fmla="*/ 7773 w 16389"/>
                    <a:gd name="T63" fmla="*/ 3 h 5628"/>
                    <a:gd name="T64" fmla="*/ 9032 w 16389"/>
                    <a:gd name="T65" fmla="*/ 14 h 5628"/>
                    <a:gd name="T66" fmla="*/ 10241 w 16389"/>
                    <a:gd name="T67" fmla="*/ 88 h 5628"/>
                    <a:gd name="T68" fmla="*/ 11383 w 16389"/>
                    <a:gd name="T69" fmla="*/ 220 h 5628"/>
                    <a:gd name="T70" fmla="*/ 12443 w 16389"/>
                    <a:gd name="T71" fmla="*/ 406 h 5628"/>
                    <a:gd name="T72" fmla="*/ 13407 w 16389"/>
                    <a:gd name="T73" fmla="*/ 642 h 5628"/>
                    <a:gd name="T74" fmla="*/ 14260 w 16389"/>
                    <a:gd name="T75" fmla="*/ 922 h 5628"/>
                    <a:gd name="T76" fmla="*/ 14990 w 16389"/>
                    <a:gd name="T77" fmla="*/ 1241 h 5628"/>
                    <a:gd name="T78" fmla="*/ 15581 w 16389"/>
                    <a:gd name="T79" fmla="*/ 1594 h 5628"/>
                    <a:gd name="T80" fmla="*/ 16022 w 16389"/>
                    <a:gd name="T81" fmla="*/ 1977 h 5628"/>
                    <a:gd name="T82" fmla="*/ 16296 w 16389"/>
                    <a:gd name="T83" fmla="*/ 2385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2"/>
                      </a:lnTo>
                      <a:lnTo>
                        <a:pt x="16224" y="3381"/>
                      </a:lnTo>
                      <a:lnTo>
                        <a:pt x="16132" y="3517"/>
                      </a:lnTo>
                      <a:lnTo>
                        <a:pt x="16022" y="3650"/>
                      </a:lnTo>
                      <a:lnTo>
                        <a:pt x="15893" y="3781"/>
                      </a:lnTo>
                      <a:lnTo>
                        <a:pt x="15745" y="3909"/>
                      </a:lnTo>
                      <a:lnTo>
                        <a:pt x="15581" y="4033"/>
                      </a:lnTo>
                      <a:lnTo>
                        <a:pt x="15400" y="4155"/>
                      </a:lnTo>
                      <a:lnTo>
                        <a:pt x="15203" y="4272"/>
                      </a:lnTo>
                      <a:lnTo>
                        <a:pt x="14990" y="4387"/>
                      </a:lnTo>
                      <a:lnTo>
                        <a:pt x="14761" y="4497"/>
                      </a:lnTo>
                      <a:lnTo>
                        <a:pt x="14518" y="4604"/>
                      </a:lnTo>
                      <a:lnTo>
                        <a:pt x="14260" y="4706"/>
                      </a:lnTo>
                      <a:lnTo>
                        <a:pt x="13989" y="4803"/>
                      </a:lnTo>
                      <a:lnTo>
                        <a:pt x="13704" y="4896"/>
                      </a:lnTo>
                      <a:lnTo>
                        <a:pt x="13407" y="4985"/>
                      </a:lnTo>
                      <a:lnTo>
                        <a:pt x="13096" y="5069"/>
                      </a:lnTo>
                      <a:lnTo>
                        <a:pt x="12776" y="5147"/>
                      </a:lnTo>
                      <a:lnTo>
                        <a:pt x="12443" y="5220"/>
                      </a:lnTo>
                      <a:lnTo>
                        <a:pt x="12100" y="5289"/>
                      </a:lnTo>
                      <a:lnTo>
                        <a:pt x="11746" y="5351"/>
                      </a:lnTo>
                      <a:lnTo>
                        <a:pt x="11383" y="5407"/>
                      </a:lnTo>
                      <a:lnTo>
                        <a:pt x="11011" y="5457"/>
                      </a:lnTo>
                      <a:lnTo>
                        <a:pt x="10631" y="5502"/>
                      </a:lnTo>
                      <a:lnTo>
                        <a:pt x="10241" y="5539"/>
                      </a:lnTo>
                      <a:lnTo>
                        <a:pt x="9846" y="5571"/>
                      </a:lnTo>
                      <a:lnTo>
                        <a:pt x="9442" y="5596"/>
                      </a:lnTo>
                      <a:lnTo>
                        <a:pt x="9032" y="5614"/>
                      </a:lnTo>
                      <a:lnTo>
                        <a:pt x="8616" y="5624"/>
                      </a:lnTo>
                      <a:lnTo>
                        <a:pt x="8195" y="5628"/>
                      </a:lnTo>
                      <a:lnTo>
                        <a:pt x="7773" y="5624"/>
                      </a:lnTo>
                      <a:lnTo>
                        <a:pt x="7357" y="5614"/>
                      </a:lnTo>
                      <a:lnTo>
                        <a:pt x="6947" y="5596"/>
                      </a:lnTo>
                      <a:lnTo>
                        <a:pt x="6543" y="5571"/>
                      </a:lnTo>
                      <a:lnTo>
                        <a:pt x="6148" y="5539"/>
                      </a:lnTo>
                      <a:lnTo>
                        <a:pt x="5758" y="5502"/>
                      </a:lnTo>
                      <a:lnTo>
                        <a:pt x="5378" y="5457"/>
                      </a:lnTo>
                      <a:lnTo>
                        <a:pt x="5006" y="5407"/>
                      </a:lnTo>
                      <a:lnTo>
                        <a:pt x="4643" y="5351"/>
                      </a:lnTo>
                      <a:lnTo>
                        <a:pt x="4289" y="5289"/>
                      </a:lnTo>
                      <a:lnTo>
                        <a:pt x="3946" y="5220"/>
                      </a:lnTo>
                      <a:lnTo>
                        <a:pt x="3613" y="5147"/>
                      </a:lnTo>
                      <a:lnTo>
                        <a:pt x="3292" y="5069"/>
                      </a:lnTo>
                      <a:lnTo>
                        <a:pt x="2982" y="4985"/>
                      </a:lnTo>
                      <a:lnTo>
                        <a:pt x="2685" y="4896"/>
                      </a:lnTo>
                      <a:lnTo>
                        <a:pt x="2400" y="4803"/>
                      </a:lnTo>
                      <a:lnTo>
                        <a:pt x="2129" y="4706"/>
                      </a:lnTo>
                      <a:lnTo>
                        <a:pt x="1871" y="4604"/>
                      </a:lnTo>
                      <a:lnTo>
                        <a:pt x="1628" y="4497"/>
                      </a:lnTo>
                      <a:lnTo>
                        <a:pt x="1399" y="4387"/>
                      </a:lnTo>
                      <a:lnTo>
                        <a:pt x="1186" y="4272"/>
                      </a:lnTo>
                      <a:lnTo>
                        <a:pt x="989" y="4155"/>
                      </a:lnTo>
                      <a:lnTo>
                        <a:pt x="808" y="4033"/>
                      </a:lnTo>
                      <a:lnTo>
                        <a:pt x="644" y="3909"/>
                      </a:lnTo>
                      <a:lnTo>
                        <a:pt x="496" y="3781"/>
                      </a:lnTo>
                      <a:lnTo>
                        <a:pt x="367" y="3650"/>
                      </a:lnTo>
                      <a:lnTo>
                        <a:pt x="257" y="3517"/>
                      </a:lnTo>
                      <a:lnTo>
                        <a:pt x="165" y="3381"/>
                      </a:lnTo>
                      <a:lnTo>
                        <a:pt x="93" y="3242"/>
                      </a:lnTo>
                      <a:lnTo>
                        <a:pt x="42" y="3102"/>
                      </a:lnTo>
                      <a:lnTo>
                        <a:pt x="10" y="2959"/>
                      </a:lnTo>
                      <a:lnTo>
                        <a:pt x="0" y="2814"/>
                      </a:lnTo>
                      <a:lnTo>
                        <a:pt x="10" y="2669"/>
                      </a:lnTo>
                      <a:lnTo>
                        <a:pt x="42" y="2526"/>
                      </a:lnTo>
                      <a:lnTo>
                        <a:pt x="93" y="2385"/>
                      </a:lnTo>
                      <a:lnTo>
                        <a:pt x="165" y="2247"/>
                      </a:lnTo>
                      <a:lnTo>
                        <a:pt x="257" y="2111"/>
                      </a:lnTo>
                      <a:lnTo>
                        <a:pt x="367" y="1977"/>
                      </a:lnTo>
                      <a:lnTo>
                        <a:pt x="496" y="1846"/>
                      </a:lnTo>
                      <a:lnTo>
                        <a:pt x="644" y="1719"/>
                      </a:lnTo>
                      <a:lnTo>
                        <a:pt x="808" y="1594"/>
                      </a:lnTo>
                      <a:lnTo>
                        <a:pt x="989" y="1473"/>
                      </a:lnTo>
                      <a:lnTo>
                        <a:pt x="1186" y="1355"/>
                      </a:lnTo>
                      <a:lnTo>
                        <a:pt x="1399" y="1241"/>
                      </a:lnTo>
                      <a:lnTo>
                        <a:pt x="1628" y="1130"/>
                      </a:lnTo>
                      <a:lnTo>
                        <a:pt x="1871" y="1023"/>
                      </a:lnTo>
                      <a:lnTo>
                        <a:pt x="2129" y="922"/>
                      </a:lnTo>
                      <a:lnTo>
                        <a:pt x="2400" y="824"/>
                      </a:lnTo>
                      <a:lnTo>
                        <a:pt x="2685" y="730"/>
                      </a:lnTo>
                      <a:lnTo>
                        <a:pt x="2982" y="642"/>
                      </a:lnTo>
                      <a:lnTo>
                        <a:pt x="3292" y="559"/>
                      </a:lnTo>
                      <a:lnTo>
                        <a:pt x="3613" y="480"/>
                      </a:lnTo>
                      <a:lnTo>
                        <a:pt x="3946" y="406"/>
                      </a:lnTo>
                      <a:lnTo>
                        <a:pt x="4289" y="339"/>
                      </a:lnTo>
                      <a:lnTo>
                        <a:pt x="4643" y="277"/>
                      </a:lnTo>
                      <a:lnTo>
                        <a:pt x="5006" y="220"/>
                      </a:lnTo>
                      <a:lnTo>
                        <a:pt x="5378" y="170"/>
                      </a:lnTo>
                      <a:lnTo>
                        <a:pt x="5758" y="126"/>
                      </a:lnTo>
                      <a:lnTo>
                        <a:pt x="6148" y="88"/>
                      </a:lnTo>
                      <a:lnTo>
                        <a:pt x="6543" y="57"/>
                      </a:lnTo>
                      <a:lnTo>
                        <a:pt x="6947" y="32"/>
                      </a:lnTo>
                      <a:lnTo>
                        <a:pt x="7357" y="14"/>
                      </a:lnTo>
                      <a:lnTo>
                        <a:pt x="7773" y="3"/>
                      </a:lnTo>
                      <a:lnTo>
                        <a:pt x="8195" y="0"/>
                      </a:lnTo>
                      <a:lnTo>
                        <a:pt x="8616" y="3"/>
                      </a:lnTo>
                      <a:lnTo>
                        <a:pt x="9032" y="14"/>
                      </a:lnTo>
                      <a:lnTo>
                        <a:pt x="9442" y="32"/>
                      </a:lnTo>
                      <a:lnTo>
                        <a:pt x="9846" y="57"/>
                      </a:lnTo>
                      <a:lnTo>
                        <a:pt x="10241" y="88"/>
                      </a:lnTo>
                      <a:lnTo>
                        <a:pt x="10631" y="126"/>
                      </a:lnTo>
                      <a:lnTo>
                        <a:pt x="11011" y="170"/>
                      </a:lnTo>
                      <a:lnTo>
                        <a:pt x="11383" y="220"/>
                      </a:lnTo>
                      <a:lnTo>
                        <a:pt x="11746" y="277"/>
                      </a:lnTo>
                      <a:lnTo>
                        <a:pt x="12100" y="339"/>
                      </a:lnTo>
                      <a:lnTo>
                        <a:pt x="12443" y="406"/>
                      </a:lnTo>
                      <a:lnTo>
                        <a:pt x="12776" y="480"/>
                      </a:lnTo>
                      <a:lnTo>
                        <a:pt x="13096" y="559"/>
                      </a:lnTo>
                      <a:lnTo>
                        <a:pt x="13407" y="642"/>
                      </a:lnTo>
                      <a:lnTo>
                        <a:pt x="13704" y="730"/>
                      </a:lnTo>
                      <a:lnTo>
                        <a:pt x="13989" y="824"/>
                      </a:lnTo>
                      <a:lnTo>
                        <a:pt x="14260" y="922"/>
                      </a:lnTo>
                      <a:lnTo>
                        <a:pt x="14518" y="1023"/>
                      </a:lnTo>
                      <a:lnTo>
                        <a:pt x="14761" y="1130"/>
                      </a:lnTo>
                      <a:lnTo>
                        <a:pt x="14990" y="1241"/>
                      </a:lnTo>
                      <a:lnTo>
                        <a:pt x="15203" y="1355"/>
                      </a:lnTo>
                      <a:lnTo>
                        <a:pt x="15400" y="1473"/>
                      </a:lnTo>
                      <a:lnTo>
                        <a:pt x="15581" y="1594"/>
                      </a:lnTo>
                      <a:lnTo>
                        <a:pt x="15745" y="1719"/>
                      </a:lnTo>
                      <a:lnTo>
                        <a:pt x="15893" y="1846"/>
                      </a:lnTo>
                      <a:lnTo>
                        <a:pt x="16022" y="1977"/>
                      </a:lnTo>
                      <a:lnTo>
                        <a:pt x="16132" y="2111"/>
                      </a:lnTo>
                      <a:lnTo>
                        <a:pt x="16224" y="2247"/>
                      </a:lnTo>
                      <a:lnTo>
                        <a:pt x="16296" y="2385"/>
                      </a:lnTo>
                      <a:lnTo>
                        <a:pt x="16347" y="2526"/>
                      </a:lnTo>
                      <a:lnTo>
                        <a:pt x="16379" y="2669"/>
                      </a:lnTo>
                      <a:lnTo>
                        <a:pt x="16389" y="2814"/>
                      </a:lnTo>
                      <a:close/>
                    </a:path>
                  </a:pathLst>
                </a:custGeom>
                <a:solidFill>
                  <a:srgbClr val="B8CAD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82" name="Freeform 175"/>
                <p:cNvSpPr>
                  <a:spLocks/>
                </p:cNvSpPr>
                <p:nvPr>
                  <p:custDataLst>
                    <p:tags r:id="rId129"/>
                  </p:custDataLst>
                </p:nvPr>
              </p:nvSpPr>
              <p:spPr bwMode="auto">
                <a:xfrm>
                  <a:off x="725" y="3469"/>
                  <a:ext cx="361" cy="114"/>
                </a:xfrm>
                <a:custGeom>
                  <a:avLst/>
                  <a:gdLst>
                    <a:gd name="T0" fmla="*/ 472 w 8295"/>
                    <a:gd name="T1" fmla="*/ 2861 h 2864"/>
                    <a:gd name="T2" fmla="*/ 1300 w 8295"/>
                    <a:gd name="T3" fmla="*/ 2832 h 2864"/>
                    <a:gd name="T4" fmla="*/ 2102 w 8295"/>
                    <a:gd name="T5" fmla="*/ 2776 h 2864"/>
                    <a:gd name="T6" fmla="*/ 2873 w 8295"/>
                    <a:gd name="T7" fmla="*/ 2693 h 2864"/>
                    <a:gd name="T8" fmla="*/ 3609 w 8295"/>
                    <a:gd name="T9" fmla="*/ 2587 h 2864"/>
                    <a:gd name="T10" fmla="*/ 4308 w 8295"/>
                    <a:gd name="T11" fmla="*/ 2456 h 2864"/>
                    <a:gd name="T12" fmla="*/ 4964 w 8295"/>
                    <a:gd name="T13" fmla="*/ 2304 h 2864"/>
                    <a:gd name="T14" fmla="*/ 5426 w 8295"/>
                    <a:gd name="T15" fmla="*/ 2176 h 2864"/>
                    <a:gd name="T16" fmla="*/ 5718 w 8295"/>
                    <a:gd name="T17" fmla="*/ 2085 h 2864"/>
                    <a:gd name="T18" fmla="*/ 5998 w 8295"/>
                    <a:gd name="T19" fmla="*/ 1988 h 2864"/>
                    <a:gd name="T20" fmla="*/ 6264 w 8295"/>
                    <a:gd name="T21" fmla="*/ 1888 h 2864"/>
                    <a:gd name="T22" fmla="*/ 6516 w 8295"/>
                    <a:gd name="T23" fmla="*/ 1783 h 2864"/>
                    <a:gd name="T24" fmla="*/ 6754 w 8295"/>
                    <a:gd name="T25" fmla="*/ 1674 h 2864"/>
                    <a:gd name="T26" fmla="*/ 6977 w 8295"/>
                    <a:gd name="T27" fmla="*/ 1561 h 2864"/>
                    <a:gd name="T28" fmla="*/ 7184 w 8295"/>
                    <a:gd name="T29" fmla="*/ 1444 h 2864"/>
                    <a:gd name="T30" fmla="*/ 7376 w 8295"/>
                    <a:gd name="T31" fmla="*/ 1323 h 2864"/>
                    <a:gd name="T32" fmla="*/ 7551 w 8295"/>
                    <a:gd name="T33" fmla="*/ 1198 h 2864"/>
                    <a:gd name="T34" fmla="*/ 7709 w 8295"/>
                    <a:gd name="T35" fmla="*/ 1069 h 2864"/>
                    <a:gd name="T36" fmla="*/ 7850 w 8295"/>
                    <a:gd name="T37" fmla="*/ 938 h 2864"/>
                    <a:gd name="T38" fmla="*/ 7972 w 8295"/>
                    <a:gd name="T39" fmla="*/ 802 h 2864"/>
                    <a:gd name="T40" fmla="*/ 8076 w 8295"/>
                    <a:gd name="T41" fmla="*/ 663 h 2864"/>
                    <a:gd name="T42" fmla="*/ 8161 w 8295"/>
                    <a:gd name="T43" fmla="*/ 521 h 2864"/>
                    <a:gd name="T44" fmla="*/ 8226 w 8295"/>
                    <a:gd name="T45" fmla="*/ 376 h 2864"/>
                    <a:gd name="T46" fmla="*/ 8269 w 8295"/>
                    <a:gd name="T47" fmla="*/ 227 h 2864"/>
                    <a:gd name="T48" fmla="*/ 8292 w 8295"/>
                    <a:gd name="T49" fmla="*/ 76 h 2864"/>
                    <a:gd name="T50" fmla="*/ 8194 w 8295"/>
                    <a:gd name="T51" fmla="*/ 34 h 2864"/>
                    <a:gd name="T52" fmla="*/ 8180 w 8295"/>
                    <a:gd name="T53" fmla="*/ 172 h 2864"/>
                    <a:gd name="T54" fmla="*/ 8145 w 8295"/>
                    <a:gd name="T55" fmla="*/ 307 h 2864"/>
                    <a:gd name="T56" fmla="*/ 8089 w 8295"/>
                    <a:gd name="T57" fmla="*/ 441 h 2864"/>
                    <a:gd name="T58" fmla="*/ 8016 w 8295"/>
                    <a:gd name="T59" fmla="*/ 574 h 2864"/>
                    <a:gd name="T60" fmla="*/ 7922 w 8295"/>
                    <a:gd name="T61" fmla="*/ 706 h 2864"/>
                    <a:gd name="T62" fmla="*/ 7810 w 8295"/>
                    <a:gd name="T63" fmla="*/ 835 h 2864"/>
                    <a:gd name="T64" fmla="*/ 7679 w 8295"/>
                    <a:gd name="T65" fmla="*/ 963 h 2864"/>
                    <a:gd name="T66" fmla="*/ 7530 w 8295"/>
                    <a:gd name="T67" fmla="*/ 1087 h 2864"/>
                    <a:gd name="T68" fmla="*/ 7364 w 8295"/>
                    <a:gd name="T69" fmla="*/ 1209 h 2864"/>
                    <a:gd name="T70" fmla="*/ 7182 w 8295"/>
                    <a:gd name="T71" fmla="*/ 1328 h 2864"/>
                    <a:gd name="T72" fmla="*/ 6982 w 8295"/>
                    <a:gd name="T73" fmla="*/ 1444 h 2864"/>
                    <a:gd name="T74" fmla="*/ 6766 w 8295"/>
                    <a:gd name="T75" fmla="*/ 1556 h 2864"/>
                    <a:gd name="T76" fmla="*/ 6537 w 8295"/>
                    <a:gd name="T77" fmla="*/ 1664 h 2864"/>
                    <a:gd name="T78" fmla="*/ 6290 w 8295"/>
                    <a:gd name="T79" fmla="*/ 1769 h 2864"/>
                    <a:gd name="T80" fmla="*/ 6032 w 8295"/>
                    <a:gd name="T81" fmla="*/ 1869 h 2864"/>
                    <a:gd name="T82" fmla="*/ 5757 w 8295"/>
                    <a:gd name="T83" fmla="*/ 1965 h 2864"/>
                    <a:gd name="T84" fmla="*/ 5471 w 8295"/>
                    <a:gd name="T85" fmla="*/ 2058 h 2864"/>
                    <a:gd name="T86" fmla="*/ 5096 w 8295"/>
                    <a:gd name="T87" fmla="*/ 2165 h 2864"/>
                    <a:gd name="T88" fmla="*/ 4455 w 8295"/>
                    <a:gd name="T89" fmla="*/ 2322 h 2864"/>
                    <a:gd name="T90" fmla="*/ 3771 w 8295"/>
                    <a:gd name="T91" fmla="*/ 2457 h 2864"/>
                    <a:gd name="T92" fmla="*/ 3047 w 8295"/>
                    <a:gd name="T93" fmla="*/ 2569 h 2864"/>
                    <a:gd name="T94" fmla="*/ 2287 w 8295"/>
                    <a:gd name="T95" fmla="*/ 2658 h 2864"/>
                    <a:gd name="T96" fmla="*/ 1497 w 8295"/>
                    <a:gd name="T97" fmla="*/ 2720 h 2864"/>
                    <a:gd name="T98" fmla="*/ 678 w 8295"/>
                    <a:gd name="T99" fmla="*/ 2756 h 2864"/>
                    <a:gd name="T100" fmla="*/ 50 w 8295"/>
                    <a:gd name="T101" fmla="*/ 2764 h 2864"/>
                    <a:gd name="T102" fmla="*/ 33 w 8295"/>
                    <a:gd name="T103" fmla="*/ 2767 h 2864"/>
                    <a:gd name="T104" fmla="*/ 15 w 8295"/>
                    <a:gd name="T105" fmla="*/ 2776 h 2864"/>
                    <a:gd name="T106" fmla="*/ 0 w 8295"/>
                    <a:gd name="T107" fmla="*/ 2805 h 2864"/>
                    <a:gd name="T108" fmla="*/ 6 w 8295"/>
                    <a:gd name="T109" fmla="*/ 2841 h 2864"/>
                    <a:gd name="T110" fmla="*/ 23 w 8295"/>
                    <a:gd name="T111" fmla="*/ 2858 h 2864"/>
                    <a:gd name="T112" fmla="*/ 43 w 8295"/>
                    <a:gd name="T113" fmla="*/ 2864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4">
                      <a:moveTo>
                        <a:pt x="50" y="2864"/>
                      </a:moveTo>
                      <a:lnTo>
                        <a:pt x="50" y="2864"/>
                      </a:lnTo>
                      <a:lnTo>
                        <a:pt x="262" y="2864"/>
                      </a:lnTo>
                      <a:lnTo>
                        <a:pt x="472" y="2861"/>
                      </a:lnTo>
                      <a:lnTo>
                        <a:pt x="681" y="2856"/>
                      </a:lnTo>
                      <a:lnTo>
                        <a:pt x="888" y="2849"/>
                      </a:lnTo>
                      <a:lnTo>
                        <a:pt x="1095" y="2841"/>
                      </a:lnTo>
                      <a:lnTo>
                        <a:pt x="1300" y="2832"/>
                      </a:lnTo>
                      <a:lnTo>
                        <a:pt x="1503" y="2820"/>
                      </a:lnTo>
                      <a:lnTo>
                        <a:pt x="1704" y="2807"/>
                      </a:lnTo>
                      <a:lnTo>
                        <a:pt x="1904" y="2792"/>
                      </a:lnTo>
                      <a:lnTo>
                        <a:pt x="2102" y="2776"/>
                      </a:lnTo>
                      <a:lnTo>
                        <a:pt x="2296" y="2757"/>
                      </a:lnTo>
                      <a:lnTo>
                        <a:pt x="2491" y="2738"/>
                      </a:lnTo>
                      <a:lnTo>
                        <a:pt x="2683" y="2716"/>
                      </a:lnTo>
                      <a:lnTo>
                        <a:pt x="2873" y="2693"/>
                      </a:lnTo>
                      <a:lnTo>
                        <a:pt x="3060" y="2668"/>
                      </a:lnTo>
                      <a:lnTo>
                        <a:pt x="3246" y="2642"/>
                      </a:lnTo>
                      <a:lnTo>
                        <a:pt x="3429" y="2615"/>
                      </a:lnTo>
                      <a:lnTo>
                        <a:pt x="3609" y="2587"/>
                      </a:lnTo>
                      <a:lnTo>
                        <a:pt x="3788" y="2555"/>
                      </a:lnTo>
                      <a:lnTo>
                        <a:pt x="3964" y="2523"/>
                      </a:lnTo>
                      <a:lnTo>
                        <a:pt x="4137" y="2490"/>
                      </a:lnTo>
                      <a:lnTo>
                        <a:pt x="4308" y="2456"/>
                      </a:lnTo>
                      <a:lnTo>
                        <a:pt x="4476" y="2420"/>
                      </a:lnTo>
                      <a:lnTo>
                        <a:pt x="4642" y="2383"/>
                      </a:lnTo>
                      <a:lnTo>
                        <a:pt x="4804" y="2343"/>
                      </a:lnTo>
                      <a:lnTo>
                        <a:pt x="4964" y="2304"/>
                      </a:lnTo>
                      <a:lnTo>
                        <a:pt x="5122" y="2263"/>
                      </a:lnTo>
                      <a:lnTo>
                        <a:pt x="5275" y="2219"/>
                      </a:lnTo>
                      <a:lnTo>
                        <a:pt x="5351" y="2197"/>
                      </a:lnTo>
                      <a:lnTo>
                        <a:pt x="5426" y="2176"/>
                      </a:lnTo>
                      <a:lnTo>
                        <a:pt x="5500" y="2153"/>
                      </a:lnTo>
                      <a:lnTo>
                        <a:pt x="5574" y="2131"/>
                      </a:lnTo>
                      <a:lnTo>
                        <a:pt x="5646" y="2107"/>
                      </a:lnTo>
                      <a:lnTo>
                        <a:pt x="5718" y="2085"/>
                      </a:lnTo>
                      <a:lnTo>
                        <a:pt x="5789" y="2061"/>
                      </a:lnTo>
                      <a:lnTo>
                        <a:pt x="5859" y="2037"/>
                      </a:lnTo>
                      <a:lnTo>
                        <a:pt x="5930" y="2013"/>
                      </a:lnTo>
                      <a:lnTo>
                        <a:pt x="5998" y="1988"/>
                      </a:lnTo>
                      <a:lnTo>
                        <a:pt x="6066" y="1963"/>
                      </a:lnTo>
                      <a:lnTo>
                        <a:pt x="6133" y="1939"/>
                      </a:lnTo>
                      <a:lnTo>
                        <a:pt x="6199" y="1914"/>
                      </a:lnTo>
                      <a:lnTo>
                        <a:pt x="6264" y="1888"/>
                      </a:lnTo>
                      <a:lnTo>
                        <a:pt x="6328" y="1862"/>
                      </a:lnTo>
                      <a:lnTo>
                        <a:pt x="6391" y="1836"/>
                      </a:lnTo>
                      <a:lnTo>
                        <a:pt x="6454" y="1809"/>
                      </a:lnTo>
                      <a:lnTo>
                        <a:pt x="6516" y="1783"/>
                      </a:lnTo>
                      <a:lnTo>
                        <a:pt x="6577" y="1756"/>
                      </a:lnTo>
                      <a:lnTo>
                        <a:pt x="6637" y="1728"/>
                      </a:lnTo>
                      <a:lnTo>
                        <a:pt x="6695" y="1702"/>
                      </a:lnTo>
                      <a:lnTo>
                        <a:pt x="6754" y="1674"/>
                      </a:lnTo>
                      <a:lnTo>
                        <a:pt x="6811" y="1646"/>
                      </a:lnTo>
                      <a:lnTo>
                        <a:pt x="6867" y="1618"/>
                      </a:lnTo>
                      <a:lnTo>
                        <a:pt x="6922" y="1590"/>
                      </a:lnTo>
                      <a:lnTo>
                        <a:pt x="6977" y="1561"/>
                      </a:lnTo>
                      <a:lnTo>
                        <a:pt x="7030" y="1532"/>
                      </a:lnTo>
                      <a:lnTo>
                        <a:pt x="7082" y="1503"/>
                      </a:lnTo>
                      <a:lnTo>
                        <a:pt x="7133" y="1473"/>
                      </a:lnTo>
                      <a:lnTo>
                        <a:pt x="7184" y="1444"/>
                      </a:lnTo>
                      <a:lnTo>
                        <a:pt x="7233" y="1414"/>
                      </a:lnTo>
                      <a:lnTo>
                        <a:pt x="7282" y="1384"/>
                      </a:lnTo>
                      <a:lnTo>
                        <a:pt x="7329" y="1353"/>
                      </a:lnTo>
                      <a:lnTo>
                        <a:pt x="7376" y="1323"/>
                      </a:lnTo>
                      <a:lnTo>
                        <a:pt x="7421" y="1292"/>
                      </a:lnTo>
                      <a:lnTo>
                        <a:pt x="7465" y="1261"/>
                      </a:lnTo>
                      <a:lnTo>
                        <a:pt x="7509" y="1230"/>
                      </a:lnTo>
                      <a:lnTo>
                        <a:pt x="7551" y="1198"/>
                      </a:lnTo>
                      <a:lnTo>
                        <a:pt x="7592" y="1165"/>
                      </a:lnTo>
                      <a:lnTo>
                        <a:pt x="7632" y="1134"/>
                      </a:lnTo>
                      <a:lnTo>
                        <a:pt x="7670" y="1102"/>
                      </a:lnTo>
                      <a:lnTo>
                        <a:pt x="7709" y="1069"/>
                      </a:lnTo>
                      <a:lnTo>
                        <a:pt x="7746" y="1037"/>
                      </a:lnTo>
                      <a:lnTo>
                        <a:pt x="7782" y="1004"/>
                      </a:lnTo>
                      <a:lnTo>
                        <a:pt x="7816" y="971"/>
                      </a:lnTo>
                      <a:lnTo>
                        <a:pt x="7850" y="938"/>
                      </a:lnTo>
                      <a:lnTo>
                        <a:pt x="7882" y="904"/>
                      </a:lnTo>
                      <a:lnTo>
                        <a:pt x="7914" y="870"/>
                      </a:lnTo>
                      <a:lnTo>
                        <a:pt x="7944" y="836"/>
                      </a:lnTo>
                      <a:lnTo>
                        <a:pt x="7972" y="802"/>
                      </a:lnTo>
                      <a:lnTo>
                        <a:pt x="8000" y="768"/>
                      </a:lnTo>
                      <a:lnTo>
                        <a:pt x="8027" y="733"/>
                      </a:lnTo>
                      <a:lnTo>
                        <a:pt x="8052" y="699"/>
                      </a:lnTo>
                      <a:lnTo>
                        <a:pt x="8076" y="663"/>
                      </a:lnTo>
                      <a:lnTo>
                        <a:pt x="8099" y="628"/>
                      </a:lnTo>
                      <a:lnTo>
                        <a:pt x="8121" y="592"/>
                      </a:lnTo>
                      <a:lnTo>
                        <a:pt x="8141" y="557"/>
                      </a:lnTo>
                      <a:lnTo>
                        <a:pt x="8161" y="521"/>
                      </a:lnTo>
                      <a:lnTo>
                        <a:pt x="8180" y="484"/>
                      </a:lnTo>
                      <a:lnTo>
                        <a:pt x="8196" y="448"/>
                      </a:lnTo>
                      <a:lnTo>
                        <a:pt x="8212" y="412"/>
                      </a:lnTo>
                      <a:lnTo>
                        <a:pt x="8226" y="376"/>
                      </a:lnTo>
                      <a:lnTo>
                        <a:pt x="8238" y="338"/>
                      </a:lnTo>
                      <a:lnTo>
                        <a:pt x="8251" y="301"/>
                      </a:lnTo>
                      <a:lnTo>
                        <a:pt x="8261" y="265"/>
                      </a:lnTo>
                      <a:lnTo>
                        <a:pt x="8269" y="227"/>
                      </a:lnTo>
                      <a:lnTo>
                        <a:pt x="8277" y="189"/>
                      </a:lnTo>
                      <a:lnTo>
                        <a:pt x="8284" y="152"/>
                      </a:lnTo>
                      <a:lnTo>
                        <a:pt x="8289" y="114"/>
                      </a:lnTo>
                      <a:lnTo>
                        <a:pt x="8292" y="76"/>
                      </a:lnTo>
                      <a:lnTo>
                        <a:pt x="8294" y="38"/>
                      </a:lnTo>
                      <a:lnTo>
                        <a:pt x="8295" y="0"/>
                      </a:lnTo>
                      <a:lnTo>
                        <a:pt x="8195" y="0"/>
                      </a:lnTo>
                      <a:lnTo>
                        <a:pt x="8194" y="34"/>
                      </a:lnTo>
                      <a:lnTo>
                        <a:pt x="8192" y="69"/>
                      </a:lnTo>
                      <a:lnTo>
                        <a:pt x="8189" y="103"/>
                      </a:lnTo>
                      <a:lnTo>
                        <a:pt x="8185" y="138"/>
                      </a:lnTo>
                      <a:lnTo>
                        <a:pt x="8180" y="172"/>
                      </a:lnTo>
                      <a:lnTo>
                        <a:pt x="8172" y="205"/>
                      </a:lnTo>
                      <a:lnTo>
                        <a:pt x="8164" y="239"/>
                      </a:lnTo>
                      <a:lnTo>
                        <a:pt x="8155" y="273"/>
                      </a:lnTo>
                      <a:lnTo>
                        <a:pt x="8145" y="307"/>
                      </a:lnTo>
                      <a:lnTo>
                        <a:pt x="8132" y="340"/>
                      </a:lnTo>
                      <a:lnTo>
                        <a:pt x="8119" y="375"/>
                      </a:lnTo>
                      <a:lnTo>
                        <a:pt x="8105" y="408"/>
                      </a:lnTo>
                      <a:lnTo>
                        <a:pt x="8089" y="441"/>
                      </a:lnTo>
                      <a:lnTo>
                        <a:pt x="8072" y="475"/>
                      </a:lnTo>
                      <a:lnTo>
                        <a:pt x="8055" y="508"/>
                      </a:lnTo>
                      <a:lnTo>
                        <a:pt x="8035" y="541"/>
                      </a:lnTo>
                      <a:lnTo>
                        <a:pt x="8016" y="574"/>
                      </a:lnTo>
                      <a:lnTo>
                        <a:pt x="7993" y="608"/>
                      </a:lnTo>
                      <a:lnTo>
                        <a:pt x="7970" y="640"/>
                      </a:lnTo>
                      <a:lnTo>
                        <a:pt x="7947" y="673"/>
                      </a:lnTo>
                      <a:lnTo>
                        <a:pt x="7922" y="706"/>
                      </a:lnTo>
                      <a:lnTo>
                        <a:pt x="7895" y="738"/>
                      </a:lnTo>
                      <a:lnTo>
                        <a:pt x="7868" y="770"/>
                      </a:lnTo>
                      <a:lnTo>
                        <a:pt x="7839" y="803"/>
                      </a:lnTo>
                      <a:lnTo>
                        <a:pt x="7810" y="835"/>
                      </a:lnTo>
                      <a:lnTo>
                        <a:pt x="7779" y="867"/>
                      </a:lnTo>
                      <a:lnTo>
                        <a:pt x="7747" y="898"/>
                      </a:lnTo>
                      <a:lnTo>
                        <a:pt x="7714" y="930"/>
                      </a:lnTo>
                      <a:lnTo>
                        <a:pt x="7679" y="963"/>
                      </a:lnTo>
                      <a:lnTo>
                        <a:pt x="7644" y="994"/>
                      </a:lnTo>
                      <a:lnTo>
                        <a:pt x="7607" y="1025"/>
                      </a:lnTo>
                      <a:lnTo>
                        <a:pt x="7569" y="1056"/>
                      </a:lnTo>
                      <a:lnTo>
                        <a:pt x="7530" y="1087"/>
                      </a:lnTo>
                      <a:lnTo>
                        <a:pt x="7490" y="1118"/>
                      </a:lnTo>
                      <a:lnTo>
                        <a:pt x="7450" y="1148"/>
                      </a:lnTo>
                      <a:lnTo>
                        <a:pt x="7408" y="1179"/>
                      </a:lnTo>
                      <a:lnTo>
                        <a:pt x="7364" y="1209"/>
                      </a:lnTo>
                      <a:lnTo>
                        <a:pt x="7320" y="1239"/>
                      </a:lnTo>
                      <a:lnTo>
                        <a:pt x="7275" y="1269"/>
                      </a:lnTo>
                      <a:lnTo>
                        <a:pt x="7228" y="1299"/>
                      </a:lnTo>
                      <a:lnTo>
                        <a:pt x="7182" y="1328"/>
                      </a:lnTo>
                      <a:lnTo>
                        <a:pt x="7133" y="1357"/>
                      </a:lnTo>
                      <a:lnTo>
                        <a:pt x="7084" y="1386"/>
                      </a:lnTo>
                      <a:lnTo>
                        <a:pt x="7033" y="1415"/>
                      </a:lnTo>
                      <a:lnTo>
                        <a:pt x="6982" y="1444"/>
                      </a:lnTo>
                      <a:lnTo>
                        <a:pt x="6929" y="1472"/>
                      </a:lnTo>
                      <a:lnTo>
                        <a:pt x="6877" y="1501"/>
                      </a:lnTo>
                      <a:lnTo>
                        <a:pt x="6822" y="1529"/>
                      </a:lnTo>
                      <a:lnTo>
                        <a:pt x="6766" y="1556"/>
                      </a:lnTo>
                      <a:lnTo>
                        <a:pt x="6711" y="1584"/>
                      </a:lnTo>
                      <a:lnTo>
                        <a:pt x="6653" y="1610"/>
                      </a:lnTo>
                      <a:lnTo>
                        <a:pt x="6595" y="1637"/>
                      </a:lnTo>
                      <a:lnTo>
                        <a:pt x="6537" y="1664"/>
                      </a:lnTo>
                      <a:lnTo>
                        <a:pt x="6476" y="1691"/>
                      </a:lnTo>
                      <a:lnTo>
                        <a:pt x="6415" y="1717"/>
                      </a:lnTo>
                      <a:lnTo>
                        <a:pt x="6354" y="1743"/>
                      </a:lnTo>
                      <a:lnTo>
                        <a:pt x="6290" y="1769"/>
                      </a:lnTo>
                      <a:lnTo>
                        <a:pt x="6227" y="1795"/>
                      </a:lnTo>
                      <a:lnTo>
                        <a:pt x="6163" y="1820"/>
                      </a:lnTo>
                      <a:lnTo>
                        <a:pt x="6098" y="1845"/>
                      </a:lnTo>
                      <a:lnTo>
                        <a:pt x="6032" y="1869"/>
                      </a:lnTo>
                      <a:lnTo>
                        <a:pt x="5965" y="1894"/>
                      </a:lnTo>
                      <a:lnTo>
                        <a:pt x="5897" y="1918"/>
                      </a:lnTo>
                      <a:lnTo>
                        <a:pt x="5828" y="1942"/>
                      </a:lnTo>
                      <a:lnTo>
                        <a:pt x="5757" y="1965"/>
                      </a:lnTo>
                      <a:lnTo>
                        <a:pt x="5687" y="1989"/>
                      </a:lnTo>
                      <a:lnTo>
                        <a:pt x="5616" y="2012"/>
                      </a:lnTo>
                      <a:lnTo>
                        <a:pt x="5544" y="2035"/>
                      </a:lnTo>
                      <a:lnTo>
                        <a:pt x="5471" y="2058"/>
                      </a:lnTo>
                      <a:lnTo>
                        <a:pt x="5398" y="2079"/>
                      </a:lnTo>
                      <a:lnTo>
                        <a:pt x="5324" y="2101"/>
                      </a:lnTo>
                      <a:lnTo>
                        <a:pt x="5248" y="2123"/>
                      </a:lnTo>
                      <a:lnTo>
                        <a:pt x="5096" y="2165"/>
                      </a:lnTo>
                      <a:lnTo>
                        <a:pt x="4940" y="2207"/>
                      </a:lnTo>
                      <a:lnTo>
                        <a:pt x="4781" y="2246"/>
                      </a:lnTo>
                      <a:lnTo>
                        <a:pt x="4620" y="2284"/>
                      </a:lnTo>
                      <a:lnTo>
                        <a:pt x="4455" y="2322"/>
                      </a:lnTo>
                      <a:lnTo>
                        <a:pt x="4288" y="2358"/>
                      </a:lnTo>
                      <a:lnTo>
                        <a:pt x="4119" y="2392"/>
                      </a:lnTo>
                      <a:lnTo>
                        <a:pt x="3945" y="2425"/>
                      </a:lnTo>
                      <a:lnTo>
                        <a:pt x="3771" y="2457"/>
                      </a:lnTo>
                      <a:lnTo>
                        <a:pt x="3593" y="2487"/>
                      </a:lnTo>
                      <a:lnTo>
                        <a:pt x="3414" y="2516"/>
                      </a:lnTo>
                      <a:lnTo>
                        <a:pt x="3231" y="2543"/>
                      </a:lnTo>
                      <a:lnTo>
                        <a:pt x="3047" y="2569"/>
                      </a:lnTo>
                      <a:lnTo>
                        <a:pt x="2860" y="2594"/>
                      </a:lnTo>
                      <a:lnTo>
                        <a:pt x="2672" y="2617"/>
                      </a:lnTo>
                      <a:lnTo>
                        <a:pt x="2481" y="2637"/>
                      </a:lnTo>
                      <a:lnTo>
                        <a:pt x="2287" y="2658"/>
                      </a:lnTo>
                      <a:lnTo>
                        <a:pt x="2092" y="2676"/>
                      </a:lnTo>
                      <a:lnTo>
                        <a:pt x="1895" y="2692"/>
                      </a:lnTo>
                      <a:lnTo>
                        <a:pt x="1698" y="2707"/>
                      </a:lnTo>
                      <a:lnTo>
                        <a:pt x="1497" y="2720"/>
                      </a:lnTo>
                      <a:lnTo>
                        <a:pt x="1295" y="2731"/>
                      </a:lnTo>
                      <a:lnTo>
                        <a:pt x="1090" y="2742"/>
                      </a:lnTo>
                      <a:lnTo>
                        <a:pt x="885" y="2750"/>
                      </a:lnTo>
                      <a:lnTo>
                        <a:pt x="678" y="2756"/>
                      </a:lnTo>
                      <a:lnTo>
                        <a:pt x="470" y="2760"/>
                      </a:lnTo>
                      <a:lnTo>
                        <a:pt x="261" y="2762"/>
                      </a:lnTo>
                      <a:lnTo>
                        <a:pt x="50" y="2764"/>
                      </a:lnTo>
                      <a:lnTo>
                        <a:pt x="50" y="2764"/>
                      </a:lnTo>
                      <a:lnTo>
                        <a:pt x="50" y="2764"/>
                      </a:lnTo>
                      <a:lnTo>
                        <a:pt x="43" y="2765"/>
                      </a:lnTo>
                      <a:lnTo>
                        <a:pt x="38" y="2765"/>
                      </a:lnTo>
                      <a:lnTo>
                        <a:pt x="33" y="2767"/>
                      </a:lnTo>
                      <a:lnTo>
                        <a:pt x="28" y="2769"/>
                      </a:lnTo>
                      <a:lnTo>
                        <a:pt x="23" y="2771"/>
                      </a:lnTo>
                      <a:lnTo>
                        <a:pt x="19" y="2773"/>
                      </a:lnTo>
                      <a:lnTo>
                        <a:pt x="15" y="2776"/>
                      </a:lnTo>
                      <a:lnTo>
                        <a:pt x="12" y="2780"/>
                      </a:lnTo>
                      <a:lnTo>
                        <a:pt x="6" y="2787"/>
                      </a:lnTo>
                      <a:lnTo>
                        <a:pt x="3" y="2796"/>
                      </a:lnTo>
                      <a:lnTo>
                        <a:pt x="0" y="2805"/>
                      </a:lnTo>
                      <a:lnTo>
                        <a:pt x="0" y="2814"/>
                      </a:lnTo>
                      <a:lnTo>
                        <a:pt x="0" y="2824"/>
                      </a:lnTo>
                      <a:lnTo>
                        <a:pt x="3" y="2833"/>
                      </a:lnTo>
                      <a:lnTo>
                        <a:pt x="6" y="2841"/>
                      </a:lnTo>
                      <a:lnTo>
                        <a:pt x="12" y="2848"/>
                      </a:lnTo>
                      <a:lnTo>
                        <a:pt x="15" y="2853"/>
                      </a:lnTo>
                      <a:lnTo>
                        <a:pt x="19" y="2856"/>
                      </a:lnTo>
                      <a:lnTo>
                        <a:pt x="23" y="2858"/>
                      </a:lnTo>
                      <a:lnTo>
                        <a:pt x="28" y="2860"/>
                      </a:lnTo>
                      <a:lnTo>
                        <a:pt x="33" y="2862"/>
                      </a:lnTo>
                      <a:lnTo>
                        <a:pt x="38" y="2863"/>
                      </a:lnTo>
                      <a:lnTo>
                        <a:pt x="43" y="2864"/>
                      </a:lnTo>
                      <a:lnTo>
                        <a:pt x="50"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83" name="Freeform 176"/>
                <p:cNvSpPr>
                  <a:spLocks/>
                </p:cNvSpPr>
                <p:nvPr>
                  <p:custDataLst>
                    <p:tags r:id="rId130"/>
                  </p:custDataLst>
                </p:nvPr>
              </p:nvSpPr>
              <p:spPr bwMode="auto">
                <a:xfrm>
                  <a:off x="369" y="3467"/>
                  <a:ext cx="359" cy="116"/>
                </a:xfrm>
                <a:custGeom>
                  <a:avLst/>
                  <a:gdLst>
                    <a:gd name="T0" fmla="*/ 3 w 8246"/>
                    <a:gd name="T1" fmla="*/ 127 h 2915"/>
                    <a:gd name="T2" fmla="*/ 25 w 8246"/>
                    <a:gd name="T3" fmla="*/ 278 h 2915"/>
                    <a:gd name="T4" fmla="*/ 69 w 8246"/>
                    <a:gd name="T5" fmla="*/ 427 h 2915"/>
                    <a:gd name="T6" fmla="*/ 134 w 8246"/>
                    <a:gd name="T7" fmla="*/ 572 h 2915"/>
                    <a:gd name="T8" fmla="*/ 219 w 8246"/>
                    <a:gd name="T9" fmla="*/ 714 h 2915"/>
                    <a:gd name="T10" fmla="*/ 323 w 8246"/>
                    <a:gd name="T11" fmla="*/ 853 h 2915"/>
                    <a:gd name="T12" fmla="*/ 445 w 8246"/>
                    <a:gd name="T13" fmla="*/ 989 h 2915"/>
                    <a:gd name="T14" fmla="*/ 586 w 8246"/>
                    <a:gd name="T15" fmla="*/ 1120 h 2915"/>
                    <a:gd name="T16" fmla="*/ 744 w 8246"/>
                    <a:gd name="T17" fmla="*/ 1249 h 2915"/>
                    <a:gd name="T18" fmla="*/ 919 w 8246"/>
                    <a:gd name="T19" fmla="*/ 1374 h 2915"/>
                    <a:gd name="T20" fmla="*/ 1111 w 8246"/>
                    <a:gd name="T21" fmla="*/ 1495 h 2915"/>
                    <a:gd name="T22" fmla="*/ 1318 w 8246"/>
                    <a:gd name="T23" fmla="*/ 1612 h 2915"/>
                    <a:gd name="T24" fmla="*/ 1541 w 8246"/>
                    <a:gd name="T25" fmla="*/ 1725 h 2915"/>
                    <a:gd name="T26" fmla="*/ 1779 w 8246"/>
                    <a:gd name="T27" fmla="*/ 1834 h 2915"/>
                    <a:gd name="T28" fmla="*/ 2030 w 8246"/>
                    <a:gd name="T29" fmla="*/ 1939 h 2915"/>
                    <a:gd name="T30" fmla="*/ 2297 w 8246"/>
                    <a:gd name="T31" fmla="*/ 2039 h 2915"/>
                    <a:gd name="T32" fmla="*/ 2577 w 8246"/>
                    <a:gd name="T33" fmla="*/ 2136 h 2915"/>
                    <a:gd name="T34" fmla="*/ 2869 w 8246"/>
                    <a:gd name="T35" fmla="*/ 2227 h 2915"/>
                    <a:gd name="T36" fmla="*/ 3331 w 8246"/>
                    <a:gd name="T37" fmla="*/ 2355 h 2915"/>
                    <a:gd name="T38" fmla="*/ 3987 w 8246"/>
                    <a:gd name="T39" fmla="*/ 2507 h 2915"/>
                    <a:gd name="T40" fmla="*/ 4686 w 8246"/>
                    <a:gd name="T41" fmla="*/ 2638 h 2915"/>
                    <a:gd name="T42" fmla="*/ 5422 w 8246"/>
                    <a:gd name="T43" fmla="*/ 2744 h 2915"/>
                    <a:gd name="T44" fmla="*/ 6193 w 8246"/>
                    <a:gd name="T45" fmla="*/ 2827 h 2915"/>
                    <a:gd name="T46" fmla="*/ 6995 w 8246"/>
                    <a:gd name="T47" fmla="*/ 2883 h 2915"/>
                    <a:gd name="T48" fmla="*/ 7823 w 8246"/>
                    <a:gd name="T49" fmla="*/ 2912 h 2915"/>
                    <a:gd name="T50" fmla="*/ 8034 w 8246"/>
                    <a:gd name="T51" fmla="*/ 2813 h 2915"/>
                    <a:gd name="T52" fmla="*/ 7205 w 8246"/>
                    <a:gd name="T53" fmla="*/ 2793 h 2915"/>
                    <a:gd name="T54" fmla="*/ 6400 w 8246"/>
                    <a:gd name="T55" fmla="*/ 2743 h 2915"/>
                    <a:gd name="T56" fmla="*/ 5623 w 8246"/>
                    <a:gd name="T57" fmla="*/ 2668 h 2915"/>
                    <a:gd name="T58" fmla="*/ 4881 w 8246"/>
                    <a:gd name="T59" fmla="*/ 2567 h 2915"/>
                    <a:gd name="T60" fmla="*/ 4176 w 8246"/>
                    <a:gd name="T61" fmla="*/ 2443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1 h 2915"/>
                    <a:gd name="T76" fmla="*/ 1418 w 8246"/>
                    <a:gd name="T77" fmla="*/ 1552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9 h 2915"/>
                    <a:gd name="T94" fmla="*/ 175 w 8246"/>
                    <a:gd name="T95" fmla="*/ 426 h 2915"/>
                    <a:gd name="T96" fmla="*/ 131 w 8246"/>
                    <a:gd name="T97" fmla="*/ 290 h 2915"/>
                    <a:gd name="T98" fmla="*/ 106 w 8246"/>
                    <a:gd name="T99" fmla="*/ 154 h 2915"/>
                    <a:gd name="T100" fmla="*/ 100 w 8246"/>
                    <a:gd name="T101" fmla="*/ 51 h 2915"/>
                    <a:gd name="T102" fmla="*/ 98 w 8246"/>
                    <a:gd name="T103" fmla="*/ 33 h 2915"/>
                    <a:gd name="T104" fmla="*/ 88 w 8246"/>
                    <a:gd name="T105" fmla="*/ 17 h 2915"/>
                    <a:gd name="T106" fmla="*/ 60 w 8246"/>
                    <a:gd name="T107" fmla="*/ 1 h 2915"/>
                    <a:gd name="T108" fmla="*/ 23 w 8246"/>
                    <a:gd name="T109" fmla="*/ 7 h 2915"/>
                    <a:gd name="T110" fmla="*/ 6 w 8246"/>
                    <a:gd name="T111" fmla="*/ 24 h 2915"/>
                    <a:gd name="T112" fmla="*/ 0 w 8246"/>
                    <a:gd name="T113" fmla="*/ 45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1"/>
                      </a:moveTo>
                      <a:lnTo>
                        <a:pt x="0" y="51"/>
                      </a:lnTo>
                      <a:lnTo>
                        <a:pt x="1" y="89"/>
                      </a:lnTo>
                      <a:lnTo>
                        <a:pt x="3" y="127"/>
                      </a:lnTo>
                      <a:lnTo>
                        <a:pt x="6" y="165"/>
                      </a:lnTo>
                      <a:lnTo>
                        <a:pt x="11" y="203"/>
                      </a:lnTo>
                      <a:lnTo>
                        <a:pt x="18" y="240"/>
                      </a:lnTo>
                      <a:lnTo>
                        <a:pt x="25" y="278"/>
                      </a:lnTo>
                      <a:lnTo>
                        <a:pt x="34" y="316"/>
                      </a:lnTo>
                      <a:lnTo>
                        <a:pt x="44" y="352"/>
                      </a:lnTo>
                      <a:lnTo>
                        <a:pt x="56" y="389"/>
                      </a:lnTo>
                      <a:lnTo>
                        <a:pt x="69" y="427"/>
                      </a:lnTo>
                      <a:lnTo>
                        <a:pt x="83" y="463"/>
                      </a:lnTo>
                      <a:lnTo>
                        <a:pt x="99" y="499"/>
                      </a:lnTo>
                      <a:lnTo>
                        <a:pt x="115" y="535"/>
                      </a:lnTo>
                      <a:lnTo>
                        <a:pt x="134" y="572"/>
                      </a:lnTo>
                      <a:lnTo>
                        <a:pt x="154" y="608"/>
                      </a:lnTo>
                      <a:lnTo>
                        <a:pt x="174" y="643"/>
                      </a:lnTo>
                      <a:lnTo>
                        <a:pt x="196" y="679"/>
                      </a:lnTo>
                      <a:lnTo>
                        <a:pt x="219" y="714"/>
                      </a:lnTo>
                      <a:lnTo>
                        <a:pt x="243" y="750"/>
                      </a:lnTo>
                      <a:lnTo>
                        <a:pt x="268" y="784"/>
                      </a:lnTo>
                      <a:lnTo>
                        <a:pt x="295" y="819"/>
                      </a:lnTo>
                      <a:lnTo>
                        <a:pt x="323" y="853"/>
                      </a:lnTo>
                      <a:lnTo>
                        <a:pt x="351" y="887"/>
                      </a:lnTo>
                      <a:lnTo>
                        <a:pt x="381" y="921"/>
                      </a:lnTo>
                      <a:lnTo>
                        <a:pt x="413" y="955"/>
                      </a:lnTo>
                      <a:lnTo>
                        <a:pt x="445" y="989"/>
                      </a:lnTo>
                      <a:lnTo>
                        <a:pt x="479" y="1022"/>
                      </a:lnTo>
                      <a:lnTo>
                        <a:pt x="513" y="1055"/>
                      </a:lnTo>
                      <a:lnTo>
                        <a:pt x="549" y="1088"/>
                      </a:lnTo>
                      <a:lnTo>
                        <a:pt x="586" y="1120"/>
                      </a:lnTo>
                      <a:lnTo>
                        <a:pt x="624" y="1153"/>
                      </a:lnTo>
                      <a:lnTo>
                        <a:pt x="663" y="1185"/>
                      </a:lnTo>
                      <a:lnTo>
                        <a:pt x="703" y="1216"/>
                      </a:lnTo>
                      <a:lnTo>
                        <a:pt x="744" y="1249"/>
                      </a:lnTo>
                      <a:lnTo>
                        <a:pt x="786" y="1281"/>
                      </a:lnTo>
                      <a:lnTo>
                        <a:pt x="830" y="1312"/>
                      </a:lnTo>
                      <a:lnTo>
                        <a:pt x="874" y="1343"/>
                      </a:lnTo>
                      <a:lnTo>
                        <a:pt x="919" y="1374"/>
                      </a:lnTo>
                      <a:lnTo>
                        <a:pt x="966" y="1404"/>
                      </a:lnTo>
                      <a:lnTo>
                        <a:pt x="1013" y="1435"/>
                      </a:lnTo>
                      <a:lnTo>
                        <a:pt x="1062" y="1465"/>
                      </a:lnTo>
                      <a:lnTo>
                        <a:pt x="1111" y="1495"/>
                      </a:lnTo>
                      <a:lnTo>
                        <a:pt x="1162" y="1524"/>
                      </a:lnTo>
                      <a:lnTo>
                        <a:pt x="1212" y="1554"/>
                      </a:lnTo>
                      <a:lnTo>
                        <a:pt x="1265" y="1583"/>
                      </a:lnTo>
                      <a:lnTo>
                        <a:pt x="1318" y="1612"/>
                      </a:lnTo>
                      <a:lnTo>
                        <a:pt x="1373" y="1641"/>
                      </a:lnTo>
                      <a:lnTo>
                        <a:pt x="1428" y="1669"/>
                      </a:lnTo>
                      <a:lnTo>
                        <a:pt x="1484" y="1697"/>
                      </a:lnTo>
                      <a:lnTo>
                        <a:pt x="1541" y="1725"/>
                      </a:lnTo>
                      <a:lnTo>
                        <a:pt x="1600" y="1753"/>
                      </a:lnTo>
                      <a:lnTo>
                        <a:pt x="1658" y="1779"/>
                      </a:lnTo>
                      <a:lnTo>
                        <a:pt x="1718" y="1807"/>
                      </a:lnTo>
                      <a:lnTo>
                        <a:pt x="1779" y="1834"/>
                      </a:lnTo>
                      <a:lnTo>
                        <a:pt x="1841" y="1860"/>
                      </a:lnTo>
                      <a:lnTo>
                        <a:pt x="1904" y="1887"/>
                      </a:lnTo>
                      <a:lnTo>
                        <a:pt x="1967" y="1913"/>
                      </a:lnTo>
                      <a:lnTo>
                        <a:pt x="2030" y="1939"/>
                      </a:lnTo>
                      <a:lnTo>
                        <a:pt x="2096" y="1965"/>
                      </a:lnTo>
                      <a:lnTo>
                        <a:pt x="2162" y="1990"/>
                      </a:lnTo>
                      <a:lnTo>
                        <a:pt x="2229" y="2014"/>
                      </a:lnTo>
                      <a:lnTo>
                        <a:pt x="2297" y="2039"/>
                      </a:lnTo>
                      <a:lnTo>
                        <a:pt x="2365" y="2064"/>
                      </a:lnTo>
                      <a:lnTo>
                        <a:pt x="2436" y="2088"/>
                      </a:lnTo>
                      <a:lnTo>
                        <a:pt x="2506" y="2112"/>
                      </a:lnTo>
                      <a:lnTo>
                        <a:pt x="2577" y="2136"/>
                      </a:lnTo>
                      <a:lnTo>
                        <a:pt x="2649" y="2158"/>
                      </a:lnTo>
                      <a:lnTo>
                        <a:pt x="2721" y="2182"/>
                      </a:lnTo>
                      <a:lnTo>
                        <a:pt x="2794" y="2204"/>
                      </a:lnTo>
                      <a:lnTo>
                        <a:pt x="2869" y="2227"/>
                      </a:lnTo>
                      <a:lnTo>
                        <a:pt x="2944" y="2248"/>
                      </a:lnTo>
                      <a:lnTo>
                        <a:pt x="3020" y="2270"/>
                      </a:lnTo>
                      <a:lnTo>
                        <a:pt x="3173" y="2314"/>
                      </a:lnTo>
                      <a:lnTo>
                        <a:pt x="3331" y="2355"/>
                      </a:lnTo>
                      <a:lnTo>
                        <a:pt x="3491" y="2394"/>
                      </a:lnTo>
                      <a:lnTo>
                        <a:pt x="3653" y="2434"/>
                      </a:lnTo>
                      <a:lnTo>
                        <a:pt x="3819" y="2471"/>
                      </a:lnTo>
                      <a:lnTo>
                        <a:pt x="3987" y="2507"/>
                      </a:lnTo>
                      <a:lnTo>
                        <a:pt x="4158" y="2541"/>
                      </a:lnTo>
                      <a:lnTo>
                        <a:pt x="4331" y="2574"/>
                      </a:lnTo>
                      <a:lnTo>
                        <a:pt x="4507" y="2606"/>
                      </a:lnTo>
                      <a:lnTo>
                        <a:pt x="4686" y="2638"/>
                      </a:lnTo>
                      <a:lnTo>
                        <a:pt x="4866" y="2666"/>
                      </a:lnTo>
                      <a:lnTo>
                        <a:pt x="5049" y="2693"/>
                      </a:lnTo>
                      <a:lnTo>
                        <a:pt x="5235" y="2719"/>
                      </a:lnTo>
                      <a:lnTo>
                        <a:pt x="5422" y="2744"/>
                      </a:lnTo>
                      <a:lnTo>
                        <a:pt x="5612" y="2767"/>
                      </a:lnTo>
                      <a:lnTo>
                        <a:pt x="5804" y="2789"/>
                      </a:lnTo>
                      <a:lnTo>
                        <a:pt x="5998" y="2808"/>
                      </a:lnTo>
                      <a:lnTo>
                        <a:pt x="6193" y="2827"/>
                      </a:lnTo>
                      <a:lnTo>
                        <a:pt x="6391" y="2843"/>
                      </a:lnTo>
                      <a:lnTo>
                        <a:pt x="6591" y="2858"/>
                      </a:lnTo>
                      <a:lnTo>
                        <a:pt x="6792" y="2871"/>
                      </a:lnTo>
                      <a:lnTo>
                        <a:pt x="6995" y="2883"/>
                      </a:lnTo>
                      <a:lnTo>
                        <a:pt x="7200" y="2892"/>
                      </a:lnTo>
                      <a:lnTo>
                        <a:pt x="7407" y="2900"/>
                      </a:lnTo>
                      <a:lnTo>
                        <a:pt x="7614" y="2907"/>
                      </a:lnTo>
                      <a:lnTo>
                        <a:pt x="7823" y="2912"/>
                      </a:lnTo>
                      <a:lnTo>
                        <a:pt x="8034" y="2915"/>
                      </a:lnTo>
                      <a:lnTo>
                        <a:pt x="8246" y="2915"/>
                      </a:lnTo>
                      <a:lnTo>
                        <a:pt x="8246" y="2815"/>
                      </a:lnTo>
                      <a:lnTo>
                        <a:pt x="8034" y="2813"/>
                      </a:lnTo>
                      <a:lnTo>
                        <a:pt x="7825" y="2811"/>
                      </a:lnTo>
                      <a:lnTo>
                        <a:pt x="7617" y="2807"/>
                      </a:lnTo>
                      <a:lnTo>
                        <a:pt x="7410" y="2801"/>
                      </a:lnTo>
                      <a:lnTo>
                        <a:pt x="7205" y="2793"/>
                      </a:lnTo>
                      <a:lnTo>
                        <a:pt x="7000" y="2782"/>
                      </a:lnTo>
                      <a:lnTo>
                        <a:pt x="6798" y="2771"/>
                      </a:lnTo>
                      <a:lnTo>
                        <a:pt x="6597" y="2758"/>
                      </a:lnTo>
                      <a:lnTo>
                        <a:pt x="6400" y="2743"/>
                      </a:lnTo>
                      <a:lnTo>
                        <a:pt x="6203" y="2727"/>
                      </a:lnTo>
                      <a:lnTo>
                        <a:pt x="6008" y="2709"/>
                      </a:lnTo>
                      <a:lnTo>
                        <a:pt x="5814" y="2688"/>
                      </a:lnTo>
                      <a:lnTo>
                        <a:pt x="5623" y="2668"/>
                      </a:lnTo>
                      <a:lnTo>
                        <a:pt x="5435" y="2645"/>
                      </a:lnTo>
                      <a:lnTo>
                        <a:pt x="5248" y="2620"/>
                      </a:lnTo>
                      <a:lnTo>
                        <a:pt x="5064" y="2594"/>
                      </a:lnTo>
                      <a:lnTo>
                        <a:pt x="4881" y="2567"/>
                      </a:lnTo>
                      <a:lnTo>
                        <a:pt x="4702" y="2538"/>
                      </a:lnTo>
                      <a:lnTo>
                        <a:pt x="4524" y="2508"/>
                      </a:lnTo>
                      <a:lnTo>
                        <a:pt x="4350" y="2476"/>
                      </a:lnTo>
                      <a:lnTo>
                        <a:pt x="4176" y="2443"/>
                      </a:lnTo>
                      <a:lnTo>
                        <a:pt x="4007" y="2409"/>
                      </a:lnTo>
                      <a:lnTo>
                        <a:pt x="3839" y="2373"/>
                      </a:lnTo>
                      <a:lnTo>
                        <a:pt x="3675" y="2335"/>
                      </a:lnTo>
                      <a:lnTo>
                        <a:pt x="3514" y="2297"/>
                      </a:lnTo>
                      <a:lnTo>
                        <a:pt x="3355" y="2258"/>
                      </a:lnTo>
                      <a:lnTo>
                        <a:pt x="3199" y="2216"/>
                      </a:lnTo>
                      <a:lnTo>
                        <a:pt x="3047" y="2174"/>
                      </a:lnTo>
                      <a:lnTo>
                        <a:pt x="2971" y="2152"/>
                      </a:lnTo>
                      <a:lnTo>
                        <a:pt x="2897" y="2130"/>
                      </a:lnTo>
                      <a:lnTo>
                        <a:pt x="2824" y="2109"/>
                      </a:lnTo>
                      <a:lnTo>
                        <a:pt x="2751" y="2086"/>
                      </a:lnTo>
                      <a:lnTo>
                        <a:pt x="2679" y="2063"/>
                      </a:lnTo>
                      <a:lnTo>
                        <a:pt x="2608" y="2040"/>
                      </a:lnTo>
                      <a:lnTo>
                        <a:pt x="2538" y="2016"/>
                      </a:lnTo>
                      <a:lnTo>
                        <a:pt x="2467" y="1993"/>
                      </a:lnTo>
                      <a:lnTo>
                        <a:pt x="2398" y="1969"/>
                      </a:lnTo>
                      <a:lnTo>
                        <a:pt x="2330" y="1945"/>
                      </a:lnTo>
                      <a:lnTo>
                        <a:pt x="2263" y="1920"/>
                      </a:lnTo>
                      <a:lnTo>
                        <a:pt x="2197" y="1896"/>
                      </a:lnTo>
                      <a:lnTo>
                        <a:pt x="2132" y="1871"/>
                      </a:lnTo>
                      <a:lnTo>
                        <a:pt x="2068" y="1846"/>
                      </a:lnTo>
                      <a:lnTo>
                        <a:pt x="2004" y="1820"/>
                      </a:lnTo>
                      <a:lnTo>
                        <a:pt x="1941" y="1794"/>
                      </a:lnTo>
                      <a:lnTo>
                        <a:pt x="1880" y="1768"/>
                      </a:lnTo>
                      <a:lnTo>
                        <a:pt x="1819" y="1742"/>
                      </a:lnTo>
                      <a:lnTo>
                        <a:pt x="1758" y="1715"/>
                      </a:lnTo>
                      <a:lnTo>
                        <a:pt x="1700" y="1688"/>
                      </a:lnTo>
                      <a:lnTo>
                        <a:pt x="1642" y="1661"/>
                      </a:lnTo>
                      <a:lnTo>
                        <a:pt x="1584" y="1635"/>
                      </a:lnTo>
                      <a:lnTo>
                        <a:pt x="1529" y="1607"/>
                      </a:lnTo>
                      <a:lnTo>
                        <a:pt x="1473" y="1580"/>
                      </a:lnTo>
                      <a:lnTo>
                        <a:pt x="1418" y="1552"/>
                      </a:lnTo>
                      <a:lnTo>
                        <a:pt x="1366" y="1523"/>
                      </a:lnTo>
                      <a:lnTo>
                        <a:pt x="1313" y="1495"/>
                      </a:lnTo>
                      <a:lnTo>
                        <a:pt x="1262" y="1466"/>
                      </a:lnTo>
                      <a:lnTo>
                        <a:pt x="1211" y="1437"/>
                      </a:lnTo>
                      <a:lnTo>
                        <a:pt x="1162" y="1408"/>
                      </a:lnTo>
                      <a:lnTo>
                        <a:pt x="1113" y="1379"/>
                      </a:lnTo>
                      <a:lnTo>
                        <a:pt x="1066" y="1350"/>
                      </a:lnTo>
                      <a:lnTo>
                        <a:pt x="1020" y="1320"/>
                      </a:lnTo>
                      <a:lnTo>
                        <a:pt x="975" y="1290"/>
                      </a:lnTo>
                      <a:lnTo>
                        <a:pt x="931" y="1260"/>
                      </a:lnTo>
                      <a:lnTo>
                        <a:pt x="887" y="1230"/>
                      </a:lnTo>
                      <a:lnTo>
                        <a:pt x="845" y="1199"/>
                      </a:lnTo>
                      <a:lnTo>
                        <a:pt x="804" y="1169"/>
                      </a:lnTo>
                      <a:lnTo>
                        <a:pt x="765" y="1138"/>
                      </a:lnTo>
                      <a:lnTo>
                        <a:pt x="726" y="1107"/>
                      </a:lnTo>
                      <a:lnTo>
                        <a:pt x="688" y="1076"/>
                      </a:lnTo>
                      <a:lnTo>
                        <a:pt x="651" y="1045"/>
                      </a:lnTo>
                      <a:lnTo>
                        <a:pt x="616" y="1014"/>
                      </a:lnTo>
                      <a:lnTo>
                        <a:pt x="581" y="981"/>
                      </a:lnTo>
                      <a:lnTo>
                        <a:pt x="548" y="949"/>
                      </a:lnTo>
                      <a:lnTo>
                        <a:pt x="516" y="918"/>
                      </a:lnTo>
                      <a:lnTo>
                        <a:pt x="485" y="886"/>
                      </a:lnTo>
                      <a:lnTo>
                        <a:pt x="456" y="854"/>
                      </a:lnTo>
                      <a:lnTo>
                        <a:pt x="427" y="821"/>
                      </a:lnTo>
                      <a:lnTo>
                        <a:pt x="400" y="789"/>
                      </a:lnTo>
                      <a:lnTo>
                        <a:pt x="373" y="757"/>
                      </a:lnTo>
                      <a:lnTo>
                        <a:pt x="348" y="724"/>
                      </a:lnTo>
                      <a:lnTo>
                        <a:pt x="324" y="691"/>
                      </a:lnTo>
                      <a:lnTo>
                        <a:pt x="301" y="659"/>
                      </a:lnTo>
                      <a:lnTo>
                        <a:pt x="280" y="625"/>
                      </a:lnTo>
                      <a:lnTo>
                        <a:pt x="260" y="592"/>
                      </a:lnTo>
                      <a:lnTo>
                        <a:pt x="240" y="559"/>
                      </a:lnTo>
                      <a:lnTo>
                        <a:pt x="223" y="526"/>
                      </a:lnTo>
                      <a:lnTo>
                        <a:pt x="205" y="492"/>
                      </a:lnTo>
                      <a:lnTo>
                        <a:pt x="190" y="459"/>
                      </a:lnTo>
                      <a:lnTo>
                        <a:pt x="175" y="426"/>
                      </a:lnTo>
                      <a:lnTo>
                        <a:pt x="163" y="391"/>
                      </a:lnTo>
                      <a:lnTo>
                        <a:pt x="150" y="358"/>
                      </a:lnTo>
                      <a:lnTo>
                        <a:pt x="140" y="324"/>
                      </a:lnTo>
                      <a:lnTo>
                        <a:pt x="131" y="290"/>
                      </a:lnTo>
                      <a:lnTo>
                        <a:pt x="123" y="256"/>
                      </a:lnTo>
                      <a:lnTo>
                        <a:pt x="115" y="223"/>
                      </a:lnTo>
                      <a:lnTo>
                        <a:pt x="110" y="189"/>
                      </a:lnTo>
                      <a:lnTo>
                        <a:pt x="106" y="154"/>
                      </a:lnTo>
                      <a:lnTo>
                        <a:pt x="102" y="120"/>
                      </a:lnTo>
                      <a:lnTo>
                        <a:pt x="101" y="85"/>
                      </a:lnTo>
                      <a:lnTo>
                        <a:pt x="100" y="51"/>
                      </a:lnTo>
                      <a:lnTo>
                        <a:pt x="100" y="51"/>
                      </a:lnTo>
                      <a:lnTo>
                        <a:pt x="100" y="51"/>
                      </a:lnTo>
                      <a:lnTo>
                        <a:pt x="100" y="45"/>
                      </a:lnTo>
                      <a:lnTo>
                        <a:pt x="99" y="39"/>
                      </a:lnTo>
                      <a:lnTo>
                        <a:pt x="98" y="33"/>
                      </a:lnTo>
                      <a:lnTo>
                        <a:pt x="96" y="29"/>
                      </a:lnTo>
                      <a:lnTo>
                        <a:pt x="94" y="24"/>
                      </a:lnTo>
                      <a:lnTo>
                        <a:pt x="91" y="20"/>
                      </a:lnTo>
                      <a:lnTo>
                        <a:pt x="88" y="17"/>
                      </a:lnTo>
                      <a:lnTo>
                        <a:pt x="85" y="13"/>
                      </a:lnTo>
                      <a:lnTo>
                        <a:pt x="77" y="7"/>
                      </a:lnTo>
                      <a:lnTo>
                        <a:pt x="68" y="3"/>
                      </a:lnTo>
                      <a:lnTo>
                        <a:pt x="60" y="1"/>
                      </a:lnTo>
                      <a:lnTo>
                        <a:pt x="51" y="0"/>
                      </a:lnTo>
                      <a:lnTo>
                        <a:pt x="40" y="1"/>
                      </a:lnTo>
                      <a:lnTo>
                        <a:pt x="32" y="3"/>
                      </a:lnTo>
                      <a:lnTo>
                        <a:pt x="23" y="7"/>
                      </a:lnTo>
                      <a:lnTo>
                        <a:pt x="15" y="13"/>
                      </a:lnTo>
                      <a:lnTo>
                        <a:pt x="12" y="17"/>
                      </a:lnTo>
                      <a:lnTo>
                        <a:pt x="9" y="20"/>
                      </a:lnTo>
                      <a:lnTo>
                        <a:pt x="6" y="24"/>
                      </a:lnTo>
                      <a:lnTo>
                        <a:pt x="4" y="29"/>
                      </a:lnTo>
                      <a:lnTo>
                        <a:pt x="2" y="33"/>
                      </a:lnTo>
                      <a:lnTo>
                        <a:pt x="1" y="39"/>
                      </a:lnTo>
                      <a:lnTo>
                        <a:pt x="0" y="45"/>
                      </a:lnTo>
                      <a:lnTo>
                        <a:pt x="0" y="51"/>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84" name="Freeform 177"/>
                <p:cNvSpPr>
                  <a:spLocks/>
                </p:cNvSpPr>
                <p:nvPr>
                  <p:custDataLst>
                    <p:tags r:id="rId131"/>
                  </p:custDataLst>
                </p:nvPr>
              </p:nvSpPr>
              <p:spPr bwMode="auto">
                <a:xfrm>
                  <a:off x="369" y="3354"/>
                  <a:ext cx="361" cy="115"/>
                </a:xfrm>
                <a:custGeom>
                  <a:avLst/>
                  <a:gdLst>
                    <a:gd name="T0" fmla="*/ 7823 w 8296"/>
                    <a:gd name="T1" fmla="*/ 4 h 2865"/>
                    <a:gd name="T2" fmla="*/ 6995 w 8296"/>
                    <a:gd name="T3" fmla="*/ 33 h 2865"/>
                    <a:gd name="T4" fmla="*/ 6193 w 8296"/>
                    <a:gd name="T5" fmla="*/ 89 h 2865"/>
                    <a:gd name="T6" fmla="*/ 5422 w 8296"/>
                    <a:gd name="T7" fmla="*/ 171 h 2865"/>
                    <a:gd name="T8" fmla="*/ 4686 w 8296"/>
                    <a:gd name="T9" fmla="*/ 278 h 2865"/>
                    <a:gd name="T10" fmla="*/ 3987 w 8296"/>
                    <a:gd name="T11" fmla="*/ 409 h 2865"/>
                    <a:gd name="T12" fmla="*/ 3331 w 8296"/>
                    <a:gd name="T13" fmla="*/ 561 h 2865"/>
                    <a:gd name="T14" fmla="*/ 2721 w 8296"/>
                    <a:gd name="T15" fmla="*/ 734 h 2865"/>
                    <a:gd name="T16" fmla="*/ 2436 w 8296"/>
                    <a:gd name="T17" fmla="*/ 827 h 2865"/>
                    <a:gd name="T18" fmla="*/ 2162 w 8296"/>
                    <a:gd name="T19" fmla="*/ 925 h 2865"/>
                    <a:gd name="T20" fmla="*/ 1904 w 8296"/>
                    <a:gd name="T21" fmla="*/ 1029 h 2865"/>
                    <a:gd name="T22" fmla="*/ 1658 w 8296"/>
                    <a:gd name="T23" fmla="*/ 1135 h 2865"/>
                    <a:gd name="T24" fmla="*/ 1428 w 8296"/>
                    <a:gd name="T25" fmla="*/ 1247 h 2865"/>
                    <a:gd name="T26" fmla="*/ 1212 w 8296"/>
                    <a:gd name="T27" fmla="*/ 1362 h 2865"/>
                    <a:gd name="T28" fmla="*/ 1013 w 8296"/>
                    <a:gd name="T29" fmla="*/ 1481 h 2865"/>
                    <a:gd name="T30" fmla="*/ 830 w 8296"/>
                    <a:gd name="T31" fmla="*/ 1604 h 2865"/>
                    <a:gd name="T32" fmla="*/ 663 w 8296"/>
                    <a:gd name="T33" fmla="*/ 1731 h 2865"/>
                    <a:gd name="T34" fmla="*/ 513 w 8296"/>
                    <a:gd name="T35" fmla="*/ 1861 h 2865"/>
                    <a:gd name="T36" fmla="*/ 381 w 8296"/>
                    <a:gd name="T37" fmla="*/ 1995 h 2865"/>
                    <a:gd name="T38" fmla="*/ 268 w 8296"/>
                    <a:gd name="T39" fmla="*/ 2131 h 2865"/>
                    <a:gd name="T40" fmla="*/ 174 w 8296"/>
                    <a:gd name="T41" fmla="*/ 2272 h 2865"/>
                    <a:gd name="T42" fmla="*/ 99 w 8296"/>
                    <a:gd name="T43" fmla="*/ 2416 h 2865"/>
                    <a:gd name="T44" fmla="*/ 44 w 8296"/>
                    <a:gd name="T45" fmla="*/ 2563 h 2865"/>
                    <a:gd name="T46" fmla="*/ 11 w 8296"/>
                    <a:gd name="T47" fmla="*/ 2713 h 2865"/>
                    <a:gd name="T48" fmla="*/ 0 w 8296"/>
                    <a:gd name="T49" fmla="*/ 2865 h 2865"/>
                    <a:gd name="T50" fmla="*/ 106 w 8296"/>
                    <a:gd name="T51" fmla="*/ 2761 h 2865"/>
                    <a:gd name="T52" fmla="*/ 131 w 8296"/>
                    <a:gd name="T53" fmla="*/ 2625 h 2865"/>
                    <a:gd name="T54" fmla="*/ 175 w 8296"/>
                    <a:gd name="T55" fmla="*/ 2490 h 2865"/>
                    <a:gd name="T56" fmla="*/ 240 w 8296"/>
                    <a:gd name="T57" fmla="*/ 2357 h 2865"/>
                    <a:gd name="T58" fmla="*/ 324 w 8296"/>
                    <a:gd name="T59" fmla="*/ 2224 h 2865"/>
                    <a:gd name="T60" fmla="*/ 427 w 8296"/>
                    <a:gd name="T61" fmla="*/ 2094 h 2865"/>
                    <a:gd name="T62" fmla="*/ 548 w 8296"/>
                    <a:gd name="T63" fmla="*/ 1966 h 2865"/>
                    <a:gd name="T64" fmla="*/ 688 w 8296"/>
                    <a:gd name="T65" fmla="*/ 1839 h 2865"/>
                    <a:gd name="T66" fmla="*/ 845 w 8296"/>
                    <a:gd name="T67" fmla="*/ 1716 h 2865"/>
                    <a:gd name="T68" fmla="*/ 1020 w 8296"/>
                    <a:gd name="T69" fmla="*/ 1596 h 2865"/>
                    <a:gd name="T70" fmla="*/ 1211 w 8296"/>
                    <a:gd name="T71" fmla="*/ 1478 h 2865"/>
                    <a:gd name="T72" fmla="*/ 1418 w 8296"/>
                    <a:gd name="T73" fmla="*/ 1364 h 2865"/>
                    <a:gd name="T74" fmla="*/ 1642 w 8296"/>
                    <a:gd name="T75" fmla="*/ 1253 h 2865"/>
                    <a:gd name="T76" fmla="*/ 1880 w 8296"/>
                    <a:gd name="T77" fmla="*/ 1147 h 2865"/>
                    <a:gd name="T78" fmla="*/ 2132 w 8296"/>
                    <a:gd name="T79" fmla="*/ 1044 h 2865"/>
                    <a:gd name="T80" fmla="*/ 2398 w 8296"/>
                    <a:gd name="T81" fmla="*/ 946 h 2865"/>
                    <a:gd name="T82" fmla="*/ 2679 w 8296"/>
                    <a:gd name="T83" fmla="*/ 852 h 2865"/>
                    <a:gd name="T84" fmla="*/ 3199 w 8296"/>
                    <a:gd name="T85" fmla="*/ 700 h 2865"/>
                    <a:gd name="T86" fmla="*/ 3839 w 8296"/>
                    <a:gd name="T87" fmla="*/ 543 h 2865"/>
                    <a:gd name="T88" fmla="*/ 4524 w 8296"/>
                    <a:gd name="T89" fmla="*/ 408 h 2865"/>
                    <a:gd name="T90" fmla="*/ 5248 w 8296"/>
                    <a:gd name="T91" fmla="*/ 295 h 2865"/>
                    <a:gd name="T92" fmla="*/ 6008 w 8296"/>
                    <a:gd name="T93" fmla="*/ 207 h 2865"/>
                    <a:gd name="T94" fmla="*/ 6798 w 8296"/>
                    <a:gd name="T95" fmla="*/ 144 h 2865"/>
                    <a:gd name="T96" fmla="*/ 7617 w 8296"/>
                    <a:gd name="T97" fmla="*/ 109 h 2865"/>
                    <a:gd name="T98" fmla="*/ 8246 w 8296"/>
                    <a:gd name="T99" fmla="*/ 100 h 2865"/>
                    <a:gd name="T100" fmla="*/ 8263 w 8296"/>
                    <a:gd name="T101" fmla="*/ 98 h 2865"/>
                    <a:gd name="T102" fmla="*/ 8280 w 8296"/>
                    <a:gd name="T103" fmla="*/ 88 h 2865"/>
                    <a:gd name="T104" fmla="*/ 8295 w 8296"/>
                    <a:gd name="T105" fmla="*/ 60 h 2865"/>
                    <a:gd name="T106" fmla="*/ 8289 w 8296"/>
                    <a:gd name="T107" fmla="*/ 24 h 2865"/>
                    <a:gd name="T108" fmla="*/ 8272 w 8296"/>
                    <a:gd name="T109" fmla="*/ 6 h 2865"/>
                    <a:gd name="T110" fmla="*/ 8252 w 8296"/>
                    <a:gd name="T111" fmla="*/ 0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5">
                      <a:moveTo>
                        <a:pt x="8246" y="0"/>
                      </a:moveTo>
                      <a:lnTo>
                        <a:pt x="8246" y="0"/>
                      </a:lnTo>
                      <a:lnTo>
                        <a:pt x="8034" y="1"/>
                      </a:lnTo>
                      <a:lnTo>
                        <a:pt x="7823" y="4"/>
                      </a:lnTo>
                      <a:lnTo>
                        <a:pt x="7614" y="8"/>
                      </a:lnTo>
                      <a:lnTo>
                        <a:pt x="7407" y="14"/>
                      </a:lnTo>
                      <a:lnTo>
                        <a:pt x="7200" y="23"/>
                      </a:lnTo>
                      <a:lnTo>
                        <a:pt x="6995" y="33"/>
                      </a:lnTo>
                      <a:lnTo>
                        <a:pt x="6792" y="45"/>
                      </a:lnTo>
                      <a:lnTo>
                        <a:pt x="6591" y="57"/>
                      </a:lnTo>
                      <a:lnTo>
                        <a:pt x="6391" y="72"/>
                      </a:lnTo>
                      <a:lnTo>
                        <a:pt x="6193" y="89"/>
                      </a:lnTo>
                      <a:lnTo>
                        <a:pt x="5998" y="108"/>
                      </a:lnTo>
                      <a:lnTo>
                        <a:pt x="5804" y="127"/>
                      </a:lnTo>
                      <a:lnTo>
                        <a:pt x="5612" y="148"/>
                      </a:lnTo>
                      <a:lnTo>
                        <a:pt x="5422" y="171"/>
                      </a:lnTo>
                      <a:lnTo>
                        <a:pt x="5235" y="196"/>
                      </a:lnTo>
                      <a:lnTo>
                        <a:pt x="5049" y="221"/>
                      </a:lnTo>
                      <a:lnTo>
                        <a:pt x="4866" y="249"/>
                      </a:lnTo>
                      <a:lnTo>
                        <a:pt x="4686" y="278"/>
                      </a:lnTo>
                      <a:lnTo>
                        <a:pt x="4507" y="308"/>
                      </a:lnTo>
                      <a:lnTo>
                        <a:pt x="4331" y="341"/>
                      </a:lnTo>
                      <a:lnTo>
                        <a:pt x="4158" y="374"/>
                      </a:lnTo>
                      <a:lnTo>
                        <a:pt x="3987" y="409"/>
                      </a:lnTo>
                      <a:lnTo>
                        <a:pt x="3819" y="445"/>
                      </a:lnTo>
                      <a:lnTo>
                        <a:pt x="3653" y="482"/>
                      </a:lnTo>
                      <a:lnTo>
                        <a:pt x="3491" y="521"/>
                      </a:lnTo>
                      <a:lnTo>
                        <a:pt x="3331" y="561"/>
                      </a:lnTo>
                      <a:lnTo>
                        <a:pt x="3173" y="602"/>
                      </a:lnTo>
                      <a:lnTo>
                        <a:pt x="3020" y="645"/>
                      </a:lnTo>
                      <a:lnTo>
                        <a:pt x="2869" y="689"/>
                      </a:lnTo>
                      <a:lnTo>
                        <a:pt x="2721" y="734"/>
                      </a:lnTo>
                      <a:lnTo>
                        <a:pt x="2649" y="757"/>
                      </a:lnTo>
                      <a:lnTo>
                        <a:pt x="2577" y="780"/>
                      </a:lnTo>
                      <a:lnTo>
                        <a:pt x="2506" y="803"/>
                      </a:lnTo>
                      <a:lnTo>
                        <a:pt x="2436" y="827"/>
                      </a:lnTo>
                      <a:lnTo>
                        <a:pt x="2365" y="852"/>
                      </a:lnTo>
                      <a:lnTo>
                        <a:pt x="2297" y="876"/>
                      </a:lnTo>
                      <a:lnTo>
                        <a:pt x="2229" y="900"/>
                      </a:lnTo>
                      <a:lnTo>
                        <a:pt x="2162" y="925"/>
                      </a:lnTo>
                      <a:lnTo>
                        <a:pt x="2096" y="951"/>
                      </a:lnTo>
                      <a:lnTo>
                        <a:pt x="2030" y="976"/>
                      </a:lnTo>
                      <a:lnTo>
                        <a:pt x="1967" y="1002"/>
                      </a:lnTo>
                      <a:lnTo>
                        <a:pt x="1904" y="1029"/>
                      </a:lnTo>
                      <a:lnTo>
                        <a:pt x="1841" y="1055"/>
                      </a:lnTo>
                      <a:lnTo>
                        <a:pt x="1779" y="1082"/>
                      </a:lnTo>
                      <a:lnTo>
                        <a:pt x="1718" y="1109"/>
                      </a:lnTo>
                      <a:lnTo>
                        <a:pt x="1658" y="1135"/>
                      </a:lnTo>
                      <a:lnTo>
                        <a:pt x="1600" y="1163"/>
                      </a:lnTo>
                      <a:lnTo>
                        <a:pt x="1541" y="1190"/>
                      </a:lnTo>
                      <a:lnTo>
                        <a:pt x="1484" y="1218"/>
                      </a:lnTo>
                      <a:lnTo>
                        <a:pt x="1428" y="1247"/>
                      </a:lnTo>
                      <a:lnTo>
                        <a:pt x="1373" y="1275"/>
                      </a:lnTo>
                      <a:lnTo>
                        <a:pt x="1318" y="1304"/>
                      </a:lnTo>
                      <a:lnTo>
                        <a:pt x="1265" y="1333"/>
                      </a:lnTo>
                      <a:lnTo>
                        <a:pt x="1212" y="1362"/>
                      </a:lnTo>
                      <a:lnTo>
                        <a:pt x="1162" y="1391"/>
                      </a:lnTo>
                      <a:lnTo>
                        <a:pt x="1111" y="1421"/>
                      </a:lnTo>
                      <a:lnTo>
                        <a:pt x="1062" y="1451"/>
                      </a:lnTo>
                      <a:lnTo>
                        <a:pt x="1013" y="1481"/>
                      </a:lnTo>
                      <a:lnTo>
                        <a:pt x="966" y="1511"/>
                      </a:lnTo>
                      <a:lnTo>
                        <a:pt x="919" y="1542"/>
                      </a:lnTo>
                      <a:lnTo>
                        <a:pt x="874" y="1573"/>
                      </a:lnTo>
                      <a:lnTo>
                        <a:pt x="830" y="1604"/>
                      </a:lnTo>
                      <a:lnTo>
                        <a:pt x="786" y="1635"/>
                      </a:lnTo>
                      <a:lnTo>
                        <a:pt x="744" y="1666"/>
                      </a:lnTo>
                      <a:lnTo>
                        <a:pt x="703" y="1698"/>
                      </a:lnTo>
                      <a:lnTo>
                        <a:pt x="663" y="1731"/>
                      </a:lnTo>
                      <a:lnTo>
                        <a:pt x="624" y="1763"/>
                      </a:lnTo>
                      <a:lnTo>
                        <a:pt x="586" y="1795"/>
                      </a:lnTo>
                      <a:lnTo>
                        <a:pt x="549" y="1828"/>
                      </a:lnTo>
                      <a:lnTo>
                        <a:pt x="513" y="1861"/>
                      </a:lnTo>
                      <a:lnTo>
                        <a:pt x="479" y="1894"/>
                      </a:lnTo>
                      <a:lnTo>
                        <a:pt x="445" y="1927"/>
                      </a:lnTo>
                      <a:lnTo>
                        <a:pt x="413" y="1960"/>
                      </a:lnTo>
                      <a:lnTo>
                        <a:pt x="381" y="1995"/>
                      </a:lnTo>
                      <a:lnTo>
                        <a:pt x="351" y="2029"/>
                      </a:lnTo>
                      <a:lnTo>
                        <a:pt x="323" y="2063"/>
                      </a:lnTo>
                      <a:lnTo>
                        <a:pt x="295" y="2097"/>
                      </a:lnTo>
                      <a:lnTo>
                        <a:pt x="268" y="2131"/>
                      </a:lnTo>
                      <a:lnTo>
                        <a:pt x="243" y="2166"/>
                      </a:lnTo>
                      <a:lnTo>
                        <a:pt x="219" y="2202"/>
                      </a:lnTo>
                      <a:lnTo>
                        <a:pt x="196" y="2237"/>
                      </a:lnTo>
                      <a:lnTo>
                        <a:pt x="174" y="2272"/>
                      </a:lnTo>
                      <a:lnTo>
                        <a:pt x="154" y="2308"/>
                      </a:lnTo>
                      <a:lnTo>
                        <a:pt x="134" y="2343"/>
                      </a:lnTo>
                      <a:lnTo>
                        <a:pt x="115" y="2380"/>
                      </a:lnTo>
                      <a:lnTo>
                        <a:pt x="99" y="2416"/>
                      </a:lnTo>
                      <a:lnTo>
                        <a:pt x="83" y="2452"/>
                      </a:lnTo>
                      <a:lnTo>
                        <a:pt x="69" y="2489"/>
                      </a:lnTo>
                      <a:lnTo>
                        <a:pt x="56" y="2525"/>
                      </a:lnTo>
                      <a:lnTo>
                        <a:pt x="44" y="2563"/>
                      </a:lnTo>
                      <a:lnTo>
                        <a:pt x="34" y="2600"/>
                      </a:lnTo>
                      <a:lnTo>
                        <a:pt x="25" y="2637"/>
                      </a:lnTo>
                      <a:lnTo>
                        <a:pt x="18" y="2676"/>
                      </a:lnTo>
                      <a:lnTo>
                        <a:pt x="11" y="2713"/>
                      </a:lnTo>
                      <a:lnTo>
                        <a:pt x="6" y="2750"/>
                      </a:lnTo>
                      <a:lnTo>
                        <a:pt x="3" y="2788"/>
                      </a:lnTo>
                      <a:lnTo>
                        <a:pt x="1" y="2827"/>
                      </a:lnTo>
                      <a:lnTo>
                        <a:pt x="0" y="2865"/>
                      </a:lnTo>
                      <a:lnTo>
                        <a:pt x="100" y="2865"/>
                      </a:lnTo>
                      <a:lnTo>
                        <a:pt x="101" y="2830"/>
                      </a:lnTo>
                      <a:lnTo>
                        <a:pt x="102" y="2796"/>
                      </a:lnTo>
                      <a:lnTo>
                        <a:pt x="106" y="2761"/>
                      </a:lnTo>
                      <a:lnTo>
                        <a:pt x="110" y="2727"/>
                      </a:lnTo>
                      <a:lnTo>
                        <a:pt x="115" y="2693"/>
                      </a:lnTo>
                      <a:lnTo>
                        <a:pt x="123" y="2659"/>
                      </a:lnTo>
                      <a:lnTo>
                        <a:pt x="131" y="2625"/>
                      </a:lnTo>
                      <a:lnTo>
                        <a:pt x="140" y="2592"/>
                      </a:lnTo>
                      <a:lnTo>
                        <a:pt x="150" y="2558"/>
                      </a:lnTo>
                      <a:lnTo>
                        <a:pt x="163" y="2524"/>
                      </a:lnTo>
                      <a:lnTo>
                        <a:pt x="175" y="2490"/>
                      </a:lnTo>
                      <a:lnTo>
                        <a:pt x="190" y="2457"/>
                      </a:lnTo>
                      <a:lnTo>
                        <a:pt x="205" y="2423"/>
                      </a:lnTo>
                      <a:lnTo>
                        <a:pt x="223" y="2390"/>
                      </a:lnTo>
                      <a:lnTo>
                        <a:pt x="240" y="2357"/>
                      </a:lnTo>
                      <a:lnTo>
                        <a:pt x="260" y="2324"/>
                      </a:lnTo>
                      <a:lnTo>
                        <a:pt x="279" y="2291"/>
                      </a:lnTo>
                      <a:lnTo>
                        <a:pt x="301" y="2257"/>
                      </a:lnTo>
                      <a:lnTo>
                        <a:pt x="324" y="2224"/>
                      </a:lnTo>
                      <a:lnTo>
                        <a:pt x="348" y="2192"/>
                      </a:lnTo>
                      <a:lnTo>
                        <a:pt x="373" y="2159"/>
                      </a:lnTo>
                      <a:lnTo>
                        <a:pt x="400" y="2127"/>
                      </a:lnTo>
                      <a:lnTo>
                        <a:pt x="427" y="2094"/>
                      </a:lnTo>
                      <a:lnTo>
                        <a:pt x="456" y="2062"/>
                      </a:lnTo>
                      <a:lnTo>
                        <a:pt x="485" y="2030"/>
                      </a:lnTo>
                      <a:lnTo>
                        <a:pt x="516" y="1998"/>
                      </a:lnTo>
                      <a:lnTo>
                        <a:pt x="548" y="1966"/>
                      </a:lnTo>
                      <a:lnTo>
                        <a:pt x="581" y="1934"/>
                      </a:lnTo>
                      <a:lnTo>
                        <a:pt x="616" y="1902"/>
                      </a:lnTo>
                      <a:lnTo>
                        <a:pt x="651" y="1871"/>
                      </a:lnTo>
                      <a:lnTo>
                        <a:pt x="688" y="1839"/>
                      </a:lnTo>
                      <a:lnTo>
                        <a:pt x="726" y="1808"/>
                      </a:lnTo>
                      <a:lnTo>
                        <a:pt x="765" y="1777"/>
                      </a:lnTo>
                      <a:lnTo>
                        <a:pt x="804" y="1747"/>
                      </a:lnTo>
                      <a:lnTo>
                        <a:pt x="845" y="1716"/>
                      </a:lnTo>
                      <a:lnTo>
                        <a:pt x="887" y="1686"/>
                      </a:lnTo>
                      <a:lnTo>
                        <a:pt x="931" y="1656"/>
                      </a:lnTo>
                      <a:lnTo>
                        <a:pt x="975" y="1625"/>
                      </a:lnTo>
                      <a:lnTo>
                        <a:pt x="1020" y="1596"/>
                      </a:lnTo>
                      <a:lnTo>
                        <a:pt x="1066" y="1566"/>
                      </a:lnTo>
                      <a:lnTo>
                        <a:pt x="1113" y="1537"/>
                      </a:lnTo>
                      <a:lnTo>
                        <a:pt x="1162" y="1507"/>
                      </a:lnTo>
                      <a:lnTo>
                        <a:pt x="1211" y="1478"/>
                      </a:lnTo>
                      <a:lnTo>
                        <a:pt x="1262" y="1449"/>
                      </a:lnTo>
                      <a:lnTo>
                        <a:pt x="1313" y="1421"/>
                      </a:lnTo>
                      <a:lnTo>
                        <a:pt x="1366" y="1392"/>
                      </a:lnTo>
                      <a:lnTo>
                        <a:pt x="1418" y="1364"/>
                      </a:lnTo>
                      <a:lnTo>
                        <a:pt x="1473" y="1336"/>
                      </a:lnTo>
                      <a:lnTo>
                        <a:pt x="1529" y="1308"/>
                      </a:lnTo>
                      <a:lnTo>
                        <a:pt x="1584" y="1281"/>
                      </a:lnTo>
                      <a:lnTo>
                        <a:pt x="1642" y="1253"/>
                      </a:lnTo>
                      <a:lnTo>
                        <a:pt x="1700" y="1227"/>
                      </a:lnTo>
                      <a:lnTo>
                        <a:pt x="1758" y="1200"/>
                      </a:lnTo>
                      <a:lnTo>
                        <a:pt x="1819" y="1174"/>
                      </a:lnTo>
                      <a:lnTo>
                        <a:pt x="1880" y="1147"/>
                      </a:lnTo>
                      <a:lnTo>
                        <a:pt x="1941" y="1121"/>
                      </a:lnTo>
                      <a:lnTo>
                        <a:pt x="2004" y="1095"/>
                      </a:lnTo>
                      <a:lnTo>
                        <a:pt x="2068" y="1070"/>
                      </a:lnTo>
                      <a:lnTo>
                        <a:pt x="2132" y="1044"/>
                      </a:lnTo>
                      <a:lnTo>
                        <a:pt x="2197" y="1020"/>
                      </a:lnTo>
                      <a:lnTo>
                        <a:pt x="2263" y="995"/>
                      </a:lnTo>
                      <a:lnTo>
                        <a:pt x="2330" y="971"/>
                      </a:lnTo>
                      <a:lnTo>
                        <a:pt x="2398" y="946"/>
                      </a:lnTo>
                      <a:lnTo>
                        <a:pt x="2467" y="922"/>
                      </a:lnTo>
                      <a:lnTo>
                        <a:pt x="2538" y="898"/>
                      </a:lnTo>
                      <a:lnTo>
                        <a:pt x="2608" y="876"/>
                      </a:lnTo>
                      <a:lnTo>
                        <a:pt x="2679" y="852"/>
                      </a:lnTo>
                      <a:lnTo>
                        <a:pt x="2751" y="830"/>
                      </a:lnTo>
                      <a:lnTo>
                        <a:pt x="2897" y="785"/>
                      </a:lnTo>
                      <a:lnTo>
                        <a:pt x="3047" y="741"/>
                      </a:lnTo>
                      <a:lnTo>
                        <a:pt x="3199" y="700"/>
                      </a:lnTo>
                      <a:lnTo>
                        <a:pt x="3355" y="658"/>
                      </a:lnTo>
                      <a:lnTo>
                        <a:pt x="3514" y="619"/>
                      </a:lnTo>
                      <a:lnTo>
                        <a:pt x="3675" y="580"/>
                      </a:lnTo>
                      <a:lnTo>
                        <a:pt x="3839" y="543"/>
                      </a:lnTo>
                      <a:lnTo>
                        <a:pt x="4007" y="507"/>
                      </a:lnTo>
                      <a:lnTo>
                        <a:pt x="4176" y="473"/>
                      </a:lnTo>
                      <a:lnTo>
                        <a:pt x="4350" y="440"/>
                      </a:lnTo>
                      <a:lnTo>
                        <a:pt x="4524" y="408"/>
                      </a:lnTo>
                      <a:lnTo>
                        <a:pt x="4702" y="378"/>
                      </a:lnTo>
                      <a:lnTo>
                        <a:pt x="4881" y="349"/>
                      </a:lnTo>
                      <a:lnTo>
                        <a:pt x="5064" y="321"/>
                      </a:lnTo>
                      <a:lnTo>
                        <a:pt x="5248" y="295"/>
                      </a:lnTo>
                      <a:lnTo>
                        <a:pt x="5435" y="271"/>
                      </a:lnTo>
                      <a:lnTo>
                        <a:pt x="5623" y="248"/>
                      </a:lnTo>
                      <a:lnTo>
                        <a:pt x="5814" y="227"/>
                      </a:lnTo>
                      <a:lnTo>
                        <a:pt x="6008" y="207"/>
                      </a:lnTo>
                      <a:lnTo>
                        <a:pt x="6203" y="189"/>
                      </a:lnTo>
                      <a:lnTo>
                        <a:pt x="6400" y="173"/>
                      </a:lnTo>
                      <a:lnTo>
                        <a:pt x="6597" y="157"/>
                      </a:lnTo>
                      <a:lnTo>
                        <a:pt x="6798" y="144"/>
                      </a:lnTo>
                      <a:lnTo>
                        <a:pt x="7000" y="132"/>
                      </a:lnTo>
                      <a:lnTo>
                        <a:pt x="7205" y="123"/>
                      </a:lnTo>
                      <a:lnTo>
                        <a:pt x="7410" y="115"/>
                      </a:lnTo>
                      <a:lnTo>
                        <a:pt x="7617" y="109"/>
                      </a:lnTo>
                      <a:lnTo>
                        <a:pt x="7825" y="105"/>
                      </a:lnTo>
                      <a:lnTo>
                        <a:pt x="8034" y="101"/>
                      </a:lnTo>
                      <a:lnTo>
                        <a:pt x="8246" y="100"/>
                      </a:lnTo>
                      <a:lnTo>
                        <a:pt x="8246" y="100"/>
                      </a:lnTo>
                      <a:lnTo>
                        <a:pt x="8246" y="100"/>
                      </a:lnTo>
                      <a:lnTo>
                        <a:pt x="8252" y="100"/>
                      </a:lnTo>
                      <a:lnTo>
                        <a:pt x="8257" y="99"/>
                      </a:lnTo>
                      <a:lnTo>
                        <a:pt x="8263" y="98"/>
                      </a:lnTo>
                      <a:lnTo>
                        <a:pt x="8267" y="96"/>
                      </a:lnTo>
                      <a:lnTo>
                        <a:pt x="8272" y="94"/>
                      </a:lnTo>
                      <a:lnTo>
                        <a:pt x="8276" y="91"/>
                      </a:lnTo>
                      <a:lnTo>
                        <a:pt x="8280" y="88"/>
                      </a:lnTo>
                      <a:lnTo>
                        <a:pt x="8284" y="85"/>
                      </a:lnTo>
                      <a:lnTo>
                        <a:pt x="8289" y="78"/>
                      </a:lnTo>
                      <a:lnTo>
                        <a:pt x="8293" y="68"/>
                      </a:lnTo>
                      <a:lnTo>
                        <a:pt x="8295" y="60"/>
                      </a:lnTo>
                      <a:lnTo>
                        <a:pt x="8296" y="51"/>
                      </a:lnTo>
                      <a:lnTo>
                        <a:pt x="8295" y="41"/>
                      </a:lnTo>
                      <a:lnTo>
                        <a:pt x="8293" y="32"/>
                      </a:lnTo>
                      <a:lnTo>
                        <a:pt x="8289" y="24"/>
                      </a:lnTo>
                      <a:lnTo>
                        <a:pt x="8284" y="16"/>
                      </a:lnTo>
                      <a:lnTo>
                        <a:pt x="8280" y="12"/>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85" name="Freeform 178"/>
                <p:cNvSpPr>
                  <a:spLocks/>
                </p:cNvSpPr>
                <p:nvPr>
                  <p:custDataLst>
                    <p:tags r:id="rId132"/>
                  </p:custDataLst>
                </p:nvPr>
              </p:nvSpPr>
              <p:spPr bwMode="auto">
                <a:xfrm>
                  <a:off x="728" y="3354"/>
                  <a:ext cx="358" cy="115"/>
                </a:xfrm>
                <a:custGeom>
                  <a:avLst/>
                  <a:gdLst>
                    <a:gd name="T0" fmla="*/ 8239 w 8245"/>
                    <a:gd name="T1" fmla="*/ 2750 h 2865"/>
                    <a:gd name="T2" fmla="*/ 8211 w 8245"/>
                    <a:gd name="T3" fmla="*/ 2600 h 2865"/>
                    <a:gd name="T4" fmla="*/ 8162 w 8245"/>
                    <a:gd name="T5" fmla="*/ 2452 h 2865"/>
                    <a:gd name="T6" fmla="*/ 8091 w 8245"/>
                    <a:gd name="T7" fmla="*/ 2308 h 2865"/>
                    <a:gd name="T8" fmla="*/ 8002 w 8245"/>
                    <a:gd name="T9" fmla="*/ 2166 h 2865"/>
                    <a:gd name="T10" fmla="*/ 7894 w 8245"/>
                    <a:gd name="T11" fmla="*/ 2029 h 2865"/>
                    <a:gd name="T12" fmla="*/ 7766 w 8245"/>
                    <a:gd name="T13" fmla="*/ 1894 h 2865"/>
                    <a:gd name="T14" fmla="*/ 7620 w 8245"/>
                    <a:gd name="T15" fmla="*/ 1763 h 2865"/>
                    <a:gd name="T16" fmla="*/ 7459 w 8245"/>
                    <a:gd name="T17" fmla="*/ 1635 h 2865"/>
                    <a:gd name="T18" fmla="*/ 7279 w 8245"/>
                    <a:gd name="T19" fmla="*/ 1511 h 2865"/>
                    <a:gd name="T20" fmla="*/ 7083 w 8245"/>
                    <a:gd name="T21" fmla="*/ 1391 h 2865"/>
                    <a:gd name="T22" fmla="*/ 6872 w 8245"/>
                    <a:gd name="T23" fmla="*/ 1275 h 2865"/>
                    <a:gd name="T24" fmla="*/ 6645 w 8245"/>
                    <a:gd name="T25" fmla="*/ 1163 h 2865"/>
                    <a:gd name="T26" fmla="*/ 6404 w 8245"/>
                    <a:gd name="T27" fmla="*/ 1055 h 2865"/>
                    <a:gd name="T28" fmla="*/ 6149 w 8245"/>
                    <a:gd name="T29" fmla="*/ 951 h 2865"/>
                    <a:gd name="T30" fmla="*/ 5880 w 8245"/>
                    <a:gd name="T31" fmla="*/ 852 h 2865"/>
                    <a:gd name="T32" fmla="*/ 5596 w 8245"/>
                    <a:gd name="T33" fmla="*/ 757 h 2865"/>
                    <a:gd name="T34" fmla="*/ 5072 w 8245"/>
                    <a:gd name="T35" fmla="*/ 602 h 2865"/>
                    <a:gd name="T36" fmla="*/ 4426 w 8245"/>
                    <a:gd name="T37" fmla="*/ 445 h 2865"/>
                    <a:gd name="T38" fmla="*/ 3738 w 8245"/>
                    <a:gd name="T39" fmla="*/ 308 h 2865"/>
                    <a:gd name="T40" fmla="*/ 3010 w 8245"/>
                    <a:gd name="T41" fmla="*/ 196 h 2865"/>
                    <a:gd name="T42" fmla="*/ 2246 w 8245"/>
                    <a:gd name="T43" fmla="*/ 108 h 2865"/>
                    <a:gd name="T44" fmla="*/ 1453 w 8245"/>
                    <a:gd name="T45" fmla="*/ 45 h 2865"/>
                    <a:gd name="T46" fmla="*/ 631 w 8245"/>
                    <a:gd name="T47" fmla="*/ 8 h 2865"/>
                    <a:gd name="T48" fmla="*/ 0 w 8245"/>
                    <a:gd name="T49" fmla="*/ 100 h 2865"/>
                    <a:gd name="T50" fmla="*/ 835 w 8245"/>
                    <a:gd name="T51" fmla="*/ 115 h 2865"/>
                    <a:gd name="T52" fmla="*/ 1648 w 8245"/>
                    <a:gd name="T53" fmla="*/ 157 h 2865"/>
                    <a:gd name="T54" fmla="*/ 2431 w 8245"/>
                    <a:gd name="T55" fmla="*/ 227 h 2865"/>
                    <a:gd name="T56" fmla="*/ 3181 w 8245"/>
                    <a:gd name="T57" fmla="*/ 321 h 2865"/>
                    <a:gd name="T58" fmla="*/ 3895 w 8245"/>
                    <a:gd name="T59" fmla="*/ 440 h 2865"/>
                    <a:gd name="T60" fmla="*/ 4570 w 8245"/>
                    <a:gd name="T61" fmla="*/ 580 h 2865"/>
                    <a:gd name="T62" fmla="*/ 5198 w 8245"/>
                    <a:gd name="T63" fmla="*/ 741 h 2865"/>
                    <a:gd name="T64" fmla="*/ 5637 w 8245"/>
                    <a:gd name="T65" fmla="*/ 876 h 2865"/>
                    <a:gd name="T66" fmla="*/ 5915 w 8245"/>
                    <a:gd name="T67" fmla="*/ 971 h 2865"/>
                    <a:gd name="T68" fmla="*/ 6177 w 8245"/>
                    <a:gd name="T69" fmla="*/ 1070 h 2865"/>
                    <a:gd name="T70" fmla="*/ 6426 w 8245"/>
                    <a:gd name="T71" fmla="*/ 1174 h 2865"/>
                    <a:gd name="T72" fmla="*/ 6661 w 8245"/>
                    <a:gd name="T73" fmla="*/ 1281 h 2865"/>
                    <a:gd name="T74" fmla="*/ 6879 w 8245"/>
                    <a:gd name="T75" fmla="*/ 1392 h 2865"/>
                    <a:gd name="T76" fmla="*/ 7083 w 8245"/>
                    <a:gd name="T77" fmla="*/ 1507 h 2865"/>
                    <a:gd name="T78" fmla="*/ 7270 w 8245"/>
                    <a:gd name="T79" fmla="*/ 1625 h 2865"/>
                    <a:gd name="T80" fmla="*/ 7440 w 8245"/>
                    <a:gd name="T81" fmla="*/ 1747 h 2865"/>
                    <a:gd name="T82" fmla="*/ 7594 w 8245"/>
                    <a:gd name="T83" fmla="*/ 1871 h 2865"/>
                    <a:gd name="T84" fmla="*/ 7729 w 8245"/>
                    <a:gd name="T85" fmla="*/ 1998 h 2865"/>
                    <a:gd name="T86" fmla="*/ 7845 w 8245"/>
                    <a:gd name="T87" fmla="*/ 2127 h 2865"/>
                    <a:gd name="T88" fmla="*/ 7943 w 8245"/>
                    <a:gd name="T89" fmla="*/ 2257 h 2865"/>
                    <a:gd name="T90" fmla="*/ 8022 w 8245"/>
                    <a:gd name="T91" fmla="*/ 2390 h 2865"/>
                    <a:gd name="T92" fmla="*/ 8082 w 8245"/>
                    <a:gd name="T93" fmla="*/ 2524 h 2865"/>
                    <a:gd name="T94" fmla="*/ 8122 w 8245"/>
                    <a:gd name="T95" fmla="*/ 2659 h 2865"/>
                    <a:gd name="T96" fmla="*/ 8142 w 8245"/>
                    <a:gd name="T97" fmla="*/ 279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5">
                      <a:moveTo>
                        <a:pt x="8245" y="2865"/>
                      </a:moveTo>
                      <a:lnTo>
                        <a:pt x="8244" y="2827"/>
                      </a:lnTo>
                      <a:lnTo>
                        <a:pt x="8242" y="2788"/>
                      </a:lnTo>
                      <a:lnTo>
                        <a:pt x="8239" y="2750"/>
                      </a:lnTo>
                      <a:lnTo>
                        <a:pt x="8234" y="2713"/>
                      </a:lnTo>
                      <a:lnTo>
                        <a:pt x="8227" y="2676"/>
                      </a:lnTo>
                      <a:lnTo>
                        <a:pt x="8219" y="2637"/>
                      </a:lnTo>
                      <a:lnTo>
                        <a:pt x="8211" y="2600"/>
                      </a:lnTo>
                      <a:lnTo>
                        <a:pt x="8201" y="2563"/>
                      </a:lnTo>
                      <a:lnTo>
                        <a:pt x="8188" y="2525"/>
                      </a:lnTo>
                      <a:lnTo>
                        <a:pt x="8176" y="2489"/>
                      </a:lnTo>
                      <a:lnTo>
                        <a:pt x="8162" y="2452"/>
                      </a:lnTo>
                      <a:lnTo>
                        <a:pt x="8146" y="2416"/>
                      </a:lnTo>
                      <a:lnTo>
                        <a:pt x="8130" y="2380"/>
                      </a:lnTo>
                      <a:lnTo>
                        <a:pt x="8111" y="2343"/>
                      </a:lnTo>
                      <a:lnTo>
                        <a:pt x="8091" y="2308"/>
                      </a:lnTo>
                      <a:lnTo>
                        <a:pt x="8071" y="2272"/>
                      </a:lnTo>
                      <a:lnTo>
                        <a:pt x="8049" y="2237"/>
                      </a:lnTo>
                      <a:lnTo>
                        <a:pt x="8026" y="2202"/>
                      </a:lnTo>
                      <a:lnTo>
                        <a:pt x="8002" y="2166"/>
                      </a:lnTo>
                      <a:lnTo>
                        <a:pt x="7977" y="2131"/>
                      </a:lnTo>
                      <a:lnTo>
                        <a:pt x="7950" y="2097"/>
                      </a:lnTo>
                      <a:lnTo>
                        <a:pt x="7922" y="2063"/>
                      </a:lnTo>
                      <a:lnTo>
                        <a:pt x="7894" y="2029"/>
                      </a:lnTo>
                      <a:lnTo>
                        <a:pt x="7864" y="1995"/>
                      </a:lnTo>
                      <a:lnTo>
                        <a:pt x="7832" y="1960"/>
                      </a:lnTo>
                      <a:lnTo>
                        <a:pt x="7800" y="1927"/>
                      </a:lnTo>
                      <a:lnTo>
                        <a:pt x="7766" y="1894"/>
                      </a:lnTo>
                      <a:lnTo>
                        <a:pt x="7732" y="1861"/>
                      </a:lnTo>
                      <a:lnTo>
                        <a:pt x="7696" y="1828"/>
                      </a:lnTo>
                      <a:lnTo>
                        <a:pt x="7659" y="1795"/>
                      </a:lnTo>
                      <a:lnTo>
                        <a:pt x="7620" y="1763"/>
                      </a:lnTo>
                      <a:lnTo>
                        <a:pt x="7582" y="1731"/>
                      </a:lnTo>
                      <a:lnTo>
                        <a:pt x="7542" y="1698"/>
                      </a:lnTo>
                      <a:lnTo>
                        <a:pt x="7501" y="1666"/>
                      </a:lnTo>
                      <a:lnTo>
                        <a:pt x="7459" y="1635"/>
                      </a:lnTo>
                      <a:lnTo>
                        <a:pt x="7415" y="1604"/>
                      </a:lnTo>
                      <a:lnTo>
                        <a:pt x="7371" y="1573"/>
                      </a:lnTo>
                      <a:lnTo>
                        <a:pt x="7326" y="1542"/>
                      </a:lnTo>
                      <a:lnTo>
                        <a:pt x="7279" y="1511"/>
                      </a:lnTo>
                      <a:lnTo>
                        <a:pt x="7232" y="1481"/>
                      </a:lnTo>
                      <a:lnTo>
                        <a:pt x="7183" y="1451"/>
                      </a:lnTo>
                      <a:lnTo>
                        <a:pt x="7134" y="1421"/>
                      </a:lnTo>
                      <a:lnTo>
                        <a:pt x="7083" y="1391"/>
                      </a:lnTo>
                      <a:lnTo>
                        <a:pt x="7032" y="1362"/>
                      </a:lnTo>
                      <a:lnTo>
                        <a:pt x="6980" y="1333"/>
                      </a:lnTo>
                      <a:lnTo>
                        <a:pt x="6927" y="1304"/>
                      </a:lnTo>
                      <a:lnTo>
                        <a:pt x="6872" y="1275"/>
                      </a:lnTo>
                      <a:lnTo>
                        <a:pt x="6817" y="1247"/>
                      </a:lnTo>
                      <a:lnTo>
                        <a:pt x="6761" y="1218"/>
                      </a:lnTo>
                      <a:lnTo>
                        <a:pt x="6704" y="1190"/>
                      </a:lnTo>
                      <a:lnTo>
                        <a:pt x="6645" y="1163"/>
                      </a:lnTo>
                      <a:lnTo>
                        <a:pt x="6587" y="1135"/>
                      </a:lnTo>
                      <a:lnTo>
                        <a:pt x="6527" y="1109"/>
                      </a:lnTo>
                      <a:lnTo>
                        <a:pt x="6466" y="1082"/>
                      </a:lnTo>
                      <a:lnTo>
                        <a:pt x="6404" y="1055"/>
                      </a:lnTo>
                      <a:lnTo>
                        <a:pt x="6341" y="1029"/>
                      </a:lnTo>
                      <a:lnTo>
                        <a:pt x="6278" y="1002"/>
                      </a:lnTo>
                      <a:lnTo>
                        <a:pt x="6214" y="976"/>
                      </a:lnTo>
                      <a:lnTo>
                        <a:pt x="6149" y="951"/>
                      </a:lnTo>
                      <a:lnTo>
                        <a:pt x="6083" y="925"/>
                      </a:lnTo>
                      <a:lnTo>
                        <a:pt x="6016" y="900"/>
                      </a:lnTo>
                      <a:lnTo>
                        <a:pt x="5948" y="876"/>
                      </a:lnTo>
                      <a:lnTo>
                        <a:pt x="5880" y="852"/>
                      </a:lnTo>
                      <a:lnTo>
                        <a:pt x="5809" y="827"/>
                      </a:lnTo>
                      <a:lnTo>
                        <a:pt x="5739" y="803"/>
                      </a:lnTo>
                      <a:lnTo>
                        <a:pt x="5668" y="780"/>
                      </a:lnTo>
                      <a:lnTo>
                        <a:pt x="5596" y="757"/>
                      </a:lnTo>
                      <a:lnTo>
                        <a:pt x="5524" y="734"/>
                      </a:lnTo>
                      <a:lnTo>
                        <a:pt x="5376" y="689"/>
                      </a:lnTo>
                      <a:lnTo>
                        <a:pt x="5225" y="645"/>
                      </a:lnTo>
                      <a:lnTo>
                        <a:pt x="5072" y="602"/>
                      </a:lnTo>
                      <a:lnTo>
                        <a:pt x="4914" y="561"/>
                      </a:lnTo>
                      <a:lnTo>
                        <a:pt x="4754" y="521"/>
                      </a:lnTo>
                      <a:lnTo>
                        <a:pt x="4592" y="482"/>
                      </a:lnTo>
                      <a:lnTo>
                        <a:pt x="4426" y="445"/>
                      </a:lnTo>
                      <a:lnTo>
                        <a:pt x="4258" y="409"/>
                      </a:lnTo>
                      <a:lnTo>
                        <a:pt x="4087" y="374"/>
                      </a:lnTo>
                      <a:lnTo>
                        <a:pt x="3914" y="341"/>
                      </a:lnTo>
                      <a:lnTo>
                        <a:pt x="3738" y="308"/>
                      </a:lnTo>
                      <a:lnTo>
                        <a:pt x="3559" y="278"/>
                      </a:lnTo>
                      <a:lnTo>
                        <a:pt x="3379" y="249"/>
                      </a:lnTo>
                      <a:lnTo>
                        <a:pt x="3196" y="221"/>
                      </a:lnTo>
                      <a:lnTo>
                        <a:pt x="3010" y="196"/>
                      </a:lnTo>
                      <a:lnTo>
                        <a:pt x="2823" y="171"/>
                      </a:lnTo>
                      <a:lnTo>
                        <a:pt x="2633" y="148"/>
                      </a:lnTo>
                      <a:lnTo>
                        <a:pt x="2441" y="127"/>
                      </a:lnTo>
                      <a:lnTo>
                        <a:pt x="2246" y="108"/>
                      </a:lnTo>
                      <a:lnTo>
                        <a:pt x="2052" y="89"/>
                      </a:lnTo>
                      <a:lnTo>
                        <a:pt x="1854" y="72"/>
                      </a:lnTo>
                      <a:lnTo>
                        <a:pt x="1654" y="57"/>
                      </a:lnTo>
                      <a:lnTo>
                        <a:pt x="1453" y="45"/>
                      </a:lnTo>
                      <a:lnTo>
                        <a:pt x="1250" y="33"/>
                      </a:lnTo>
                      <a:lnTo>
                        <a:pt x="1045" y="23"/>
                      </a:lnTo>
                      <a:lnTo>
                        <a:pt x="838" y="14"/>
                      </a:lnTo>
                      <a:lnTo>
                        <a:pt x="631" y="8"/>
                      </a:lnTo>
                      <a:lnTo>
                        <a:pt x="422" y="4"/>
                      </a:lnTo>
                      <a:lnTo>
                        <a:pt x="212" y="1"/>
                      </a:lnTo>
                      <a:lnTo>
                        <a:pt x="0" y="0"/>
                      </a:lnTo>
                      <a:lnTo>
                        <a:pt x="0" y="100"/>
                      </a:lnTo>
                      <a:lnTo>
                        <a:pt x="211" y="101"/>
                      </a:lnTo>
                      <a:lnTo>
                        <a:pt x="420" y="105"/>
                      </a:lnTo>
                      <a:lnTo>
                        <a:pt x="628" y="109"/>
                      </a:lnTo>
                      <a:lnTo>
                        <a:pt x="835" y="115"/>
                      </a:lnTo>
                      <a:lnTo>
                        <a:pt x="1040" y="123"/>
                      </a:lnTo>
                      <a:lnTo>
                        <a:pt x="1245" y="132"/>
                      </a:lnTo>
                      <a:lnTo>
                        <a:pt x="1447" y="144"/>
                      </a:lnTo>
                      <a:lnTo>
                        <a:pt x="1648" y="157"/>
                      </a:lnTo>
                      <a:lnTo>
                        <a:pt x="1845" y="173"/>
                      </a:lnTo>
                      <a:lnTo>
                        <a:pt x="2042" y="189"/>
                      </a:lnTo>
                      <a:lnTo>
                        <a:pt x="2237" y="207"/>
                      </a:lnTo>
                      <a:lnTo>
                        <a:pt x="2431" y="227"/>
                      </a:lnTo>
                      <a:lnTo>
                        <a:pt x="2622" y="248"/>
                      </a:lnTo>
                      <a:lnTo>
                        <a:pt x="2810" y="271"/>
                      </a:lnTo>
                      <a:lnTo>
                        <a:pt x="2997" y="295"/>
                      </a:lnTo>
                      <a:lnTo>
                        <a:pt x="3181" y="321"/>
                      </a:lnTo>
                      <a:lnTo>
                        <a:pt x="3364" y="349"/>
                      </a:lnTo>
                      <a:lnTo>
                        <a:pt x="3543" y="378"/>
                      </a:lnTo>
                      <a:lnTo>
                        <a:pt x="3721" y="408"/>
                      </a:lnTo>
                      <a:lnTo>
                        <a:pt x="3895" y="440"/>
                      </a:lnTo>
                      <a:lnTo>
                        <a:pt x="4069" y="473"/>
                      </a:lnTo>
                      <a:lnTo>
                        <a:pt x="4238" y="507"/>
                      </a:lnTo>
                      <a:lnTo>
                        <a:pt x="4405" y="543"/>
                      </a:lnTo>
                      <a:lnTo>
                        <a:pt x="4570" y="580"/>
                      </a:lnTo>
                      <a:lnTo>
                        <a:pt x="4731" y="619"/>
                      </a:lnTo>
                      <a:lnTo>
                        <a:pt x="4890" y="658"/>
                      </a:lnTo>
                      <a:lnTo>
                        <a:pt x="5046" y="700"/>
                      </a:lnTo>
                      <a:lnTo>
                        <a:pt x="5198" y="741"/>
                      </a:lnTo>
                      <a:lnTo>
                        <a:pt x="5348" y="785"/>
                      </a:lnTo>
                      <a:lnTo>
                        <a:pt x="5494" y="830"/>
                      </a:lnTo>
                      <a:lnTo>
                        <a:pt x="5566" y="852"/>
                      </a:lnTo>
                      <a:lnTo>
                        <a:pt x="5637" y="876"/>
                      </a:lnTo>
                      <a:lnTo>
                        <a:pt x="5707" y="898"/>
                      </a:lnTo>
                      <a:lnTo>
                        <a:pt x="5778" y="922"/>
                      </a:lnTo>
                      <a:lnTo>
                        <a:pt x="5847" y="946"/>
                      </a:lnTo>
                      <a:lnTo>
                        <a:pt x="5915" y="971"/>
                      </a:lnTo>
                      <a:lnTo>
                        <a:pt x="5982" y="995"/>
                      </a:lnTo>
                      <a:lnTo>
                        <a:pt x="6048" y="1020"/>
                      </a:lnTo>
                      <a:lnTo>
                        <a:pt x="6113" y="1044"/>
                      </a:lnTo>
                      <a:lnTo>
                        <a:pt x="6177" y="1070"/>
                      </a:lnTo>
                      <a:lnTo>
                        <a:pt x="6241" y="1095"/>
                      </a:lnTo>
                      <a:lnTo>
                        <a:pt x="6304" y="1121"/>
                      </a:lnTo>
                      <a:lnTo>
                        <a:pt x="6365" y="1147"/>
                      </a:lnTo>
                      <a:lnTo>
                        <a:pt x="6426" y="1174"/>
                      </a:lnTo>
                      <a:lnTo>
                        <a:pt x="6487" y="1200"/>
                      </a:lnTo>
                      <a:lnTo>
                        <a:pt x="6545" y="1227"/>
                      </a:lnTo>
                      <a:lnTo>
                        <a:pt x="6603" y="1253"/>
                      </a:lnTo>
                      <a:lnTo>
                        <a:pt x="6661" y="1281"/>
                      </a:lnTo>
                      <a:lnTo>
                        <a:pt x="6716" y="1308"/>
                      </a:lnTo>
                      <a:lnTo>
                        <a:pt x="6772" y="1336"/>
                      </a:lnTo>
                      <a:lnTo>
                        <a:pt x="6827" y="1364"/>
                      </a:lnTo>
                      <a:lnTo>
                        <a:pt x="6879" y="1392"/>
                      </a:lnTo>
                      <a:lnTo>
                        <a:pt x="6932" y="1421"/>
                      </a:lnTo>
                      <a:lnTo>
                        <a:pt x="6983" y="1449"/>
                      </a:lnTo>
                      <a:lnTo>
                        <a:pt x="7034" y="1478"/>
                      </a:lnTo>
                      <a:lnTo>
                        <a:pt x="7083" y="1507"/>
                      </a:lnTo>
                      <a:lnTo>
                        <a:pt x="7132" y="1537"/>
                      </a:lnTo>
                      <a:lnTo>
                        <a:pt x="7178" y="1566"/>
                      </a:lnTo>
                      <a:lnTo>
                        <a:pt x="7225" y="1596"/>
                      </a:lnTo>
                      <a:lnTo>
                        <a:pt x="7270" y="1625"/>
                      </a:lnTo>
                      <a:lnTo>
                        <a:pt x="7314" y="1656"/>
                      </a:lnTo>
                      <a:lnTo>
                        <a:pt x="7358" y="1686"/>
                      </a:lnTo>
                      <a:lnTo>
                        <a:pt x="7400" y="1716"/>
                      </a:lnTo>
                      <a:lnTo>
                        <a:pt x="7440" y="1747"/>
                      </a:lnTo>
                      <a:lnTo>
                        <a:pt x="7480" y="1777"/>
                      </a:lnTo>
                      <a:lnTo>
                        <a:pt x="7519" y="1808"/>
                      </a:lnTo>
                      <a:lnTo>
                        <a:pt x="7557" y="1839"/>
                      </a:lnTo>
                      <a:lnTo>
                        <a:pt x="7594" y="1871"/>
                      </a:lnTo>
                      <a:lnTo>
                        <a:pt x="7629" y="1902"/>
                      </a:lnTo>
                      <a:lnTo>
                        <a:pt x="7664" y="1934"/>
                      </a:lnTo>
                      <a:lnTo>
                        <a:pt x="7697" y="1966"/>
                      </a:lnTo>
                      <a:lnTo>
                        <a:pt x="7729" y="1998"/>
                      </a:lnTo>
                      <a:lnTo>
                        <a:pt x="7760" y="2030"/>
                      </a:lnTo>
                      <a:lnTo>
                        <a:pt x="7789" y="2062"/>
                      </a:lnTo>
                      <a:lnTo>
                        <a:pt x="7818" y="2094"/>
                      </a:lnTo>
                      <a:lnTo>
                        <a:pt x="7845" y="2127"/>
                      </a:lnTo>
                      <a:lnTo>
                        <a:pt x="7872" y="2159"/>
                      </a:lnTo>
                      <a:lnTo>
                        <a:pt x="7897" y="2192"/>
                      </a:lnTo>
                      <a:lnTo>
                        <a:pt x="7920" y="2224"/>
                      </a:lnTo>
                      <a:lnTo>
                        <a:pt x="7943" y="2257"/>
                      </a:lnTo>
                      <a:lnTo>
                        <a:pt x="7966" y="2291"/>
                      </a:lnTo>
                      <a:lnTo>
                        <a:pt x="7985" y="2324"/>
                      </a:lnTo>
                      <a:lnTo>
                        <a:pt x="8005" y="2357"/>
                      </a:lnTo>
                      <a:lnTo>
                        <a:pt x="8022" y="2390"/>
                      </a:lnTo>
                      <a:lnTo>
                        <a:pt x="8039" y="2423"/>
                      </a:lnTo>
                      <a:lnTo>
                        <a:pt x="8055" y="2457"/>
                      </a:lnTo>
                      <a:lnTo>
                        <a:pt x="8069" y="2490"/>
                      </a:lnTo>
                      <a:lnTo>
                        <a:pt x="8082" y="2524"/>
                      </a:lnTo>
                      <a:lnTo>
                        <a:pt x="8095" y="2558"/>
                      </a:lnTo>
                      <a:lnTo>
                        <a:pt x="8105" y="2592"/>
                      </a:lnTo>
                      <a:lnTo>
                        <a:pt x="8114" y="2625"/>
                      </a:lnTo>
                      <a:lnTo>
                        <a:pt x="8122" y="2659"/>
                      </a:lnTo>
                      <a:lnTo>
                        <a:pt x="8130" y="2693"/>
                      </a:lnTo>
                      <a:lnTo>
                        <a:pt x="8135" y="2727"/>
                      </a:lnTo>
                      <a:lnTo>
                        <a:pt x="8139" y="2761"/>
                      </a:lnTo>
                      <a:lnTo>
                        <a:pt x="8142" y="2796"/>
                      </a:lnTo>
                      <a:lnTo>
                        <a:pt x="8144" y="2830"/>
                      </a:lnTo>
                      <a:lnTo>
                        <a:pt x="8145" y="2865"/>
                      </a:lnTo>
                      <a:lnTo>
                        <a:pt x="8245"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86" name="Freeform 179"/>
                <p:cNvSpPr>
                  <a:spLocks/>
                </p:cNvSpPr>
                <p:nvPr>
                  <p:custDataLst>
                    <p:tags r:id="rId133"/>
                  </p:custDataLst>
                </p:nvPr>
              </p:nvSpPr>
              <p:spPr bwMode="auto">
                <a:xfrm>
                  <a:off x="737" y="3387"/>
                  <a:ext cx="234" cy="73"/>
                </a:xfrm>
                <a:custGeom>
                  <a:avLst/>
                  <a:gdLst>
                    <a:gd name="T0" fmla="*/ 0 w 5393"/>
                    <a:gd name="T1" fmla="*/ 1426 h 1828"/>
                    <a:gd name="T2" fmla="*/ 1207 w 5393"/>
                    <a:gd name="T3" fmla="*/ 1828 h 1828"/>
                    <a:gd name="T4" fmla="*/ 4061 w 5393"/>
                    <a:gd name="T5" fmla="*/ 687 h 1828"/>
                    <a:gd name="T6" fmla="*/ 5393 w 5393"/>
                    <a:gd name="T7" fmla="*/ 1013 h 1828"/>
                    <a:gd name="T8" fmla="*/ 4690 w 5393"/>
                    <a:gd name="T9" fmla="*/ 0 h 1828"/>
                    <a:gd name="T10" fmla="*/ 1253 w 5393"/>
                    <a:gd name="T11" fmla="*/ 0 h 1828"/>
                    <a:gd name="T12" fmla="*/ 2690 w 5393"/>
                    <a:gd name="T13" fmla="*/ 352 h 1828"/>
                    <a:gd name="T14" fmla="*/ 0 w 5393"/>
                    <a:gd name="T15" fmla="*/ 1426 h 18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8">
                      <a:moveTo>
                        <a:pt x="0" y="1426"/>
                      </a:moveTo>
                      <a:lnTo>
                        <a:pt x="1207" y="1828"/>
                      </a:lnTo>
                      <a:lnTo>
                        <a:pt x="4061" y="687"/>
                      </a:lnTo>
                      <a:lnTo>
                        <a:pt x="5393" y="1013"/>
                      </a:lnTo>
                      <a:lnTo>
                        <a:pt x="4690" y="0"/>
                      </a:lnTo>
                      <a:lnTo>
                        <a:pt x="1253" y="0"/>
                      </a:lnTo>
                      <a:lnTo>
                        <a:pt x="2690" y="352"/>
                      </a:lnTo>
                      <a:lnTo>
                        <a:pt x="0"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87" name="Freeform 180"/>
                <p:cNvSpPr>
                  <a:spLocks/>
                </p:cNvSpPr>
                <p:nvPr>
                  <p:custDataLst>
                    <p:tags r:id="rId134"/>
                  </p:custDataLst>
                </p:nvPr>
              </p:nvSpPr>
              <p:spPr bwMode="auto">
                <a:xfrm>
                  <a:off x="480" y="3474"/>
                  <a:ext cx="235" cy="73"/>
                </a:xfrm>
                <a:custGeom>
                  <a:avLst/>
                  <a:gdLst>
                    <a:gd name="T0" fmla="*/ 5394 w 5394"/>
                    <a:gd name="T1" fmla="*/ 401 h 1827"/>
                    <a:gd name="T2" fmla="*/ 4186 w 5394"/>
                    <a:gd name="T3" fmla="*/ 0 h 1827"/>
                    <a:gd name="T4" fmla="*/ 1332 w 5394"/>
                    <a:gd name="T5" fmla="*/ 1140 h 1827"/>
                    <a:gd name="T6" fmla="*/ 0 w 5394"/>
                    <a:gd name="T7" fmla="*/ 814 h 1827"/>
                    <a:gd name="T8" fmla="*/ 702 w 5394"/>
                    <a:gd name="T9" fmla="*/ 1827 h 1827"/>
                    <a:gd name="T10" fmla="*/ 4140 w 5394"/>
                    <a:gd name="T11" fmla="*/ 1827 h 1827"/>
                    <a:gd name="T12" fmla="*/ 2704 w 5394"/>
                    <a:gd name="T13" fmla="*/ 1476 h 1827"/>
                    <a:gd name="T14" fmla="*/ 5394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5394" y="401"/>
                      </a:moveTo>
                      <a:lnTo>
                        <a:pt x="4186" y="0"/>
                      </a:lnTo>
                      <a:lnTo>
                        <a:pt x="1332" y="1140"/>
                      </a:lnTo>
                      <a:lnTo>
                        <a:pt x="0" y="814"/>
                      </a:lnTo>
                      <a:lnTo>
                        <a:pt x="702" y="1827"/>
                      </a:lnTo>
                      <a:lnTo>
                        <a:pt x="4140" y="1827"/>
                      </a:lnTo>
                      <a:lnTo>
                        <a:pt x="2704" y="1476"/>
                      </a:lnTo>
                      <a:lnTo>
                        <a:pt x="5394"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88" name="Freeform 181"/>
                <p:cNvSpPr>
                  <a:spLocks/>
                </p:cNvSpPr>
                <p:nvPr>
                  <p:custDataLst>
                    <p:tags r:id="rId135"/>
                  </p:custDataLst>
                </p:nvPr>
              </p:nvSpPr>
              <p:spPr bwMode="auto">
                <a:xfrm>
                  <a:off x="493" y="3385"/>
                  <a:ext cx="235" cy="73"/>
                </a:xfrm>
                <a:custGeom>
                  <a:avLst/>
                  <a:gdLst>
                    <a:gd name="T0" fmla="*/ 0 w 5394"/>
                    <a:gd name="T1" fmla="*/ 401 h 1827"/>
                    <a:gd name="T2" fmla="*/ 1208 w 5394"/>
                    <a:gd name="T3" fmla="*/ 0 h 1827"/>
                    <a:gd name="T4" fmla="*/ 4062 w 5394"/>
                    <a:gd name="T5" fmla="*/ 1140 h 1827"/>
                    <a:gd name="T6" fmla="*/ 5394 w 5394"/>
                    <a:gd name="T7" fmla="*/ 813 h 1827"/>
                    <a:gd name="T8" fmla="*/ 4691 w 5394"/>
                    <a:gd name="T9" fmla="*/ 1827 h 1827"/>
                    <a:gd name="T10" fmla="*/ 1253 w 5394"/>
                    <a:gd name="T11" fmla="*/ 1827 h 1827"/>
                    <a:gd name="T12" fmla="*/ 2690 w 5394"/>
                    <a:gd name="T13" fmla="*/ 1475 h 1827"/>
                    <a:gd name="T14" fmla="*/ 0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0" y="401"/>
                      </a:moveTo>
                      <a:lnTo>
                        <a:pt x="1208" y="0"/>
                      </a:lnTo>
                      <a:lnTo>
                        <a:pt x="4062" y="1140"/>
                      </a:lnTo>
                      <a:lnTo>
                        <a:pt x="5394" y="813"/>
                      </a:lnTo>
                      <a:lnTo>
                        <a:pt x="4691" y="1827"/>
                      </a:lnTo>
                      <a:lnTo>
                        <a:pt x="1253" y="1827"/>
                      </a:lnTo>
                      <a:lnTo>
                        <a:pt x="2690" y="1475"/>
                      </a:lnTo>
                      <a:lnTo>
                        <a:pt x="0"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89" name="Freeform 182"/>
                <p:cNvSpPr>
                  <a:spLocks/>
                </p:cNvSpPr>
                <p:nvPr>
                  <p:custDataLst>
                    <p:tags r:id="rId136"/>
                  </p:custDataLst>
                </p:nvPr>
              </p:nvSpPr>
              <p:spPr bwMode="auto">
                <a:xfrm>
                  <a:off x="729" y="3479"/>
                  <a:ext cx="235" cy="73"/>
                </a:xfrm>
                <a:custGeom>
                  <a:avLst/>
                  <a:gdLst>
                    <a:gd name="T0" fmla="*/ 5393 w 5393"/>
                    <a:gd name="T1" fmla="*/ 1426 h 1827"/>
                    <a:gd name="T2" fmla="*/ 4186 w 5393"/>
                    <a:gd name="T3" fmla="*/ 1827 h 1827"/>
                    <a:gd name="T4" fmla="*/ 1332 w 5393"/>
                    <a:gd name="T5" fmla="*/ 687 h 1827"/>
                    <a:gd name="T6" fmla="*/ 0 w 5393"/>
                    <a:gd name="T7" fmla="*/ 1012 h 1827"/>
                    <a:gd name="T8" fmla="*/ 702 w 5393"/>
                    <a:gd name="T9" fmla="*/ 0 h 1827"/>
                    <a:gd name="T10" fmla="*/ 4140 w 5393"/>
                    <a:gd name="T11" fmla="*/ 0 h 1827"/>
                    <a:gd name="T12" fmla="*/ 2703 w 5393"/>
                    <a:gd name="T13" fmla="*/ 352 h 1827"/>
                    <a:gd name="T14" fmla="*/ 5393 w 5393"/>
                    <a:gd name="T15" fmla="*/ 1426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7">
                      <a:moveTo>
                        <a:pt x="5393" y="1426"/>
                      </a:moveTo>
                      <a:lnTo>
                        <a:pt x="4186" y="1827"/>
                      </a:lnTo>
                      <a:lnTo>
                        <a:pt x="1332" y="687"/>
                      </a:lnTo>
                      <a:lnTo>
                        <a:pt x="0" y="1012"/>
                      </a:lnTo>
                      <a:lnTo>
                        <a:pt x="702" y="0"/>
                      </a:lnTo>
                      <a:lnTo>
                        <a:pt x="4140" y="0"/>
                      </a:lnTo>
                      <a:lnTo>
                        <a:pt x="2703" y="352"/>
                      </a:lnTo>
                      <a:lnTo>
                        <a:pt x="5393"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90" name="Rectangle 183"/>
                <p:cNvSpPr>
                  <a:spLocks noChangeArrowheads="1"/>
                </p:cNvSpPr>
                <p:nvPr>
                  <p:custDataLst>
                    <p:tags r:id="rId137"/>
                  </p:custDataLst>
                </p:nvPr>
              </p:nvSpPr>
              <p:spPr bwMode="auto">
                <a:xfrm>
                  <a:off x="369"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91" name="Rectangle 184"/>
                <p:cNvSpPr>
                  <a:spLocks noChangeArrowheads="1"/>
                </p:cNvSpPr>
                <p:nvPr>
                  <p:custDataLst>
                    <p:tags r:id="rId138"/>
                  </p:custDataLst>
                </p:nvPr>
              </p:nvSpPr>
              <p:spPr bwMode="auto">
                <a:xfrm>
                  <a:off x="369"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92" name="Rectangle 185"/>
                <p:cNvSpPr>
                  <a:spLocks noChangeArrowheads="1"/>
                </p:cNvSpPr>
                <p:nvPr>
                  <p:custDataLst>
                    <p:tags r:id="rId139"/>
                  </p:custDataLst>
                </p:nvPr>
              </p:nvSpPr>
              <p:spPr bwMode="auto">
                <a:xfrm>
                  <a:off x="369"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93" name="Rectangle 186"/>
                <p:cNvSpPr>
                  <a:spLocks noChangeArrowheads="1"/>
                </p:cNvSpPr>
                <p:nvPr>
                  <p:custDataLst>
                    <p:tags r:id="rId140"/>
                  </p:custDataLst>
                </p:nvPr>
              </p:nvSpPr>
              <p:spPr bwMode="auto">
                <a:xfrm>
                  <a:off x="1082"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94" name="Rectangle 187"/>
                <p:cNvSpPr>
                  <a:spLocks noChangeArrowheads="1"/>
                </p:cNvSpPr>
                <p:nvPr>
                  <p:custDataLst>
                    <p:tags r:id="rId141"/>
                  </p:custDataLst>
                </p:nvPr>
              </p:nvSpPr>
              <p:spPr bwMode="auto">
                <a:xfrm>
                  <a:off x="1082"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95" name="Rectangle 188"/>
                <p:cNvSpPr>
                  <a:spLocks noChangeArrowheads="1"/>
                </p:cNvSpPr>
                <p:nvPr>
                  <p:custDataLst>
                    <p:tags r:id="rId142"/>
                  </p:custDataLst>
                </p:nvPr>
              </p:nvSpPr>
              <p:spPr bwMode="auto">
                <a:xfrm>
                  <a:off x="1082"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grpSp>
        </p:grpSp>
        <p:grpSp>
          <p:nvGrpSpPr>
            <p:cNvPr id="546" name="Group 189"/>
            <p:cNvGrpSpPr>
              <a:grpSpLocks/>
            </p:cNvGrpSpPr>
            <p:nvPr>
              <p:custDataLst>
                <p:tags r:id="rId19"/>
              </p:custDataLst>
            </p:nvPr>
          </p:nvGrpSpPr>
          <p:grpSpPr bwMode="auto">
            <a:xfrm>
              <a:off x="1488" y="1912"/>
              <a:ext cx="90" cy="67"/>
              <a:chOff x="371" y="1706"/>
              <a:chExt cx="277" cy="199"/>
            </a:xfrm>
          </p:grpSpPr>
          <p:sp>
            <p:nvSpPr>
              <p:cNvPr id="648" name="AutoShape 190"/>
              <p:cNvSpPr>
                <a:spLocks noChangeArrowheads="1"/>
              </p:cNvSpPr>
              <p:nvPr/>
            </p:nvSpPr>
            <p:spPr bwMode="auto">
              <a:xfrm>
                <a:off x="371" y="1706"/>
                <a:ext cx="277" cy="199"/>
              </a:xfrm>
              <a:prstGeom prst="cube">
                <a:avLst>
                  <a:gd name="adj" fmla="val 25000"/>
                </a:avLst>
              </a:prstGeom>
              <a:solidFill>
                <a:srgbClr val="E3CAB3"/>
              </a:solidFill>
              <a:ln w="12700">
                <a:solidFill>
                  <a:srgbClr val="E3CAB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grpSp>
            <p:nvGrpSpPr>
              <p:cNvPr id="649" name="Group 191"/>
              <p:cNvGrpSpPr>
                <a:grpSpLocks/>
              </p:cNvGrpSpPr>
              <p:nvPr/>
            </p:nvGrpSpPr>
            <p:grpSpPr bwMode="auto">
              <a:xfrm>
                <a:off x="398" y="1789"/>
                <a:ext cx="182" cy="99"/>
                <a:chOff x="369" y="3354"/>
                <a:chExt cx="717" cy="390"/>
              </a:xfrm>
            </p:grpSpPr>
            <p:sp>
              <p:nvSpPr>
                <p:cNvPr id="650" name="AutoShape 192"/>
                <p:cNvSpPr>
                  <a:spLocks noChangeAspect="1" noChangeArrowheads="1" noTextEdit="1"/>
                </p:cNvSpPr>
                <p:nvPr>
                  <p:custDataLst>
                    <p:tags r:id="rId99"/>
                  </p:custDataLst>
                </p:nvPr>
              </p:nvSpPr>
              <p:spPr bwMode="auto">
                <a:xfrm>
                  <a:off x="369" y="3354"/>
                  <a:ext cx="717"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51" name="Freeform 193"/>
                <p:cNvSpPr>
                  <a:spLocks/>
                </p:cNvSpPr>
                <p:nvPr>
                  <p:custDataLst>
                    <p:tags r:id="rId100"/>
                  </p:custDataLst>
                </p:nvPr>
              </p:nvSpPr>
              <p:spPr bwMode="auto">
                <a:xfrm>
                  <a:off x="371" y="3517"/>
                  <a:ext cx="713" cy="225"/>
                </a:xfrm>
                <a:custGeom>
                  <a:avLst/>
                  <a:gdLst>
                    <a:gd name="T0" fmla="*/ 16347 w 16389"/>
                    <a:gd name="T1" fmla="*/ 3102 h 5628"/>
                    <a:gd name="T2" fmla="*/ 16132 w 16389"/>
                    <a:gd name="T3" fmla="*/ 3518 h 5628"/>
                    <a:gd name="T4" fmla="*/ 15745 w 16389"/>
                    <a:gd name="T5" fmla="*/ 3909 h 5628"/>
                    <a:gd name="T6" fmla="*/ 15203 w 16389"/>
                    <a:gd name="T7" fmla="*/ 4273 h 5628"/>
                    <a:gd name="T8" fmla="*/ 14518 w 16389"/>
                    <a:gd name="T9" fmla="*/ 4605 h 5628"/>
                    <a:gd name="T10" fmla="*/ 13704 w 16389"/>
                    <a:gd name="T11" fmla="*/ 4898 h 5628"/>
                    <a:gd name="T12" fmla="*/ 12776 w 16389"/>
                    <a:gd name="T13" fmla="*/ 5148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8 h 5628"/>
                    <a:gd name="T30" fmla="*/ 2685 w 16389"/>
                    <a:gd name="T31" fmla="*/ 4898 h 5628"/>
                    <a:gd name="T32" fmla="*/ 1871 w 16389"/>
                    <a:gd name="T33" fmla="*/ 4605 h 5628"/>
                    <a:gd name="T34" fmla="*/ 1186 w 16389"/>
                    <a:gd name="T35" fmla="*/ 4273 h 5628"/>
                    <a:gd name="T36" fmla="*/ 644 w 16389"/>
                    <a:gd name="T37" fmla="*/ 3909 h 5628"/>
                    <a:gd name="T38" fmla="*/ 257 w 16389"/>
                    <a:gd name="T39" fmla="*/ 3518 h 5628"/>
                    <a:gd name="T40" fmla="*/ 42 w 16389"/>
                    <a:gd name="T41" fmla="*/ 3102 h 5628"/>
                    <a:gd name="T42" fmla="*/ 10 w 16389"/>
                    <a:gd name="T43" fmla="*/ 2669 h 5628"/>
                    <a:gd name="T44" fmla="*/ 165 w 16389"/>
                    <a:gd name="T45" fmla="*/ 2247 h 5628"/>
                    <a:gd name="T46" fmla="*/ 496 w 16389"/>
                    <a:gd name="T47" fmla="*/ 1847 h 5628"/>
                    <a:gd name="T48" fmla="*/ 989 w 16389"/>
                    <a:gd name="T49" fmla="*/ 1474 h 5628"/>
                    <a:gd name="T50" fmla="*/ 1628 w 16389"/>
                    <a:gd name="T51" fmla="*/ 1131 h 5628"/>
                    <a:gd name="T52" fmla="*/ 2400 w 16389"/>
                    <a:gd name="T53" fmla="*/ 825 h 5628"/>
                    <a:gd name="T54" fmla="*/ 3292 w 16389"/>
                    <a:gd name="T55" fmla="*/ 560 h 5628"/>
                    <a:gd name="T56" fmla="*/ 4289 w 16389"/>
                    <a:gd name="T57" fmla="*/ 340 h 5628"/>
                    <a:gd name="T58" fmla="*/ 5378 w 16389"/>
                    <a:gd name="T59" fmla="*/ 171 h 5628"/>
                    <a:gd name="T60" fmla="*/ 6543 w 16389"/>
                    <a:gd name="T61" fmla="*/ 57 h 5628"/>
                    <a:gd name="T62" fmla="*/ 7773 w 16389"/>
                    <a:gd name="T63" fmla="*/ 4 h 5628"/>
                    <a:gd name="T64" fmla="*/ 9032 w 16389"/>
                    <a:gd name="T65" fmla="*/ 14 h 5628"/>
                    <a:gd name="T66" fmla="*/ 10241 w 16389"/>
                    <a:gd name="T67" fmla="*/ 89 h 5628"/>
                    <a:gd name="T68" fmla="*/ 11383 w 16389"/>
                    <a:gd name="T69" fmla="*/ 221 h 5628"/>
                    <a:gd name="T70" fmla="*/ 12443 w 16389"/>
                    <a:gd name="T71" fmla="*/ 408 h 5628"/>
                    <a:gd name="T72" fmla="*/ 13407 w 16389"/>
                    <a:gd name="T73" fmla="*/ 643 h 5628"/>
                    <a:gd name="T74" fmla="*/ 14260 w 16389"/>
                    <a:gd name="T75" fmla="*/ 922 h 5628"/>
                    <a:gd name="T76" fmla="*/ 14990 w 16389"/>
                    <a:gd name="T77" fmla="*/ 1241 h 5628"/>
                    <a:gd name="T78" fmla="*/ 15581 w 16389"/>
                    <a:gd name="T79" fmla="*/ 1595 h 5628"/>
                    <a:gd name="T80" fmla="*/ 16022 w 16389"/>
                    <a:gd name="T81" fmla="*/ 1978 h 5628"/>
                    <a:gd name="T82" fmla="*/ 16296 w 16389"/>
                    <a:gd name="T83" fmla="*/ 2386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3"/>
                      </a:lnTo>
                      <a:lnTo>
                        <a:pt x="16224" y="3381"/>
                      </a:lnTo>
                      <a:lnTo>
                        <a:pt x="16132" y="3518"/>
                      </a:lnTo>
                      <a:lnTo>
                        <a:pt x="16022" y="3651"/>
                      </a:lnTo>
                      <a:lnTo>
                        <a:pt x="15893" y="3782"/>
                      </a:lnTo>
                      <a:lnTo>
                        <a:pt x="15745" y="3909"/>
                      </a:lnTo>
                      <a:lnTo>
                        <a:pt x="15581" y="4034"/>
                      </a:lnTo>
                      <a:lnTo>
                        <a:pt x="15400" y="4155"/>
                      </a:lnTo>
                      <a:lnTo>
                        <a:pt x="15203" y="4273"/>
                      </a:lnTo>
                      <a:lnTo>
                        <a:pt x="14990" y="4387"/>
                      </a:lnTo>
                      <a:lnTo>
                        <a:pt x="14761" y="4498"/>
                      </a:lnTo>
                      <a:lnTo>
                        <a:pt x="14518" y="4605"/>
                      </a:lnTo>
                      <a:lnTo>
                        <a:pt x="14260" y="4706"/>
                      </a:lnTo>
                      <a:lnTo>
                        <a:pt x="13989" y="4804"/>
                      </a:lnTo>
                      <a:lnTo>
                        <a:pt x="13704" y="4898"/>
                      </a:lnTo>
                      <a:lnTo>
                        <a:pt x="13407" y="4986"/>
                      </a:lnTo>
                      <a:lnTo>
                        <a:pt x="13096" y="5069"/>
                      </a:lnTo>
                      <a:lnTo>
                        <a:pt x="12776" y="5148"/>
                      </a:lnTo>
                      <a:lnTo>
                        <a:pt x="12443" y="5222"/>
                      </a:lnTo>
                      <a:lnTo>
                        <a:pt x="12100" y="5289"/>
                      </a:lnTo>
                      <a:lnTo>
                        <a:pt x="11746" y="5351"/>
                      </a:lnTo>
                      <a:lnTo>
                        <a:pt x="11383" y="5408"/>
                      </a:lnTo>
                      <a:lnTo>
                        <a:pt x="11011" y="5458"/>
                      </a:lnTo>
                      <a:lnTo>
                        <a:pt x="10631" y="5502"/>
                      </a:lnTo>
                      <a:lnTo>
                        <a:pt x="10241" y="5540"/>
                      </a:lnTo>
                      <a:lnTo>
                        <a:pt x="9846" y="5571"/>
                      </a:lnTo>
                      <a:lnTo>
                        <a:pt x="9442" y="5596"/>
                      </a:lnTo>
                      <a:lnTo>
                        <a:pt x="9032" y="5614"/>
                      </a:lnTo>
                      <a:lnTo>
                        <a:pt x="8616" y="5625"/>
                      </a:lnTo>
                      <a:lnTo>
                        <a:pt x="8195" y="5628"/>
                      </a:lnTo>
                      <a:lnTo>
                        <a:pt x="7773" y="5625"/>
                      </a:lnTo>
                      <a:lnTo>
                        <a:pt x="7357" y="5614"/>
                      </a:lnTo>
                      <a:lnTo>
                        <a:pt x="6947" y="5596"/>
                      </a:lnTo>
                      <a:lnTo>
                        <a:pt x="6543" y="5571"/>
                      </a:lnTo>
                      <a:lnTo>
                        <a:pt x="6148" y="5540"/>
                      </a:lnTo>
                      <a:lnTo>
                        <a:pt x="5758" y="5502"/>
                      </a:lnTo>
                      <a:lnTo>
                        <a:pt x="5378" y="5458"/>
                      </a:lnTo>
                      <a:lnTo>
                        <a:pt x="5006" y="5408"/>
                      </a:lnTo>
                      <a:lnTo>
                        <a:pt x="4643" y="5351"/>
                      </a:lnTo>
                      <a:lnTo>
                        <a:pt x="4289" y="5289"/>
                      </a:lnTo>
                      <a:lnTo>
                        <a:pt x="3946" y="5222"/>
                      </a:lnTo>
                      <a:lnTo>
                        <a:pt x="3613" y="5148"/>
                      </a:lnTo>
                      <a:lnTo>
                        <a:pt x="3292" y="5069"/>
                      </a:lnTo>
                      <a:lnTo>
                        <a:pt x="2982" y="4986"/>
                      </a:lnTo>
                      <a:lnTo>
                        <a:pt x="2685" y="4898"/>
                      </a:lnTo>
                      <a:lnTo>
                        <a:pt x="2400" y="4804"/>
                      </a:lnTo>
                      <a:lnTo>
                        <a:pt x="2129" y="4706"/>
                      </a:lnTo>
                      <a:lnTo>
                        <a:pt x="1871" y="4605"/>
                      </a:lnTo>
                      <a:lnTo>
                        <a:pt x="1628" y="4498"/>
                      </a:lnTo>
                      <a:lnTo>
                        <a:pt x="1399" y="4387"/>
                      </a:lnTo>
                      <a:lnTo>
                        <a:pt x="1186" y="4273"/>
                      </a:lnTo>
                      <a:lnTo>
                        <a:pt x="989" y="4155"/>
                      </a:lnTo>
                      <a:lnTo>
                        <a:pt x="808" y="4034"/>
                      </a:lnTo>
                      <a:lnTo>
                        <a:pt x="644" y="3909"/>
                      </a:lnTo>
                      <a:lnTo>
                        <a:pt x="496" y="3782"/>
                      </a:lnTo>
                      <a:lnTo>
                        <a:pt x="367" y="3651"/>
                      </a:lnTo>
                      <a:lnTo>
                        <a:pt x="257" y="3518"/>
                      </a:lnTo>
                      <a:lnTo>
                        <a:pt x="165" y="3381"/>
                      </a:lnTo>
                      <a:lnTo>
                        <a:pt x="93" y="3243"/>
                      </a:lnTo>
                      <a:lnTo>
                        <a:pt x="42" y="3102"/>
                      </a:lnTo>
                      <a:lnTo>
                        <a:pt x="10" y="2959"/>
                      </a:lnTo>
                      <a:lnTo>
                        <a:pt x="0" y="2814"/>
                      </a:lnTo>
                      <a:lnTo>
                        <a:pt x="10" y="2669"/>
                      </a:lnTo>
                      <a:lnTo>
                        <a:pt x="42" y="2526"/>
                      </a:lnTo>
                      <a:lnTo>
                        <a:pt x="93" y="2386"/>
                      </a:lnTo>
                      <a:lnTo>
                        <a:pt x="165" y="2247"/>
                      </a:lnTo>
                      <a:lnTo>
                        <a:pt x="257" y="2111"/>
                      </a:lnTo>
                      <a:lnTo>
                        <a:pt x="367" y="1978"/>
                      </a:lnTo>
                      <a:lnTo>
                        <a:pt x="496" y="1847"/>
                      </a:lnTo>
                      <a:lnTo>
                        <a:pt x="644" y="1719"/>
                      </a:lnTo>
                      <a:lnTo>
                        <a:pt x="808" y="1595"/>
                      </a:lnTo>
                      <a:lnTo>
                        <a:pt x="989" y="1474"/>
                      </a:lnTo>
                      <a:lnTo>
                        <a:pt x="1186" y="1356"/>
                      </a:lnTo>
                      <a:lnTo>
                        <a:pt x="1399" y="1241"/>
                      </a:lnTo>
                      <a:lnTo>
                        <a:pt x="1628" y="1131"/>
                      </a:lnTo>
                      <a:lnTo>
                        <a:pt x="1871" y="1024"/>
                      </a:lnTo>
                      <a:lnTo>
                        <a:pt x="2129" y="922"/>
                      </a:lnTo>
                      <a:lnTo>
                        <a:pt x="2400" y="825"/>
                      </a:lnTo>
                      <a:lnTo>
                        <a:pt x="2685" y="732"/>
                      </a:lnTo>
                      <a:lnTo>
                        <a:pt x="2982" y="643"/>
                      </a:lnTo>
                      <a:lnTo>
                        <a:pt x="3292" y="560"/>
                      </a:lnTo>
                      <a:lnTo>
                        <a:pt x="3613" y="481"/>
                      </a:lnTo>
                      <a:lnTo>
                        <a:pt x="3946" y="408"/>
                      </a:lnTo>
                      <a:lnTo>
                        <a:pt x="4289" y="340"/>
                      </a:lnTo>
                      <a:lnTo>
                        <a:pt x="4643" y="277"/>
                      </a:lnTo>
                      <a:lnTo>
                        <a:pt x="5006" y="221"/>
                      </a:lnTo>
                      <a:lnTo>
                        <a:pt x="5378" y="171"/>
                      </a:lnTo>
                      <a:lnTo>
                        <a:pt x="5758" y="126"/>
                      </a:lnTo>
                      <a:lnTo>
                        <a:pt x="6148" y="89"/>
                      </a:lnTo>
                      <a:lnTo>
                        <a:pt x="6543" y="57"/>
                      </a:lnTo>
                      <a:lnTo>
                        <a:pt x="6947" y="32"/>
                      </a:lnTo>
                      <a:lnTo>
                        <a:pt x="7357" y="14"/>
                      </a:lnTo>
                      <a:lnTo>
                        <a:pt x="7773" y="4"/>
                      </a:lnTo>
                      <a:lnTo>
                        <a:pt x="8195" y="0"/>
                      </a:lnTo>
                      <a:lnTo>
                        <a:pt x="8616" y="4"/>
                      </a:lnTo>
                      <a:lnTo>
                        <a:pt x="9032" y="14"/>
                      </a:lnTo>
                      <a:lnTo>
                        <a:pt x="9442" y="32"/>
                      </a:lnTo>
                      <a:lnTo>
                        <a:pt x="9846" y="57"/>
                      </a:lnTo>
                      <a:lnTo>
                        <a:pt x="10241" y="89"/>
                      </a:lnTo>
                      <a:lnTo>
                        <a:pt x="10631" y="126"/>
                      </a:lnTo>
                      <a:lnTo>
                        <a:pt x="11011" y="171"/>
                      </a:lnTo>
                      <a:lnTo>
                        <a:pt x="11383" y="221"/>
                      </a:lnTo>
                      <a:lnTo>
                        <a:pt x="11746" y="277"/>
                      </a:lnTo>
                      <a:lnTo>
                        <a:pt x="12100" y="340"/>
                      </a:lnTo>
                      <a:lnTo>
                        <a:pt x="12443" y="408"/>
                      </a:lnTo>
                      <a:lnTo>
                        <a:pt x="12776" y="481"/>
                      </a:lnTo>
                      <a:lnTo>
                        <a:pt x="13096" y="560"/>
                      </a:lnTo>
                      <a:lnTo>
                        <a:pt x="13407" y="643"/>
                      </a:lnTo>
                      <a:lnTo>
                        <a:pt x="13704" y="732"/>
                      </a:lnTo>
                      <a:lnTo>
                        <a:pt x="13989" y="825"/>
                      </a:lnTo>
                      <a:lnTo>
                        <a:pt x="14260" y="922"/>
                      </a:lnTo>
                      <a:lnTo>
                        <a:pt x="14518" y="1024"/>
                      </a:lnTo>
                      <a:lnTo>
                        <a:pt x="14761" y="1131"/>
                      </a:lnTo>
                      <a:lnTo>
                        <a:pt x="14990" y="1241"/>
                      </a:lnTo>
                      <a:lnTo>
                        <a:pt x="15203" y="1356"/>
                      </a:lnTo>
                      <a:lnTo>
                        <a:pt x="15400" y="1474"/>
                      </a:lnTo>
                      <a:lnTo>
                        <a:pt x="15581" y="1595"/>
                      </a:lnTo>
                      <a:lnTo>
                        <a:pt x="15745" y="1719"/>
                      </a:lnTo>
                      <a:lnTo>
                        <a:pt x="15893" y="1847"/>
                      </a:lnTo>
                      <a:lnTo>
                        <a:pt x="16022" y="1978"/>
                      </a:lnTo>
                      <a:lnTo>
                        <a:pt x="16132" y="2111"/>
                      </a:lnTo>
                      <a:lnTo>
                        <a:pt x="16224" y="2247"/>
                      </a:lnTo>
                      <a:lnTo>
                        <a:pt x="16296" y="2386"/>
                      </a:lnTo>
                      <a:lnTo>
                        <a:pt x="16347" y="2526"/>
                      </a:lnTo>
                      <a:lnTo>
                        <a:pt x="16379" y="2669"/>
                      </a:lnTo>
                      <a:lnTo>
                        <a:pt x="16389" y="2814"/>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52" name="Freeform 194"/>
                <p:cNvSpPr>
                  <a:spLocks/>
                </p:cNvSpPr>
                <p:nvPr>
                  <p:custDataLst>
                    <p:tags r:id="rId101"/>
                  </p:custDataLst>
                </p:nvPr>
              </p:nvSpPr>
              <p:spPr bwMode="auto">
                <a:xfrm>
                  <a:off x="725" y="3629"/>
                  <a:ext cx="361" cy="115"/>
                </a:xfrm>
                <a:custGeom>
                  <a:avLst/>
                  <a:gdLst>
                    <a:gd name="T0" fmla="*/ 472 w 8295"/>
                    <a:gd name="T1" fmla="*/ 2861 h 2865"/>
                    <a:gd name="T2" fmla="*/ 1300 w 8295"/>
                    <a:gd name="T3" fmla="*/ 2832 h 2865"/>
                    <a:gd name="T4" fmla="*/ 2102 w 8295"/>
                    <a:gd name="T5" fmla="*/ 2776 h 2865"/>
                    <a:gd name="T6" fmla="*/ 2873 w 8295"/>
                    <a:gd name="T7" fmla="*/ 2694 h 2865"/>
                    <a:gd name="T8" fmla="*/ 3609 w 8295"/>
                    <a:gd name="T9" fmla="*/ 2587 h 2865"/>
                    <a:gd name="T10" fmla="*/ 4308 w 8295"/>
                    <a:gd name="T11" fmla="*/ 2456 h 2865"/>
                    <a:gd name="T12" fmla="*/ 4964 w 8295"/>
                    <a:gd name="T13" fmla="*/ 2304 h 2865"/>
                    <a:gd name="T14" fmla="*/ 5426 w 8295"/>
                    <a:gd name="T15" fmla="*/ 2177 h 2865"/>
                    <a:gd name="T16" fmla="*/ 5718 w 8295"/>
                    <a:gd name="T17" fmla="*/ 2085 h 2865"/>
                    <a:gd name="T18" fmla="*/ 5998 w 8295"/>
                    <a:gd name="T19" fmla="*/ 1989 h 2865"/>
                    <a:gd name="T20" fmla="*/ 6264 w 8295"/>
                    <a:gd name="T21" fmla="*/ 1889 h 2865"/>
                    <a:gd name="T22" fmla="*/ 6516 w 8295"/>
                    <a:gd name="T23" fmla="*/ 1783 h 2865"/>
                    <a:gd name="T24" fmla="*/ 6754 w 8295"/>
                    <a:gd name="T25" fmla="*/ 1675 h 2865"/>
                    <a:gd name="T26" fmla="*/ 6977 w 8295"/>
                    <a:gd name="T27" fmla="*/ 1561 h 2865"/>
                    <a:gd name="T28" fmla="*/ 7184 w 8295"/>
                    <a:gd name="T29" fmla="*/ 1444 h 2865"/>
                    <a:gd name="T30" fmla="*/ 7376 w 8295"/>
                    <a:gd name="T31" fmla="*/ 1323 h 2865"/>
                    <a:gd name="T32" fmla="*/ 7551 w 8295"/>
                    <a:gd name="T33" fmla="*/ 1199 h 2865"/>
                    <a:gd name="T34" fmla="*/ 7709 w 8295"/>
                    <a:gd name="T35" fmla="*/ 1070 h 2865"/>
                    <a:gd name="T36" fmla="*/ 7850 w 8295"/>
                    <a:gd name="T37" fmla="*/ 938 h 2865"/>
                    <a:gd name="T38" fmla="*/ 7972 w 8295"/>
                    <a:gd name="T39" fmla="*/ 802 h 2865"/>
                    <a:gd name="T40" fmla="*/ 8076 w 8295"/>
                    <a:gd name="T41" fmla="*/ 663 h 2865"/>
                    <a:gd name="T42" fmla="*/ 8161 w 8295"/>
                    <a:gd name="T43" fmla="*/ 522 h 2865"/>
                    <a:gd name="T44" fmla="*/ 8226 w 8295"/>
                    <a:gd name="T45" fmla="*/ 376 h 2865"/>
                    <a:gd name="T46" fmla="*/ 8269 w 8295"/>
                    <a:gd name="T47" fmla="*/ 228 h 2865"/>
                    <a:gd name="T48" fmla="*/ 8292 w 8295"/>
                    <a:gd name="T49" fmla="*/ 77 h 2865"/>
                    <a:gd name="T50" fmla="*/ 8194 w 8295"/>
                    <a:gd name="T51" fmla="*/ 35 h 2865"/>
                    <a:gd name="T52" fmla="*/ 8180 w 8295"/>
                    <a:gd name="T53" fmla="*/ 172 h 2865"/>
                    <a:gd name="T54" fmla="*/ 8145 w 8295"/>
                    <a:gd name="T55" fmla="*/ 307 h 2865"/>
                    <a:gd name="T56" fmla="*/ 8089 w 8295"/>
                    <a:gd name="T57" fmla="*/ 442 h 2865"/>
                    <a:gd name="T58" fmla="*/ 8016 w 8295"/>
                    <a:gd name="T59" fmla="*/ 574 h 2865"/>
                    <a:gd name="T60" fmla="*/ 7922 w 8295"/>
                    <a:gd name="T61" fmla="*/ 706 h 2865"/>
                    <a:gd name="T62" fmla="*/ 7810 w 8295"/>
                    <a:gd name="T63" fmla="*/ 835 h 2865"/>
                    <a:gd name="T64" fmla="*/ 7679 w 8295"/>
                    <a:gd name="T65" fmla="*/ 963 h 2865"/>
                    <a:gd name="T66" fmla="*/ 7530 w 8295"/>
                    <a:gd name="T67" fmla="*/ 1088 h 2865"/>
                    <a:gd name="T68" fmla="*/ 7364 w 8295"/>
                    <a:gd name="T69" fmla="*/ 1210 h 2865"/>
                    <a:gd name="T70" fmla="*/ 7182 w 8295"/>
                    <a:gd name="T71" fmla="*/ 1329 h 2865"/>
                    <a:gd name="T72" fmla="*/ 6982 w 8295"/>
                    <a:gd name="T73" fmla="*/ 1444 h 2865"/>
                    <a:gd name="T74" fmla="*/ 6766 w 8295"/>
                    <a:gd name="T75" fmla="*/ 1557 h 2865"/>
                    <a:gd name="T76" fmla="*/ 6537 w 8295"/>
                    <a:gd name="T77" fmla="*/ 1665 h 2865"/>
                    <a:gd name="T78" fmla="*/ 6290 w 8295"/>
                    <a:gd name="T79" fmla="*/ 1770 h 2865"/>
                    <a:gd name="T80" fmla="*/ 6032 w 8295"/>
                    <a:gd name="T81" fmla="*/ 1870 h 2865"/>
                    <a:gd name="T82" fmla="*/ 5757 w 8295"/>
                    <a:gd name="T83" fmla="*/ 1967 h 2865"/>
                    <a:gd name="T84" fmla="*/ 5471 w 8295"/>
                    <a:gd name="T85" fmla="*/ 2058 h 2865"/>
                    <a:gd name="T86" fmla="*/ 5096 w 8295"/>
                    <a:gd name="T87" fmla="*/ 2165 h 2865"/>
                    <a:gd name="T88" fmla="*/ 4455 w 8295"/>
                    <a:gd name="T89" fmla="*/ 2323 h 2865"/>
                    <a:gd name="T90" fmla="*/ 3771 w 8295"/>
                    <a:gd name="T91" fmla="*/ 2457 h 2865"/>
                    <a:gd name="T92" fmla="*/ 3047 w 8295"/>
                    <a:gd name="T93" fmla="*/ 2570 h 2865"/>
                    <a:gd name="T94" fmla="*/ 2287 w 8295"/>
                    <a:gd name="T95" fmla="*/ 2658 h 2865"/>
                    <a:gd name="T96" fmla="*/ 1497 w 8295"/>
                    <a:gd name="T97" fmla="*/ 2721 h 2865"/>
                    <a:gd name="T98" fmla="*/ 678 w 8295"/>
                    <a:gd name="T99" fmla="*/ 2756 h 2865"/>
                    <a:gd name="T100" fmla="*/ 50 w 8295"/>
                    <a:gd name="T101" fmla="*/ 2765 h 2865"/>
                    <a:gd name="T102" fmla="*/ 33 w 8295"/>
                    <a:gd name="T103" fmla="*/ 2767 h 2865"/>
                    <a:gd name="T104" fmla="*/ 15 w 8295"/>
                    <a:gd name="T105" fmla="*/ 2777 h 2865"/>
                    <a:gd name="T106" fmla="*/ 0 w 8295"/>
                    <a:gd name="T107" fmla="*/ 2805 h 2865"/>
                    <a:gd name="T108" fmla="*/ 6 w 8295"/>
                    <a:gd name="T109" fmla="*/ 2842 h 2865"/>
                    <a:gd name="T110" fmla="*/ 23 w 8295"/>
                    <a:gd name="T111" fmla="*/ 2859 h 2865"/>
                    <a:gd name="T112" fmla="*/ 43 w 8295"/>
                    <a:gd name="T113" fmla="*/ 2865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5">
                      <a:moveTo>
                        <a:pt x="50" y="2865"/>
                      </a:moveTo>
                      <a:lnTo>
                        <a:pt x="50" y="2865"/>
                      </a:lnTo>
                      <a:lnTo>
                        <a:pt x="262" y="2864"/>
                      </a:lnTo>
                      <a:lnTo>
                        <a:pt x="472" y="2861"/>
                      </a:lnTo>
                      <a:lnTo>
                        <a:pt x="681" y="2857"/>
                      </a:lnTo>
                      <a:lnTo>
                        <a:pt x="888" y="2851"/>
                      </a:lnTo>
                      <a:lnTo>
                        <a:pt x="1095" y="2842"/>
                      </a:lnTo>
                      <a:lnTo>
                        <a:pt x="1300" y="2832"/>
                      </a:lnTo>
                      <a:lnTo>
                        <a:pt x="1503" y="2820"/>
                      </a:lnTo>
                      <a:lnTo>
                        <a:pt x="1704" y="2808"/>
                      </a:lnTo>
                      <a:lnTo>
                        <a:pt x="1904" y="2793"/>
                      </a:lnTo>
                      <a:lnTo>
                        <a:pt x="2102" y="2776"/>
                      </a:lnTo>
                      <a:lnTo>
                        <a:pt x="2296" y="2757"/>
                      </a:lnTo>
                      <a:lnTo>
                        <a:pt x="2491" y="2738"/>
                      </a:lnTo>
                      <a:lnTo>
                        <a:pt x="2683" y="2717"/>
                      </a:lnTo>
                      <a:lnTo>
                        <a:pt x="2873" y="2694"/>
                      </a:lnTo>
                      <a:lnTo>
                        <a:pt x="3060" y="2669"/>
                      </a:lnTo>
                      <a:lnTo>
                        <a:pt x="3246" y="2644"/>
                      </a:lnTo>
                      <a:lnTo>
                        <a:pt x="3429" y="2616"/>
                      </a:lnTo>
                      <a:lnTo>
                        <a:pt x="3609" y="2587"/>
                      </a:lnTo>
                      <a:lnTo>
                        <a:pt x="3788" y="2557"/>
                      </a:lnTo>
                      <a:lnTo>
                        <a:pt x="3964" y="2524"/>
                      </a:lnTo>
                      <a:lnTo>
                        <a:pt x="4137" y="2491"/>
                      </a:lnTo>
                      <a:lnTo>
                        <a:pt x="4308" y="2456"/>
                      </a:lnTo>
                      <a:lnTo>
                        <a:pt x="4476" y="2420"/>
                      </a:lnTo>
                      <a:lnTo>
                        <a:pt x="4642" y="2383"/>
                      </a:lnTo>
                      <a:lnTo>
                        <a:pt x="4804" y="2344"/>
                      </a:lnTo>
                      <a:lnTo>
                        <a:pt x="4964" y="2304"/>
                      </a:lnTo>
                      <a:lnTo>
                        <a:pt x="5122" y="2263"/>
                      </a:lnTo>
                      <a:lnTo>
                        <a:pt x="5275" y="2220"/>
                      </a:lnTo>
                      <a:lnTo>
                        <a:pt x="5351" y="2198"/>
                      </a:lnTo>
                      <a:lnTo>
                        <a:pt x="5426" y="2177"/>
                      </a:lnTo>
                      <a:lnTo>
                        <a:pt x="5500" y="2154"/>
                      </a:lnTo>
                      <a:lnTo>
                        <a:pt x="5574" y="2131"/>
                      </a:lnTo>
                      <a:lnTo>
                        <a:pt x="5646" y="2108"/>
                      </a:lnTo>
                      <a:lnTo>
                        <a:pt x="5718" y="2085"/>
                      </a:lnTo>
                      <a:lnTo>
                        <a:pt x="5789" y="2062"/>
                      </a:lnTo>
                      <a:lnTo>
                        <a:pt x="5859" y="2038"/>
                      </a:lnTo>
                      <a:lnTo>
                        <a:pt x="5930" y="2013"/>
                      </a:lnTo>
                      <a:lnTo>
                        <a:pt x="5998" y="1989"/>
                      </a:lnTo>
                      <a:lnTo>
                        <a:pt x="6066" y="1965"/>
                      </a:lnTo>
                      <a:lnTo>
                        <a:pt x="6133" y="1940"/>
                      </a:lnTo>
                      <a:lnTo>
                        <a:pt x="6199" y="1914"/>
                      </a:lnTo>
                      <a:lnTo>
                        <a:pt x="6264" y="1889"/>
                      </a:lnTo>
                      <a:lnTo>
                        <a:pt x="6328" y="1863"/>
                      </a:lnTo>
                      <a:lnTo>
                        <a:pt x="6391" y="1836"/>
                      </a:lnTo>
                      <a:lnTo>
                        <a:pt x="6454" y="1810"/>
                      </a:lnTo>
                      <a:lnTo>
                        <a:pt x="6516" y="1783"/>
                      </a:lnTo>
                      <a:lnTo>
                        <a:pt x="6577" y="1756"/>
                      </a:lnTo>
                      <a:lnTo>
                        <a:pt x="6637" y="1730"/>
                      </a:lnTo>
                      <a:lnTo>
                        <a:pt x="6695" y="1702"/>
                      </a:lnTo>
                      <a:lnTo>
                        <a:pt x="6754" y="1675"/>
                      </a:lnTo>
                      <a:lnTo>
                        <a:pt x="6811" y="1647"/>
                      </a:lnTo>
                      <a:lnTo>
                        <a:pt x="6867" y="1619"/>
                      </a:lnTo>
                      <a:lnTo>
                        <a:pt x="6922" y="1590"/>
                      </a:lnTo>
                      <a:lnTo>
                        <a:pt x="6977" y="1561"/>
                      </a:lnTo>
                      <a:lnTo>
                        <a:pt x="7030" y="1532"/>
                      </a:lnTo>
                      <a:lnTo>
                        <a:pt x="7082" y="1503"/>
                      </a:lnTo>
                      <a:lnTo>
                        <a:pt x="7133" y="1474"/>
                      </a:lnTo>
                      <a:lnTo>
                        <a:pt x="7184" y="1444"/>
                      </a:lnTo>
                      <a:lnTo>
                        <a:pt x="7233" y="1414"/>
                      </a:lnTo>
                      <a:lnTo>
                        <a:pt x="7282" y="1384"/>
                      </a:lnTo>
                      <a:lnTo>
                        <a:pt x="7329" y="1354"/>
                      </a:lnTo>
                      <a:lnTo>
                        <a:pt x="7376" y="1323"/>
                      </a:lnTo>
                      <a:lnTo>
                        <a:pt x="7421" y="1292"/>
                      </a:lnTo>
                      <a:lnTo>
                        <a:pt x="7465" y="1261"/>
                      </a:lnTo>
                      <a:lnTo>
                        <a:pt x="7509" y="1230"/>
                      </a:lnTo>
                      <a:lnTo>
                        <a:pt x="7551" y="1199"/>
                      </a:lnTo>
                      <a:lnTo>
                        <a:pt x="7592" y="1167"/>
                      </a:lnTo>
                      <a:lnTo>
                        <a:pt x="7632" y="1134"/>
                      </a:lnTo>
                      <a:lnTo>
                        <a:pt x="7670" y="1102"/>
                      </a:lnTo>
                      <a:lnTo>
                        <a:pt x="7709" y="1070"/>
                      </a:lnTo>
                      <a:lnTo>
                        <a:pt x="7746" y="1037"/>
                      </a:lnTo>
                      <a:lnTo>
                        <a:pt x="7782" y="1004"/>
                      </a:lnTo>
                      <a:lnTo>
                        <a:pt x="7816" y="971"/>
                      </a:lnTo>
                      <a:lnTo>
                        <a:pt x="7850" y="938"/>
                      </a:lnTo>
                      <a:lnTo>
                        <a:pt x="7882" y="905"/>
                      </a:lnTo>
                      <a:lnTo>
                        <a:pt x="7914" y="870"/>
                      </a:lnTo>
                      <a:lnTo>
                        <a:pt x="7944" y="837"/>
                      </a:lnTo>
                      <a:lnTo>
                        <a:pt x="7972" y="802"/>
                      </a:lnTo>
                      <a:lnTo>
                        <a:pt x="8000" y="768"/>
                      </a:lnTo>
                      <a:lnTo>
                        <a:pt x="8027" y="734"/>
                      </a:lnTo>
                      <a:lnTo>
                        <a:pt x="8052" y="699"/>
                      </a:lnTo>
                      <a:lnTo>
                        <a:pt x="8076" y="663"/>
                      </a:lnTo>
                      <a:lnTo>
                        <a:pt x="8099" y="628"/>
                      </a:lnTo>
                      <a:lnTo>
                        <a:pt x="8121" y="593"/>
                      </a:lnTo>
                      <a:lnTo>
                        <a:pt x="8141" y="558"/>
                      </a:lnTo>
                      <a:lnTo>
                        <a:pt x="8161" y="522"/>
                      </a:lnTo>
                      <a:lnTo>
                        <a:pt x="8180" y="485"/>
                      </a:lnTo>
                      <a:lnTo>
                        <a:pt x="8196" y="449"/>
                      </a:lnTo>
                      <a:lnTo>
                        <a:pt x="8212" y="413"/>
                      </a:lnTo>
                      <a:lnTo>
                        <a:pt x="8226" y="376"/>
                      </a:lnTo>
                      <a:lnTo>
                        <a:pt x="8238" y="340"/>
                      </a:lnTo>
                      <a:lnTo>
                        <a:pt x="8251" y="302"/>
                      </a:lnTo>
                      <a:lnTo>
                        <a:pt x="8261" y="265"/>
                      </a:lnTo>
                      <a:lnTo>
                        <a:pt x="8269" y="228"/>
                      </a:lnTo>
                      <a:lnTo>
                        <a:pt x="8277" y="190"/>
                      </a:lnTo>
                      <a:lnTo>
                        <a:pt x="8284" y="152"/>
                      </a:lnTo>
                      <a:lnTo>
                        <a:pt x="8289" y="115"/>
                      </a:lnTo>
                      <a:lnTo>
                        <a:pt x="8292" y="77"/>
                      </a:lnTo>
                      <a:lnTo>
                        <a:pt x="8294" y="38"/>
                      </a:lnTo>
                      <a:lnTo>
                        <a:pt x="8295" y="0"/>
                      </a:lnTo>
                      <a:lnTo>
                        <a:pt x="8195" y="0"/>
                      </a:lnTo>
                      <a:lnTo>
                        <a:pt x="8194" y="35"/>
                      </a:lnTo>
                      <a:lnTo>
                        <a:pt x="8192" y="69"/>
                      </a:lnTo>
                      <a:lnTo>
                        <a:pt x="8189" y="104"/>
                      </a:lnTo>
                      <a:lnTo>
                        <a:pt x="8185" y="138"/>
                      </a:lnTo>
                      <a:lnTo>
                        <a:pt x="8180" y="172"/>
                      </a:lnTo>
                      <a:lnTo>
                        <a:pt x="8172" y="206"/>
                      </a:lnTo>
                      <a:lnTo>
                        <a:pt x="8164" y="240"/>
                      </a:lnTo>
                      <a:lnTo>
                        <a:pt x="8155" y="274"/>
                      </a:lnTo>
                      <a:lnTo>
                        <a:pt x="8145" y="307"/>
                      </a:lnTo>
                      <a:lnTo>
                        <a:pt x="8132" y="342"/>
                      </a:lnTo>
                      <a:lnTo>
                        <a:pt x="8119" y="375"/>
                      </a:lnTo>
                      <a:lnTo>
                        <a:pt x="8105" y="409"/>
                      </a:lnTo>
                      <a:lnTo>
                        <a:pt x="8089" y="442"/>
                      </a:lnTo>
                      <a:lnTo>
                        <a:pt x="8072" y="475"/>
                      </a:lnTo>
                      <a:lnTo>
                        <a:pt x="8055" y="508"/>
                      </a:lnTo>
                      <a:lnTo>
                        <a:pt x="8035" y="541"/>
                      </a:lnTo>
                      <a:lnTo>
                        <a:pt x="8016" y="574"/>
                      </a:lnTo>
                      <a:lnTo>
                        <a:pt x="7993" y="608"/>
                      </a:lnTo>
                      <a:lnTo>
                        <a:pt x="7970" y="641"/>
                      </a:lnTo>
                      <a:lnTo>
                        <a:pt x="7947" y="673"/>
                      </a:lnTo>
                      <a:lnTo>
                        <a:pt x="7922" y="706"/>
                      </a:lnTo>
                      <a:lnTo>
                        <a:pt x="7895" y="739"/>
                      </a:lnTo>
                      <a:lnTo>
                        <a:pt x="7868" y="771"/>
                      </a:lnTo>
                      <a:lnTo>
                        <a:pt x="7839" y="803"/>
                      </a:lnTo>
                      <a:lnTo>
                        <a:pt x="7810" y="835"/>
                      </a:lnTo>
                      <a:lnTo>
                        <a:pt x="7779" y="867"/>
                      </a:lnTo>
                      <a:lnTo>
                        <a:pt x="7747" y="899"/>
                      </a:lnTo>
                      <a:lnTo>
                        <a:pt x="7714" y="931"/>
                      </a:lnTo>
                      <a:lnTo>
                        <a:pt x="7679" y="963"/>
                      </a:lnTo>
                      <a:lnTo>
                        <a:pt x="7644" y="994"/>
                      </a:lnTo>
                      <a:lnTo>
                        <a:pt x="7607" y="1026"/>
                      </a:lnTo>
                      <a:lnTo>
                        <a:pt x="7569" y="1057"/>
                      </a:lnTo>
                      <a:lnTo>
                        <a:pt x="7530" y="1088"/>
                      </a:lnTo>
                      <a:lnTo>
                        <a:pt x="7490" y="1118"/>
                      </a:lnTo>
                      <a:lnTo>
                        <a:pt x="7450" y="1149"/>
                      </a:lnTo>
                      <a:lnTo>
                        <a:pt x="7408" y="1179"/>
                      </a:lnTo>
                      <a:lnTo>
                        <a:pt x="7364" y="1210"/>
                      </a:lnTo>
                      <a:lnTo>
                        <a:pt x="7320" y="1240"/>
                      </a:lnTo>
                      <a:lnTo>
                        <a:pt x="7275" y="1270"/>
                      </a:lnTo>
                      <a:lnTo>
                        <a:pt x="7228" y="1299"/>
                      </a:lnTo>
                      <a:lnTo>
                        <a:pt x="7182" y="1329"/>
                      </a:lnTo>
                      <a:lnTo>
                        <a:pt x="7133" y="1358"/>
                      </a:lnTo>
                      <a:lnTo>
                        <a:pt x="7084" y="1387"/>
                      </a:lnTo>
                      <a:lnTo>
                        <a:pt x="7033" y="1416"/>
                      </a:lnTo>
                      <a:lnTo>
                        <a:pt x="6982" y="1444"/>
                      </a:lnTo>
                      <a:lnTo>
                        <a:pt x="6929" y="1473"/>
                      </a:lnTo>
                      <a:lnTo>
                        <a:pt x="6877" y="1501"/>
                      </a:lnTo>
                      <a:lnTo>
                        <a:pt x="6822" y="1529"/>
                      </a:lnTo>
                      <a:lnTo>
                        <a:pt x="6766" y="1557"/>
                      </a:lnTo>
                      <a:lnTo>
                        <a:pt x="6711" y="1584"/>
                      </a:lnTo>
                      <a:lnTo>
                        <a:pt x="6653" y="1612"/>
                      </a:lnTo>
                      <a:lnTo>
                        <a:pt x="6595" y="1638"/>
                      </a:lnTo>
                      <a:lnTo>
                        <a:pt x="6537" y="1665"/>
                      </a:lnTo>
                      <a:lnTo>
                        <a:pt x="6476" y="1691"/>
                      </a:lnTo>
                      <a:lnTo>
                        <a:pt x="6415" y="1718"/>
                      </a:lnTo>
                      <a:lnTo>
                        <a:pt x="6354" y="1744"/>
                      </a:lnTo>
                      <a:lnTo>
                        <a:pt x="6290" y="1770"/>
                      </a:lnTo>
                      <a:lnTo>
                        <a:pt x="6227" y="1795"/>
                      </a:lnTo>
                      <a:lnTo>
                        <a:pt x="6163" y="1821"/>
                      </a:lnTo>
                      <a:lnTo>
                        <a:pt x="6098" y="1845"/>
                      </a:lnTo>
                      <a:lnTo>
                        <a:pt x="6032" y="1870"/>
                      </a:lnTo>
                      <a:lnTo>
                        <a:pt x="5965" y="1895"/>
                      </a:lnTo>
                      <a:lnTo>
                        <a:pt x="5897" y="1919"/>
                      </a:lnTo>
                      <a:lnTo>
                        <a:pt x="5828" y="1943"/>
                      </a:lnTo>
                      <a:lnTo>
                        <a:pt x="5757" y="1967"/>
                      </a:lnTo>
                      <a:lnTo>
                        <a:pt x="5687" y="1989"/>
                      </a:lnTo>
                      <a:lnTo>
                        <a:pt x="5616" y="2013"/>
                      </a:lnTo>
                      <a:lnTo>
                        <a:pt x="5544" y="2036"/>
                      </a:lnTo>
                      <a:lnTo>
                        <a:pt x="5471" y="2058"/>
                      </a:lnTo>
                      <a:lnTo>
                        <a:pt x="5398" y="2080"/>
                      </a:lnTo>
                      <a:lnTo>
                        <a:pt x="5324" y="2102"/>
                      </a:lnTo>
                      <a:lnTo>
                        <a:pt x="5248" y="2124"/>
                      </a:lnTo>
                      <a:lnTo>
                        <a:pt x="5096" y="2165"/>
                      </a:lnTo>
                      <a:lnTo>
                        <a:pt x="4940" y="2207"/>
                      </a:lnTo>
                      <a:lnTo>
                        <a:pt x="4781" y="2247"/>
                      </a:lnTo>
                      <a:lnTo>
                        <a:pt x="4620" y="2285"/>
                      </a:lnTo>
                      <a:lnTo>
                        <a:pt x="4455" y="2323"/>
                      </a:lnTo>
                      <a:lnTo>
                        <a:pt x="4288" y="2358"/>
                      </a:lnTo>
                      <a:lnTo>
                        <a:pt x="4119" y="2392"/>
                      </a:lnTo>
                      <a:lnTo>
                        <a:pt x="3945" y="2426"/>
                      </a:lnTo>
                      <a:lnTo>
                        <a:pt x="3771" y="2457"/>
                      </a:lnTo>
                      <a:lnTo>
                        <a:pt x="3593" y="2487"/>
                      </a:lnTo>
                      <a:lnTo>
                        <a:pt x="3414" y="2516"/>
                      </a:lnTo>
                      <a:lnTo>
                        <a:pt x="3231" y="2544"/>
                      </a:lnTo>
                      <a:lnTo>
                        <a:pt x="3047" y="2570"/>
                      </a:lnTo>
                      <a:lnTo>
                        <a:pt x="2860" y="2594"/>
                      </a:lnTo>
                      <a:lnTo>
                        <a:pt x="2672" y="2617"/>
                      </a:lnTo>
                      <a:lnTo>
                        <a:pt x="2481" y="2638"/>
                      </a:lnTo>
                      <a:lnTo>
                        <a:pt x="2287" y="2658"/>
                      </a:lnTo>
                      <a:lnTo>
                        <a:pt x="2092" y="2676"/>
                      </a:lnTo>
                      <a:lnTo>
                        <a:pt x="1895" y="2692"/>
                      </a:lnTo>
                      <a:lnTo>
                        <a:pt x="1698" y="2708"/>
                      </a:lnTo>
                      <a:lnTo>
                        <a:pt x="1497" y="2721"/>
                      </a:lnTo>
                      <a:lnTo>
                        <a:pt x="1295" y="2733"/>
                      </a:lnTo>
                      <a:lnTo>
                        <a:pt x="1090" y="2742"/>
                      </a:lnTo>
                      <a:lnTo>
                        <a:pt x="885" y="2750"/>
                      </a:lnTo>
                      <a:lnTo>
                        <a:pt x="678" y="2756"/>
                      </a:lnTo>
                      <a:lnTo>
                        <a:pt x="470" y="2761"/>
                      </a:lnTo>
                      <a:lnTo>
                        <a:pt x="261" y="2764"/>
                      </a:lnTo>
                      <a:lnTo>
                        <a:pt x="50" y="2765"/>
                      </a:lnTo>
                      <a:lnTo>
                        <a:pt x="50" y="2765"/>
                      </a:lnTo>
                      <a:lnTo>
                        <a:pt x="50" y="2765"/>
                      </a:lnTo>
                      <a:lnTo>
                        <a:pt x="43" y="2765"/>
                      </a:lnTo>
                      <a:lnTo>
                        <a:pt x="38" y="2766"/>
                      </a:lnTo>
                      <a:lnTo>
                        <a:pt x="33" y="2767"/>
                      </a:lnTo>
                      <a:lnTo>
                        <a:pt x="28" y="2769"/>
                      </a:lnTo>
                      <a:lnTo>
                        <a:pt x="23" y="2771"/>
                      </a:lnTo>
                      <a:lnTo>
                        <a:pt x="19" y="2774"/>
                      </a:lnTo>
                      <a:lnTo>
                        <a:pt x="15" y="2777"/>
                      </a:lnTo>
                      <a:lnTo>
                        <a:pt x="12" y="2780"/>
                      </a:lnTo>
                      <a:lnTo>
                        <a:pt x="6" y="2787"/>
                      </a:lnTo>
                      <a:lnTo>
                        <a:pt x="3" y="2797"/>
                      </a:lnTo>
                      <a:lnTo>
                        <a:pt x="0" y="2805"/>
                      </a:lnTo>
                      <a:lnTo>
                        <a:pt x="0" y="2814"/>
                      </a:lnTo>
                      <a:lnTo>
                        <a:pt x="0" y="2825"/>
                      </a:lnTo>
                      <a:lnTo>
                        <a:pt x="3" y="2833"/>
                      </a:lnTo>
                      <a:lnTo>
                        <a:pt x="6" y="2842"/>
                      </a:lnTo>
                      <a:lnTo>
                        <a:pt x="12" y="2849"/>
                      </a:lnTo>
                      <a:lnTo>
                        <a:pt x="15" y="2853"/>
                      </a:lnTo>
                      <a:lnTo>
                        <a:pt x="19" y="2856"/>
                      </a:lnTo>
                      <a:lnTo>
                        <a:pt x="23" y="2859"/>
                      </a:lnTo>
                      <a:lnTo>
                        <a:pt x="28" y="2861"/>
                      </a:lnTo>
                      <a:lnTo>
                        <a:pt x="33" y="2863"/>
                      </a:lnTo>
                      <a:lnTo>
                        <a:pt x="38" y="2864"/>
                      </a:lnTo>
                      <a:lnTo>
                        <a:pt x="43" y="2865"/>
                      </a:lnTo>
                      <a:lnTo>
                        <a:pt x="50"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53" name="Freeform 195"/>
                <p:cNvSpPr>
                  <a:spLocks/>
                </p:cNvSpPr>
                <p:nvPr>
                  <p:custDataLst>
                    <p:tags r:id="rId102"/>
                  </p:custDataLst>
                </p:nvPr>
              </p:nvSpPr>
              <p:spPr bwMode="auto">
                <a:xfrm>
                  <a:off x="369" y="3627"/>
                  <a:ext cx="359" cy="117"/>
                </a:xfrm>
                <a:custGeom>
                  <a:avLst/>
                  <a:gdLst>
                    <a:gd name="T0" fmla="*/ 3 w 8246"/>
                    <a:gd name="T1" fmla="*/ 127 h 2915"/>
                    <a:gd name="T2" fmla="*/ 25 w 8246"/>
                    <a:gd name="T3" fmla="*/ 278 h 2915"/>
                    <a:gd name="T4" fmla="*/ 69 w 8246"/>
                    <a:gd name="T5" fmla="*/ 426 h 2915"/>
                    <a:gd name="T6" fmla="*/ 134 w 8246"/>
                    <a:gd name="T7" fmla="*/ 572 h 2915"/>
                    <a:gd name="T8" fmla="*/ 219 w 8246"/>
                    <a:gd name="T9" fmla="*/ 713 h 2915"/>
                    <a:gd name="T10" fmla="*/ 323 w 8246"/>
                    <a:gd name="T11" fmla="*/ 852 h 2915"/>
                    <a:gd name="T12" fmla="*/ 445 w 8246"/>
                    <a:gd name="T13" fmla="*/ 988 h 2915"/>
                    <a:gd name="T14" fmla="*/ 586 w 8246"/>
                    <a:gd name="T15" fmla="*/ 1120 h 2915"/>
                    <a:gd name="T16" fmla="*/ 744 w 8246"/>
                    <a:gd name="T17" fmla="*/ 1249 h 2915"/>
                    <a:gd name="T18" fmla="*/ 919 w 8246"/>
                    <a:gd name="T19" fmla="*/ 1373 h 2915"/>
                    <a:gd name="T20" fmla="*/ 1111 w 8246"/>
                    <a:gd name="T21" fmla="*/ 1494 h 2915"/>
                    <a:gd name="T22" fmla="*/ 1318 w 8246"/>
                    <a:gd name="T23" fmla="*/ 1611 h 2915"/>
                    <a:gd name="T24" fmla="*/ 1541 w 8246"/>
                    <a:gd name="T25" fmla="*/ 1725 h 2915"/>
                    <a:gd name="T26" fmla="*/ 1779 w 8246"/>
                    <a:gd name="T27" fmla="*/ 1833 h 2915"/>
                    <a:gd name="T28" fmla="*/ 2030 w 8246"/>
                    <a:gd name="T29" fmla="*/ 1939 h 2915"/>
                    <a:gd name="T30" fmla="*/ 2297 w 8246"/>
                    <a:gd name="T31" fmla="*/ 2039 h 2915"/>
                    <a:gd name="T32" fmla="*/ 2577 w 8246"/>
                    <a:gd name="T33" fmla="*/ 2135 h 2915"/>
                    <a:gd name="T34" fmla="*/ 2869 w 8246"/>
                    <a:gd name="T35" fmla="*/ 2227 h 2915"/>
                    <a:gd name="T36" fmla="*/ 3331 w 8246"/>
                    <a:gd name="T37" fmla="*/ 2354 h 2915"/>
                    <a:gd name="T38" fmla="*/ 3987 w 8246"/>
                    <a:gd name="T39" fmla="*/ 2506 h 2915"/>
                    <a:gd name="T40" fmla="*/ 4686 w 8246"/>
                    <a:gd name="T41" fmla="*/ 2637 h 2915"/>
                    <a:gd name="T42" fmla="*/ 5422 w 8246"/>
                    <a:gd name="T43" fmla="*/ 2744 h 2915"/>
                    <a:gd name="T44" fmla="*/ 6193 w 8246"/>
                    <a:gd name="T45" fmla="*/ 2826 h 2915"/>
                    <a:gd name="T46" fmla="*/ 6995 w 8246"/>
                    <a:gd name="T47" fmla="*/ 2882 h 2915"/>
                    <a:gd name="T48" fmla="*/ 7823 w 8246"/>
                    <a:gd name="T49" fmla="*/ 2911 h 2915"/>
                    <a:gd name="T50" fmla="*/ 8034 w 8246"/>
                    <a:gd name="T51" fmla="*/ 2814 h 2915"/>
                    <a:gd name="T52" fmla="*/ 7205 w 8246"/>
                    <a:gd name="T53" fmla="*/ 2792 h 2915"/>
                    <a:gd name="T54" fmla="*/ 6400 w 8246"/>
                    <a:gd name="T55" fmla="*/ 2742 h 2915"/>
                    <a:gd name="T56" fmla="*/ 5623 w 8246"/>
                    <a:gd name="T57" fmla="*/ 2667 h 2915"/>
                    <a:gd name="T58" fmla="*/ 4881 w 8246"/>
                    <a:gd name="T59" fmla="*/ 2566 h 2915"/>
                    <a:gd name="T60" fmla="*/ 4176 w 8246"/>
                    <a:gd name="T61" fmla="*/ 2442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2 h 2915"/>
                    <a:gd name="T76" fmla="*/ 1418 w 8246"/>
                    <a:gd name="T77" fmla="*/ 1551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8 h 2915"/>
                    <a:gd name="T94" fmla="*/ 175 w 8246"/>
                    <a:gd name="T95" fmla="*/ 425 h 2915"/>
                    <a:gd name="T96" fmla="*/ 131 w 8246"/>
                    <a:gd name="T97" fmla="*/ 290 h 2915"/>
                    <a:gd name="T98" fmla="*/ 106 w 8246"/>
                    <a:gd name="T99" fmla="*/ 154 h 2915"/>
                    <a:gd name="T100" fmla="*/ 100 w 8246"/>
                    <a:gd name="T101" fmla="*/ 50 h 2915"/>
                    <a:gd name="T102" fmla="*/ 98 w 8246"/>
                    <a:gd name="T103" fmla="*/ 33 h 2915"/>
                    <a:gd name="T104" fmla="*/ 88 w 8246"/>
                    <a:gd name="T105" fmla="*/ 16 h 2915"/>
                    <a:gd name="T106" fmla="*/ 60 w 8246"/>
                    <a:gd name="T107" fmla="*/ 0 h 2915"/>
                    <a:gd name="T108" fmla="*/ 23 w 8246"/>
                    <a:gd name="T109" fmla="*/ 8 h 2915"/>
                    <a:gd name="T110" fmla="*/ 6 w 8246"/>
                    <a:gd name="T111" fmla="*/ 24 h 2915"/>
                    <a:gd name="T112" fmla="*/ 0 w 8246"/>
                    <a:gd name="T113" fmla="*/ 44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0"/>
                      </a:moveTo>
                      <a:lnTo>
                        <a:pt x="0" y="50"/>
                      </a:lnTo>
                      <a:lnTo>
                        <a:pt x="1" y="88"/>
                      </a:lnTo>
                      <a:lnTo>
                        <a:pt x="3" y="127"/>
                      </a:lnTo>
                      <a:lnTo>
                        <a:pt x="6" y="165"/>
                      </a:lnTo>
                      <a:lnTo>
                        <a:pt x="11" y="202"/>
                      </a:lnTo>
                      <a:lnTo>
                        <a:pt x="18" y="240"/>
                      </a:lnTo>
                      <a:lnTo>
                        <a:pt x="25" y="278"/>
                      </a:lnTo>
                      <a:lnTo>
                        <a:pt x="34" y="315"/>
                      </a:lnTo>
                      <a:lnTo>
                        <a:pt x="44" y="352"/>
                      </a:lnTo>
                      <a:lnTo>
                        <a:pt x="56" y="390"/>
                      </a:lnTo>
                      <a:lnTo>
                        <a:pt x="69" y="426"/>
                      </a:lnTo>
                      <a:lnTo>
                        <a:pt x="83" y="463"/>
                      </a:lnTo>
                      <a:lnTo>
                        <a:pt x="99" y="499"/>
                      </a:lnTo>
                      <a:lnTo>
                        <a:pt x="115" y="535"/>
                      </a:lnTo>
                      <a:lnTo>
                        <a:pt x="134" y="572"/>
                      </a:lnTo>
                      <a:lnTo>
                        <a:pt x="154" y="608"/>
                      </a:lnTo>
                      <a:lnTo>
                        <a:pt x="174" y="643"/>
                      </a:lnTo>
                      <a:lnTo>
                        <a:pt x="196" y="678"/>
                      </a:lnTo>
                      <a:lnTo>
                        <a:pt x="219" y="713"/>
                      </a:lnTo>
                      <a:lnTo>
                        <a:pt x="243" y="749"/>
                      </a:lnTo>
                      <a:lnTo>
                        <a:pt x="268" y="784"/>
                      </a:lnTo>
                      <a:lnTo>
                        <a:pt x="295" y="818"/>
                      </a:lnTo>
                      <a:lnTo>
                        <a:pt x="323" y="852"/>
                      </a:lnTo>
                      <a:lnTo>
                        <a:pt x="351" y="887"/>
                      </a:lnTo>
                      <a:lnTo>
                        <a:pt x="381" y="920"/>
                      </a:lnTo>
                      <a:lnTo>
                        <a:pt x="413" y="955"/>
                      </a:lnTo>
                      <a:lnTo>
                        <a:pt x="445" y="988"/>
                      </a:lnTo>
                      <a:lnTo>
                        <a:pt x="479" y="1021"/>
                      </a:lnTo>
                      <a:lnTo>
                        <a:pt x="513" y="1054"/>
                      </a:lnTo>
                      <a:lnTo>
                        <a:pt x="549" y="1087"/>
                      </a:lnTo>
                      <a:lnTo>
                        <a:pt x="586" y="1120"/>
                      </a:lnTo>
                      <a:lnTo>
                        <a:pt x="624" y="1152"/>
                      </a:lnTo>
                      <a:lnTo>
                        <a:pt x="663" y="1184"/>
                      </a:lnTo>
                      <a:lnTo>
                        <a:pt x="703" y="1217"/>
                      </a:lnTo>
                      <a:lnTo>
                        <a:pt x="744" y="1249"/>
                      </a:lnTo>
                      <a:lnTo>
                        <a:pt x="786" y="1280"/>
                      </a:lnTo>
                      <a:lnTo>
                        <a:pt x="830" y="1311"/>
                      </a:lnTo>
                      <a:lnTo>
                        <a:pt x="874" y="1342"/>
                      </a:lnTo>
                      <a:lnTo>
                        <a:pt x="919" y="1373"/>
                      </a:lnTo>
                      <a:lnTo>
                        <a:pt x="966" y="1404"/>
                      </a:lnTo>
                      <a:lnTo>
                        <a:pt x="1013" y="1434"/>
                      </a:lnTo>
                      <a:lnTo>
                        <a:pt x="1062" y="1464"/>
                      </a:lnTo>
                      <a:lnTo>
                        <a:pt x="1111" y="1494"/>
                      </a:lnTo>
                      <a:lnTo>
                        <a:pt x="1162" y="1524"/>
                      </a:lnTo>
                      <a:lnTo>
                        <a:pt x="1212" y="1553"/>
                      </a:lnTo>
                      <a:lnTo>
                        <a:pt x="1265" y="1582"/>
                      </a:lnTo>
                      <a:lnTo>
                        <a:pt x="1318" y="1611"/>
                      </a:lnTo>
                      <a:lnTo>
                        <a:pt x="1373" y="1640"/>
                      </a:lnTo>
                      <a:lnTo>
                        <a:pt x="1428" y="1669"/>
                      </a:lnTo>
                      <a:lnTo>
                        <a:pt x="1484" y="1697"/>
                      </a:lnTo>
                      <a:lnTo>
                        <a:pt x="1541" y="1725"/>
                      </a:lnTo>
                      <a:lnTo>
                        <a:pt x="1600" y="1752"/>
                      </a:lnTo>
                      <a:lnTo>
                        <a:pt x="1658" y="1780"/>
                      </a:lnTo>
                      <a:lnTo>
                        <a:pt x="1718" y="1806"/>
                      </a:lnTo>
                      <a:lnTo>
                        <a:pt x="1779" y="1833"/>
                      </a:lnTo>
                      <a:lnTo>
                        <a:pt x="1841" y="1860"/>
                      </a:lnTo>
                      <a:lnTo>
                        <a:pt x="1904" y="1886"/>
                      </a:lnTo>
                      <a:lnTo>
                        <a:pt x="1967" y="1913"/>
                      </a:lnTo>
                      <a:lnTo>
                        <a:pt x="2030" y="1939"/>
                      </a:lnTo>
                      <a:lnTo>
                        <a:pt x="2096" y="1964"/>
                      </a:lnTo>
                      <a:lnTo>
                        <a:pt x="2162" y="1990"/>
                      </a:lnTo>
                      <a:lnTo>
                        <a:pt x="2229" y="2015"/>
                      </a:lnTo>
                      <a:lnTo>
                        <a:pt x="2297" y="2039"/>
                      </a:lnTo>
                      <a:lnTo>
                        <a:pt x="2365" y="2063"/>
                      </a:lnTo>
                      <a:lnTo>
                        <a:pt x="2436" y="2088"/>
                      </a:lnTo>
                      <a:lnTo>
                        <a:pt x="2506" y="2112"/>
                      </a:lnTo>
                      <a:lnTo>
                        <a:pt x="2577" y="2135"/>
                      </a:lnTo>
                      <a:lnTo>
                        <a:pt x="2649" y="2158"/>
                      </a:lnTo>
                      <a:lnTo>
                        <a:pt x="2721" y="2181"/>
                      </a:lnTo>
                      <a:lnTo>
                        <a:pt x="2794" y="2204"/>
                      </a:lnTo>
                      <a:lnTo>
                        <a:pt x="2869" y="2227"/>
                      </a:lnTo>
                      <a:lnTo>
                        <a:pt x="2944" y="2248"/>
                      </a:lnTo>
                      <a:lnTo>
                        <a:pt x="3020" y="2270"/>
                      </a:lnTo>
                      <a:lnTo>
                        <a:pt x="3173" y="2313"/>
                      </a:lnTo>
                      <a:lnTo>
                        <a:pt x="3331" y="2354"/>
                      </a:lnTo>
                      <a:lnTo>
                        <a:pt x="3491" y="2394"/>
                      </a:lnTo>
                      <a:lnTo>
                        <a:pt x="3653" y="2433"/>
                      </a:lnTo>
                      <a:lnTo>
                        <a:pt x="3819" y="2470"/>
                      </a:lnTo>
                      <a:lnTo>
                        <a:pt x="3987" y="2506"/>
                      </a:lnTo>
                      <a:lnTo>
                        <a:pt x="4158" y="2541"/>
                      </a:lnTo>
                      <a:lnTo>
                        <a:pt x="4331" y="2574"/>
                      </a:lnTo>
                      <a:lnTo>
                        <a:pt x="4507" y="2607"/>
                      </a:lnTo>
                      <a:lnTo>
                        <a:pt x="4686" y="2637"/>
                      </a:lnTo>
                      <a:lnTo>
                        <a:pt x="4866" y="2666"/>
                      </a:lnTo>
                      <a:lnTo>
                        <a:pt x="5049" y="2694"/>
                      </a:lnTo>
                      <a:lnTo>
                        <a:pt x="5235" y="2719"/>
                      </a:lnTo>
                      <a:lnTo>
                        <a:pt x="5422" y="2744"/>
                      </a:lnTo>
                      <a:lnTo>
                        <a:pt x="5612" y="2767"/>
                      </a:lnTo>
                      <a:lnTo>
                        <a:pt x="5804" y="2788"/>
                      </a:lnTo>
                      <a:lnTo>
                        <a:pt x="5998" y="2807"/>
                      </a:lnTo>
                      <a:lnTo>
                        <a:pt x="6193" y="2826"/>
                      </a:lnTo>
                      <a:lnTo>
                        <a:pt x="6391" y="2843"/>
                      </a:lnTo>
                      <a:lnTo>
                        <a:pt x="6591" y="2858"/>
                      </a:lnTo>
                      <a:lnTo>
                        <a:pt x="6792" y="2870"/>
                      </a:lnTo>
                      <a:lnTo>
                        <a:pt x="6995" y="2882"/>
                      </a:lnTo>
                      <a:lnTo>
                        <a:pt x="7200" y="2892"/>
                      </a:lnTo>
                      <a:lnTo>
                        <a:pt x="7407" y="2901"/>
                      </a:lnTo>
                      <a:lnTo>
                        <a:pt x="7614" y="2907"/>
                      </a:lnTo>
                      <a:lnTo>
                        <a:pt x="7823" y="2911"/>
                      </a:lnTo>
                      <a:lnTo>
                        <a:pt x="8034" y="2914"/>
                      </a:lnTo>
                      <a:lnTo>
                        <a:pt x="8246" y="2915"/>
                      </a:lnTo>
                      <a:lnTo>
                        <a:pt x="8246" y="2815"/>
                      </a:lnTo>
                      <a:lnTo>
                        <a:pt x="8034" y="2814"/>
                      </a:lnTo>
                      <a:lnTo>
                        <a:pt x="7825" y="2811"/>
                      </a:lnTo>
                      <a:lnTo>
                        <a:pt x="7617" y="2806"/>
                      </a:lnTo>
                      <a:lnTo>
                        <a:pt x="7410" y="2800"/>
                      </a:lnTo>
                      <a:lnTo>
                        <a:pt x="7205" y="2792"/>
                      </a:lnTo>
                      <a:lnTo>
                        <a:pt x="7000" y="2783"/>
                      </a:lnTo>
                      <a:lnTo>
                        <a:pt x="6798" y="2771"/>
                      </a:lnTo>
                      <a:lnTo>
                        <a:pt x="6597" y="2758"/>
                      </a:lnTo>
                      <a:lnTo>
                        <a:pt x="6400" y="2742"/>
                      </a:lnTo>
                      <a:lnTo>
                        <a:pt x="6203" y="2726"/>
                      </a:lnTo>
                      <a:lnTo>
                        <a:pt x="6008" y="2708"/>
                      </a:lnTo>
                      <a:lnTo>
                        <a:pt x="5814" y="2688"/>
                      </a:lnTo>
                      <a:lnTo>
                        <a:pt x="5623" y="2667"/>
                      </a:lnTo>
                      <a:lnTo>
                        <a:pt x="5435" y="2644"/>
                      </a:lnTo>
                      <a:lnTo>
                        <a:pt x="5248" y="2620"/>
                      </a:lnTo>
                      <a:lnTo>
                        <a:pt x="5064" y="2594"/>
                      </a:lnTo>
                      <a:lnTo>
                        <a:pt x="4881" y="2566"/>
                      </a:lnTo>
                      <a:lnTo>
                        <a:pt x="4702" y="2537"/>
                      </a:lnTo>
                      <a:lnTo>
                        <a:pt x="4524" y="2507"/>
                      </a:lnTo>
                      <a:lnTo>
                        <a:pt x="4350" y="2476"/>
                      </a:lnTo>
                      <a:lnTo>
                        <a:pt x="4176" y="2442"/>
                      </a:lnTo>
                      <a:lnTo>
                        <a:pt x="4007" y="2408"/>
                      </a:lnTo>
                      <a:lnTo>
                        <a:pt x="3839" y="2373"/>
                      </a:lnTo>
                      <a:lnTo>
                        <a:pt x="3675" y="2335"/>
                      </a:lnTo>
                      <a:lnTo>
                        <a:pt x="3514" y="2297"/>
                      </a:lnTo>
                      <a:lnTo>
                        <a:pt x="3355" y="2257"/>
                      </a:lnTo>
                      <a:lnTo>
                        <a:pt x="3199" y="2215"/>
                      </a:lnTo>
                      <a:lnTo>
                        <a:pt x="3047" y="2174"/>
                      </a:lnTo>
                      <a:lnTo>
                        <a:pt x="2971" y="2152"/>
                      </a:lnTo>
                      <a:lnTo>
                        <a:pt x="2897" y="2130"/>
                      </a:lnTo>
                      <a:lnTo>
                        <a:pt x="2824" y="2108"/>
                      </a:lnTo>
                      <a:lnTo>
                        <a:pt x="2751" y="2086"/>
                      </a:lnTo>
                      <a:lnTo>
                        <a:pt x="2679" y="2063"/>
                      </a:lnTo>
                      <a:lnTo>
                        <a:pt x="2608" y="2039"/>
                      </a:lnTo>
                      <a:lnTo>
                        <a:pt x="2538" y="2017"/>
                      </a:lnTo>
                      <a:lnTo>
                        <a:pt x="2467" y="1993"/>
                      </a:lnTo>
                      <a:lnTo>
                        <a:pt x="2398" y="1969"/>
                      </a:lnTo>
                      <a:lnTo>
                        <a:pt x="2330" y="1945"/>
                      </a:lnTo>
                      <a:lnTo>
                        <a:pt x="2263" y="1920"/>
                      </a:lnTo>
                      <a:lnTo>
                        <a:pt x="2197" y="1895"/>
                      </a:lnTo>
                      <a:lnTo>
                        <a:pt x="2132" y="1871"/>
                      </a:lnTo>
                      <a:lnTo>
                        <a:pt x="2068" y="1845"/>
                      </a:lnTo>
                      <a:lnTo>
                        <a:pt x="2004" y="1820"/>
                      </a:lnTo>
                      <a:lnTo>
                        <a:pt x="1941" y="1794"/>
                      </a:lnTo>
                      <a:lnTo>
                        <a:pt x="1880" y="1768"/>
                      </a:lnTo>
                      <a:lnTo>
                        <a:pt x="1819" y="1741"/>
                      </a:lnTo>
                      <a:lnTo>
                        <a:pt x="1758" y="1715"/>
                      </a:lnTo>
                      <a:lnTo>
                        <a:pt x="1700" y="1688"/>
                      </a:lnTo>
                      <a:lnTo>
                        <a:pt x="1642" y="1662"/>
                      </a:lnTo>
                      <a:lnTo>
                        <a:pt x="1584" y="1634"/>
                      </a:lnTo>
                      <a:lnTo>
                        <a:pt x="1529" y="1607"/>
                      </a:lnTo>
                      <a:lnTo>
                        <a:pt x="1473" y="1579"/>
                      </a:lnTo>
                      <a:lnTo>
                        <a:pt x="1418" y="1551"/>
                      </a:lnTo>
                      <a:lnTo>
                        <a:pt x="1366" y="1523"/>
                      </a:lnTo>
                      <a:lnTo>
                        <a:pt x="1313" y="1494"/>
                      </a:lnTo>
                      <a:lnTo>
                        <a:pt x="1262" y="1466"/>
                      </a:lnTo>
                      <a:lnTo>
                        <a:pt x="1211" y="1437"/>
                      </a:lnTo>
                      <a:lnTo>
                        <a:pt x="1162" y="1408"/>
                      </a:lnTo>
                      <a:lnTo>
                        <a:pt x="1113" y="1379"/>
                      </a:lnTo>
                      <a:lnTo>
                        <a:pt x="1066" y="1349"/>
                      </a:lnTo>
                      <a:lnTo>
                        <a:pt x="1020" y="1320"/>
                      </a:lnTo>
                      <a:lnTo>
                        <a:pt x="975" y="1290"/>
                      </a:lnTo>
                      <a:lnTo>
                        <a:pt x="931" y="1260"/>
                      </a:lnTo>
                      <a:lnTo>
                        <a:pt x="887" y="1229"/>
                      </a:lnTo>
                      <a:lnTo>
                        <a:pt x="845" y="1199"/>
                      </a:lnTo>
                      <a:lnTo>
                        <a:pt x="804" y="1168"/>
                      </a:lnTo>
                      <a:lnTo>
                        <a:pt x="765" y="1138"/>
                      </a:lnTo>
                      <a:lnTo>
                        <a:pt x="726" y="1107"/>
                      </a:lnTo>
                      <a:lnTo>
                        <a:pt x="688" y="1076"/>
                      </a:lnTo>
                      <a:lnTo>
                        <a:pt x="651" y="1044"/>
                      </a:lnTo>
                      <a:lnTo>
                        <a:pt x="616" y="1013"/>
                      </a:lnTo>
                      <a:lnTo>
                        <a:pt x="581" y="981"/>
                      </a:lnTo>
                      <a:lnTo>
                        <a:pt x="548" y="949"/>
                      </a:lnTo>
                      <a:lnTo>
                        <a:pt x="516" y="917"/>
                      </a:lnTo>
                      <a:lnTo>
                        <a:pt x="485" y="885"/>
                      </a:lnTo>
                      <a:lnTo>
                        <a:pt x="456" y="853"/>
                      </a:lnTo>
                      <a:lnTo>
                        <a:pt x="427" y="821"/>
                      </a:lnTo>
                      <a:lnTo>
                        <a:pt x="400" y="789"/>
                      </a:lnTo>
                      <a:lnTo>
                        <a:pt x="373" y="756"/>
                      </a:lnTo>
                      <a:lnTo>
                        <a:pt x="348" y="724"/>
                      </a:lnTo>
                      <a:lnTo>
                        <a:pt x="324" y="691"/>
                      </a:lnTo>
                      <a:lnTo>
                        <a:pt x="301" y="658"/>
                      </a:lnTo>
                      <a:lnTo>
                        <a:pt x="280" y="624"/>
                      </a:lnTo>
                      <a:lnTo>
                        <a:pt x="260" y="591"/>
                      </a:lnTo>
                      <a:lnTo>
                        <a:pt x="240" y="558"/>
                      </a:lnTo>
                      <a:lnTo>
                        <a:pt x="223" y="525"/>
                      </a:lnTo>
                      <a:lnTo>
                        <a:pt x="205" y="492"/>
                      </a:lnTo>
                      <a:lnTo>
                        <a:pt x="190" y="459"/>
                      </a:lnTo>
                      <a:lnTo>
                        <a:pt x="175" y="425"/>
                      </a:lnTo>
                      <a:lnTo>
                        <a:pt x="163" y="392"/>
                      </a:lnTo>
                      <a:lnTo>
                        <a:pt x="150" y="357"/>
                      </a:lnTo>
                      <a:lnTo>
                        <a:pt x="140" y="324"/>
                      </a:lnTo>
                      <a:lnTo>
                        <a:pt x="131" y="290"/>
                      </a:lnTo>
                      <a:lnTo>
                        <a:pt x="123" y="256"/>
                      </a:lnTo>
                      <a:lnTo>
                        <a:pt x="115" y="222"/>
                      </a:lnTo>
                      <a:lnTo>
                        <a:pt x="110" y="188"/>
                      </a:lnTo>
                      <a:lnTo>
                        <a:pt x="106" y="154"/>
                      </a:lnTo>
                      <a:lnTo>
                        <a:pt x="102" y="119"/>
                      </a:lnTo>
                      <a:lnTo>
                        <a:pt x="101" y="85"/>
                      </a:lnTo>
                      <a:lnTo>
                        <a:pt x="100" y="50"/>
                      </a:lnTo>
                      <a:lnTo>
                        <a:pt x="100" y="50"/>
                      </a:lnTo>
                      <a:lnTo>
                        <a:pt x="100" y="50"/>
                      </a:lnTo>
                      <a:lnTo>
                        <a:pt x="100" y="44"/>
                      </a:lnTo>
                      <a:lnTo>
                        <a:pt x="99" y="39"/>
                      </a:lnTo>
                      <a:lnTo>
                        <a:pt x="98" y="33"/>
                      </a:lnTo>
                      <a:lnTo>
                        <a:pt x="96" y="28"/>
                      </a:lnTo>
                      <a:lnTo>
                        <a:pt x="94" y="24"/>
                      </a:lnTo>
                      <a:lnTo>
                        <a:pt x="91" y="20"/>
                      </a:lnTo>
                      <a:lnTo>
                        <a:pt x="88" y="16"/>
                      </a:lnTo>
                      <a:lnTo>
                        <a:pt x="85" y="13"/>
                      </a:lnTo>
                      <a:lnTo>
                        <a:pt x="77" y="8"/>
                      </a:lnTo>
                      <a:lnTo>
                        <a:pt x="68" y="3"/>
                      </a:lnTo>
                      <a:lnTo>
                        <a:pt x="60" y="0"/>
                      </a:lnTo>
                      <a:lnTo>
                        <a:pt x="51" y="0"/>
                      </a:lnTo>
                      <a:lnTo>
                        <a:pt x="40" y="0"/>
                      </a:lnTo>
                      <a:lnTo>
                        <a:pt x="32" y="3"/>
                      </a:lnTo>
                      <a:lnTo>
                        <a:pt x="23" y="8"/>
                      </a:lnTo>
                      <a:lnTo>
                        <a:pt x="15" y="13"/>
                      </a:lnTo>
                      <a:lnTo>
                        <a:pt x="12" y="16"/>
                      </a:lnTo>
                      <a:lnTo>
                        <a:pt x="9" y="20"/>
                      </a:lnTo>
                      <a:lnTo>
                        <a:pt x="6" y="24"/>
                      </a:lnTo>
                      <a:lnTo>
                        <a:pt x="4" y="28"/>
                      </a:lnTo>
                      <a:lnTo>
                        <a:pt x="2" y="33"/>
                      </a:lnTo>
                      <a:lnTo>
                        <a:pt x="1" y="39"/>
                      </a:lnTo>
                      <a:lnTo>
                        <a:pt x="0" y="44"/>
                      </a:lnTo>
                      <a:lnTo>
                        <a:pt x="0" y="5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54" name="Freeform 196"/>
                <p:cNvSpPr>
                  <a:spLocks/>
                </p:cNvSpPr>
                <p:nvPr>
                  <p:custDataLst>
                    <p:tags r:id="rId103"/>
                  </p:custDataLst>
                </p:nvPr>
              </p:nvSpPr>
              <p:spPr bwMode="auto">
                <a:xfrm>
                  <a:off x="369" y="3515"/>
                  <a:ext cx="361" cy="114"/>
                </a:xfrm>
                <a:custGeom>
                  <a:avLst/>
                  <a:gdLst>
                    <a:gd name="T0" fmla="*/ 7823 w 8296"/>
                    <a:gd name="T1" fmla="*/ 3 h 2864"/>
                    <a:gd name="T2" fmla="*/ 6995 w 8296"/>
                    <a:gd name="T3" fmla="*/ 32 h 2864"/>
                    <a:gd name="T4" fmla="*/ 6193 w 8296"/>
                    <a:gd name="T5" fmla="*/ 88 h 2864"/>
                    <a:gd name="T6" fmla="*/ 5422 w 8296"/>
                    <a:gd name="T7" fmla="*/ 171 h 2864"/>
                    <a:gd name="T8" fmla="*/ 4686 w 8296"/>
                    <a:gd name="T9" fmla="*/ 279 h 2864"/>
                    <a:gd name="T10" fmla="*/ 3987 w 8296"/>
                    <a:gd name="T11" fmla="*/ 409 h 2864"/>
                    <a:gd name="T12" fmla="*/ 3331 w 8296"/>
                    <a:gd name="T13" fmla="*/ 561 h 2864"/>
                    <a:gd name="T14" fmla="*/ 2721 w 8296"/>
                    <a:gd name="T15" fmla="*/ 734 h 2864"/>
                    <a:gd name="T16" fmla="*/ 2436 w 8296"/>
                    <a:gd name="T17" fmla="*/ 827 h 2864"/>
                    <a:gd name="T18" fmla="*/ 2162 w 8296"/>
                    <a:gd name="T19" fmla="*/ 925 h 2864"/>
                    <a:gd name="T20" fmla="*/ 1904 w 8296"/>
                    <a:gd name="T21" fmla="*/ 1028 h 2864"/>
                    <a:gd name="T22" fmla="*/ 1658 w 8296"/>
                    <a:gd name="T23" fmla="*/ 1136 h 2864"/>
                    <a:gd name="T24" fmla="*/ 1428 w 8296"/>
                    <a:gd name="T25" fmla="*/ 1246 h 2864"/>
                    <a:gd name="T26" fmla="*/ 1212 w 8296"/>
                    <a:gd name="T27" fmla="*/ 1361 h 2864"/>
                    <a:gd name="T28" fmla="*/ 1013 w 8296"/>
                    <a:gd name="T29" fmla="*/ 1481 h 2864"/>
                    <a:gd name="T30" fmla="*/ 830 w 8296"/>
                    <a:gd name="T31" fmla="*/ 1603 h 2864"/>
                    <a:gd name="T32" fmla="*/ 663 w 8296"/>
                    <a:gd name="T33" fmla="*/ 1730 h 2864"/>
                    <a:gd name="T34" fmla="*/ 513 w 8296"/>
                    <a:gd name="T35" fmla="*/ 1860 h 2864"/>
                    <a:gd name="T36" fmla="*/ 381 w 8296"/>
                    <a:gd name="T37" fmla="*/ 1994 h 2864"/>
                    <a:gd name="T38" fmla="*/ 268 w 8296"/>
                    <a:gd name="T39" fmla="*/ 2131 h 2864"/>
                    <a:gd name="T40" fmla="*/ 174 w 8296"/>
                    <a:gd name="T41" fmla="*/ 2272 h 2864"/>
                    <a:gd name="T42" fmla="*/ 99 w 8296"/>
                    <a:gd name="T43" fmla="*/ 2416 h 2864"/>
                    <a:gd name="T44" fmla="*/ 44 w 8296"/>
                    <a:gd name="T45" fmla="*/ 2563 h 2864"/>
                    <a:gd name="T46" fmla="*/ 11 w 8296"/>
                    <a:gd name="T47" fmla="*/ 2712 h 2864"/>
                    <a:gd name="T48" fmla="*/ 0 w 8296"/>
                    <a:gd name="T49" fmla="*/ 2864 h 2864"/>
                    <a:gd name="T50" fmla="*/ 106 w 8296"/>
                    <a:gd name="T51" fmla="*/ 2762 h 2864"/>
                    <a:gd name="T52" fmla="*/ 131 w 8296"/>
                    <a:gd name="T53" fmla="*/ 2625 h 2864"/>
                    <a:gd name="T54" fmla="*/ 175 w 8296"/>
                    <a:gd name="T55" fmla="*/ 2490 h 2864"/>
                    <a:gd name="T56" fmla="*/ 240 w 8296"/>
                    <a:gd name="T57" fmla="*/ 2356 h 2864"/>
                    <a:gd name="T58" fmla="*/ 324 w 8296"/>
                    <a:gd name="T59" fmla="*/ 2224 h 2864"/>
                    <a:gd name="T60" fmla="*/ 427 w 8296"/>
                    <a:gd name="T61" fmla="*/ 2094 h 2864"/>
                    <a:gd name="T62" fmla="*/ 548 w 8296"/>
                    <a:gd name="T63" fmla="*/ 1966 h 2864"/>
                    <a:gd name="T64" fmla="*/ 688 w 8296"/>
                    <a:gd name="T65" fmla="*/ 1839 h 2864"/>
                    <a:gd name="T66" fmla="*/ 845 w 8296"/>
                    <a:gd name="T67" fmla="*/ 1716 h 2864"/>
                    <a:gd name="T68" fmla="*/ 1020 w 8296"/>
                    <a:gd name="T69" fmla="*/ 1595 h 2864"/>
                    <a:gd name="T70" fmla="*/ 1211 w 8296"/>
                    <a:gd name="T71" fmla="*/ 1478 h 2864"/>
                    <a:gd name="T72" fmla="*/ 1418 w 8296"/>
                    <a:gd name="T73" fmla="*/ 1364 h 2864"/>
                    <a:gd name="T74" fmla="*/ 1642 w 8296"/>
                    <a:gd name="T75" fmla="*/ 1254 h 2864"/>
                    <a:gd name="T76" fmla="*/ 1880 w 8296"/>
                    <a:gd name="T77" fmla="*/ 1147 h 2864"/>
                    <a:gd name="T78" fmla="*/ 2132 w 8296"/>
                    <a:gd name="T79" fmla="*/ 1044 h 2864"/>
                    <a:gd name="T80" fmla="*/ 2398 w 8296"/>
                    <a:gd name="T81" fmla="*/ 946 h 2864"/>
                    <a:gd name="T82" fmla="*/ 2679 w 8296"/>
                    <a:gd name="T83" fmla="*/ 852 h 2864"/>
                    <a:gd name="T84" fmla="*/ 3199 w 8296"/>
                    <a:gd name="T85" fmla="*/ 699 h 2864"/>
                    <a:gd name="T86" fmla="*/ 3839 w 8296"/>
                    <a:gd name="T87" fmla="*/ 542 h 2864"/>
                    <a:gd name="T88" fmla="*/ 4524 w 8296"/>
                    <a:gd name="T89" fmla="*/ 408 h 2864"/>
                    <a:gd name="T90" fmla="*/ 5248 w 8296"/>
                    <a:gd name="T91" fmla="*/ 295 h 2864"/>
                    <a:gd name="T92" fmla="*/ 6008 w 8296"/>
                    <a:gd name="T93" fmla="*/ 207 h 2864"/>
                    <a:gd name="T94" fmla="*/ 6798 w 8296"/>
                    <a:gd name="T95" fmla="*/ 144 h 2864"/>
                    <a:gd name="T96" fmla="*/ 7617 w 8296"/>
                    <a:gd name="T97" fmla="*/ 108 h 2864"/>
                    <a:gd name="T98" fmla="*/ 8246 w 8296"/>
                    <a:gd name="T99" fmla="*/ 100 h 2864"/>
                    <a:gd name="T100" fmla="*/ 8263 w 8296"/>
                    <a:gd name="T101" fmla="*/ 97 h 2864"/>
                    <a:gd name="T102" fmla="*/ 8280 w 8296"/>
                    <a:gd name="T103" fmla="*/ 88 h 2864"/>
                    <a:gd name="T104" fmla="*/ 8295 w 8296"/>
                    <a:gd name="T105" fmla="*/ 59 h 2864"/>
                    <a:gd name="T106" fmla="*/ 8289 w 8296"/>
                    <a:gd name="T107" fmla="*/ 23 h 2864"/>
                    <a:gd name="T108" fmla="*/ 8272 w 8296"/>
                    <a:gd name="T109" fmla="*/ 6 h 2864"/>
                    <a:gd name="T110" fmla="*/ 8252 w 8296"/>
                    <a:gd name="T111" fmla="*/ 0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4">
                      <a:moveTo>
                        <a:pt x="8246" y="0"/>
                      </a:moveTo>
                      <a:lnTo>
                        <a:pt x="8246" y="0"/>
                      </a:lnTo>
                      <a:lnTo>
                        <a:pt x="8034" y="0"/>
                      </a:lnTo>
                      <a:lnTo>
                        <a:pt x="7823" y="3"/>
                      </a:lnTo>
                      <a:lnTo>
                        <a:pt x="7614" y="8"/>
                      </a:lnTo>
                      <a:lnTo>
                        <a:pt x="7407" y="15"/>
                      </a:lnTo>
                      <a:lnTo>
                        <a:pt x="7200" y="23"/>
                      </a:lnTo>
                      <a:lnTo>
                        <a:pt x="6995" y="32"/>
                      </a:lnTo>
                      <a:lnTo>
                        <a:pt x="6792" y="44"/>
                      </a:lnTo>
                      <a:lnTo>
                        <a:pt x="6591" y="57"/>
                      </a:lnTo>
                      <a:lnTo>
                        <a:pt x="6391" y="72"/>
                      </a:lnTo>
                      <a:lnTo>
                        <a:pt x="6193" y="88"/>
                      </a:lnTo>
                      <a:lnTo>
                        <a:pt x="5998" y="107"/>
                      </a:lnTo>
                      <a:lnTo>
                        <a:pt x="5804" y="126"/>
                      </a:lnTo>
                      <a:lnTo>
                        <a:pt x="5612" y="148"/>
                      </a:lnTo>
                      <a:lnTo>
                        <a:pt x="5422" y="171"/>
                      </a:lnTo>
                      <a:lnTo>
                        <a:pt x="5235" y="196"/>
                      </a:lnTo>
                      <a:lnTo>
                        <a:pt x="5049" y="222"/>
                      </a:lnTo>
                      <a:lnTo>
                        <a:pt x="4866" y="250"/>
                      </a:lnTo>
                      <a:lnTo>
                        <a:pt x="4686" y="279"/>
                      </a:lnTo>
                      <a:lnTo>
                        <a:pt x="4507" y="309"/>
                      </a:lnTo>
                      <a:lnTo>
                        <a:pt x="4331" y="341"/>
                      </a:lnTo>
                      <a:lnTo>
                        <a:pt x="4158" y="374"/>
                      </a:lnTo>
                      <a:lnTo>
                        <a:pt x="3987" y="409"/>
                      </a:lnTo>
                      <a:lnTo>
                        <a:pt x="3819" y="444"/>
                      </a:lnTo>
                      <a:lnTo>
                        <a:pt x="3653" y="482"/>
                      </a:lnTo>
                      <a:lnTo>
                        <a:pt x="3491" y="521"/>
                      </a:lnTo>
                      <a:lnTo>
                        <a:pt x="3331" y="561"/>
                      </a:lnTo>
                      <a:lnTo>
                        <a:pt x="3173" y="602"/>
                      </a:lnTo>
                      <a:lnTo>
                        <a:pt x="3020" y="645"/>
                      </a:lnTo>
                      <a:lnTo>
                        <a:pt x="2869" y="688"/>
                      </a:lnTo>
                      <a:lnTo>
                        <a:pt x="2721" y="734"/>
                      </a:lnTo>
                      <a:lnTo>
                        <a:pt x="2649" y="757"/>
                      </a:lnTo>
                      <a:lnTo>
                        <a:pt x="2577" y="779"/>
                      </a:lnTo>
                      <a:lnTo>
                        <a:pt x="2506" y="803"/>
                      </a:lnTo>
                      <a:lnTo>
                        <a:pt x="2436" y="827"/>
                      </a:lnTo>
                      <a:lnTo>
                        <a:pt x="2365" y="851"/>
                      </a:lnTo>
                      <a:lnTo>
                        <a:pt x="2297" y="876"/>
                      </a:lnTo>
                      <a:lnTo>
                        <a:pt x="2229" y="901"/>
                      </a:lnTo>
                      <a:lnTo>
                        <a:pt x="2162" y="925"/>
                      </a:lnTo>
                      <a:lnTo>
                        <a:pt x="2096" y="950"/>
                      </a:lnTo>
                      <a:lnTo>
                        <a:pt x="2030" y="976"/>
                      </a:lnTo>
                      <a:lnTo>
                        <a:pt x="1967" y="1002"/>
                      </a:lnTo>
                      <a:lnTo>
                        <a:pt x="1904" y="1028"/>
                      </a:lnTo>
                      <a:lnTo>
                        <a:pt x="1841" y="1055"/>
                      </a:lnTo>
                      <a:lnTo>
                        <a:pt x="1779" y="1081"/>
                      </a:lnTo>
                      <a:lnTo>
                        <a:pt x="1718" y="1108"/>
                      </a:lnTo>
                      <a:lnTo>
                        <a:pt x="1658" y="1136"/>
                      </a:lnTo>
                      <a:lnTo>
                        <a:pt x="1600" y="1162"/>
                      </a:lnTo>
                      <a:lnTo>
                        <a:pt x="1541" y="1190"/>
                      </a:lnTo>
                      <a:lnTo>
                        <a:pt x="1484" y="1218"/>
                      </a:lnTo>
                      <a:lnTo>
                        <a:pt x="1428" y="1246"/>
                      </a:lnTo>
                      <a:lnTo>
                        <a:pt x="1373" y="1275"/>
                      </a:lnTo>
                      <a:lnTo>
                        <a:pt x="1318" y="1303"/>
                      </a:lnTo>
                      <a:lnTo>
                        <a:pt x="1265" y="1332"/>
                      </a:lnTo>
                      <a:lnTo>
                        <a:pt x="1212" y="1361"/>
                      </a:lnTo>
                      <a:lnTo>
                        <a:pt x="1162" y="1391"/>
                      </a:lnTo>
                      <a:lnTo>
                        <a:pt x="1111" y="1420"/>
                      </a:lnTo>
                      <a:lnTo>
                        <a:pt x="1062" y="1450"/>
                      </a:lnTo>
                      <a:lnTo>
                        <a:pt x="1013" y="1481"/>
                      </a:lnTo>
                      <a:lnTo>
                        <a:pt x="966" y="1511"/>
                      </a:lnTo>
                      <a:lnTo>
                        <a:pt x="919" y="1542"/>
                      </a:lnTo>
                      <a:lnTo>
                        <a:pt x="874" y="1572"/>
                      </a:lnTo>
                      <a:lnTo>
                        <a:pt x="830" y="1603"/>
                      </a:lnTo>
                      <a:lnTo>
                        <a:pt x="786" y="1635"/>
                      </a:lnTo>
                      <a:lnTo>
                        <a:pt x="744" y="1667"/>
                      </a:lnTo>
                      <a:lnTo>
                        <a:pt x="703" y="1699"/>
                      </a:lnTo>
                      <a:lnTo>
                        <a:pt x="663" y="1730"/>
                      </a:lnTo>
                      <a:lnTo>
                        <a:pt x="624" y="1763"/>
                      </a:lnTo>
                      <a:lnTo>
                        <a:pt x="586" y="1795"/>
                      </a:lnTo>
                      <a:lnTo>
                        <a:pt x="549" y="1828"/>
                      </a:lnTo>
                      <a:lnTo>
                        <a:pt x="513" y="1860"/>
                      </a:lnTo>
                      <a:lnTo>
                        <a:pt x="479" y="1893"/>
                      </a:lnTo>
                      <a:lnTo>
                        <a:pt x="445" y="1926"/>
                      </a:lnTo>
                      <a:lnTo>
                        <a:pt x="413" y="1960"/>
                      </a:lnTo>
                      <a:lnTo>
                        <a:pt x="381" y="1994"/>
                      </a:lnTo>
                      <a:lnTo>
                        <a:pt x="351" y="2028"/>
                      </a:lnTo>
                      <a:lnTo>
                        <a:pt x="323" y="2062"/>
                      </a:lnTo>
                      <a:lnTo>
                        <a:pt x="295" y="2097"/>
                      </a:lnTo>
                      <a:lnTo>
                        <a:pt x="268" y="2131"/>
                      </a:lnTo>
                      <a:lnTo>
                        <a:pt x="243" y="2166"/>
                      </a:lnTo>
                      <a:lnTo>
                        <a:pt x="219" y="2201"/>
                      </a:lnTo>
                      <a:lnTo>
                        <a:pt x="196" y="2236"/>
                      </a:lnTo>
                      <a:lnTo>
                        <a:pt x="174" y="2272"/>
                      </a:lnTo>
                      <a:lnTo>
                        <a:pt x="154" y="2307"/>
                      </a:lnTo>
                      <a:lnTo>
                        <a:pt x="134" y="2343"/>
                      </a:lnTo>
                      <a:lnTo>
                        <a:pt x="115" y="2380"/>
                      </a:lnTo>
                      <a:lnTo>
                        <a:pt x="99" y="2416"/>
                      </a:lnTo>
                      <a:lnTo>
                        <a:pt x="83" y="2452"/>
                      </a:lnTo>
                      <a:lnTo>
                        <a:pt x="69" y="2488"/>
                      </a:lnTo>
                      <a:lnTo>
                        <a:pt x="56" y="2526"/>
                      </a:lnTo>
                      <a:lnTo>
                        <a:pt x="44" y="2563"/>
                      </a:lnTo>
                      <a:lnTo>
                        <a:pt x="34" y="2600"/>
                      </a:lnTo>
                      <a:lnTo>
                        <a:pt x="25" y="2637"/>
                      </a:lnTo>
                      <a:lnTo>
                        <a:pt x="18" y="2675"/>
                      </a:lnTo>
                      <a:lnTo>
                        <a:pt x="11" y="2712"/>
                      </a:lnTo>
                      <a:lnTo>
                        <a:pt x="6" y="2750"/>
                      </a:lnTo>
                      <a:lnTo>
                        <a:pt x="3" y="2788"/>
                      </a:lnTo>
                      <a:lnTo>
                        <a:pt x="1" y="2826"/>
                      </a:lnTo>
                      <a:lnTo>
                        <a:pt x="0" y="2864"/>
                      </a:lnTo>
                      <a:lnTo>
                        <a:pt x="100" y="2864"/>
                      </a:lnTo>
                      <a:lnTo>
                        <a:pt x="101" y="2830"/>
                      </a:lnTo>
                      <a:lnTo>
                        <a:pt x="102" y="2796"/>
                      </a:lnTo>
                      <a:lnTo>
                        <a:pt x="106" y="2762"/>
                      </a:lnTo>
                      <a:lnTo>
                        <a:pt x="110" y="2726"/>
                      </a:lnTo>
                      <a:lnTo>
                        <a:pt x="115" y="2693"/>
                      </a:lnTo>
                      <a:lnTo>
                        <a:pt x="123" y="2659"/>
                      </a:lnTo>
                      <a:lnTo>
                        <a:pt x="131" y="2625"/>
                      </a:lnTo>
                      <a:lnTo>
                        <a:pt x="140" y="2591"/>
                      </a:lnTo>
                      <a:lnTo>
                        <a:pt x="150" y="2558"/>
                      </a:lnTo>
                      <a:lnTo>
                        <a:pt x="163" y="2524"/>
                      </a:lnTo>
                      <a:lnTo>
                        <a:pt x="175" y="2490"/>
                      </a:lnTo>
                      <a:lnTo>
                        <a:pt x="190" y="2456"/>
                      </a:lnTo>
                      <a:lnTo>
                        <a:pt x="205" y="2423"/>
                      </a:lnTo>
                      <a:lnTo>
                        <a:pt x="223" y="2390"/>
                      </a:lnTo>
                      <a:lnTo>
                        <a:pt x="240" y="2356"/>
                      </a:lnTo>
                      <a:lnTo>
                        <a:pt x="260" y="2323"/>
                      </a:lnTo>
                      <a:lnTo>
                        <a:pt x="279" y="2290"/>
                      </a:lnTo>
                      <a:lnTo>
                        <a:pt x="301" y="2258"/>
                      </a:lnTo>
                      <a:lnTo>
                        <a:pt x="324" y="2224"/>
                      </a:lnTo>
                      <a:lnTo>
                        <a:pt x="348" y="2191"/>
                      </a:lnTo>
                      <a:lnTo>
                        <a:pt x="373" y="2159"/>
                      </a:lnTo>
                      <a:lnTo>
                        <a:pt x="400" y="2126"/>
                      </a:lnTo>
                      <a:lnTo>
                        <a:pt x="427" y="2094"/>
                      </a:lnTo>
                      <a:lnTo>
                        <a:pt x="456" y="2062"/>
                      </a:lnTo>
                      <a:lnTo>
                        <a:pt x="485" y="2030"/>
                      </a:lnTo>
                      <a:lnTo>
                        <a:pt x="516" y="1998"/>
                      </a:lnTo>
                      <a:lnTo>
                        <a:pt x="548" y="1966"/>
                      </a:lnTo>
                      <a:lnTo>
                        <a:pt x="581" y="1934"/>
                      </a:lnTo>
                      <a:lnTo>
                        <a:pt x="616" y="1902"/>
                      </a:lnTo>
                      <a:lnTo>
                        <a:pt x="651" y="1870"/>
                      </a:lnTo>
                      <a:lnTo>
                        <a:pt x="688" y="1839"/>
                      </a:lnTo>
                      <a:lnTo>
                        <a:pt x="726" y="1808"/>
                      </a:lnTo>
                      <a:lnTo>
                        <a:pt x="765" y="1777"/>
                      </a:lnTo>
                      <a:lnTo>
                        <a:pt x="804" y="1746"/>
                      </a:lnTo>
                      <a:lnTo>
                        <a:pt x="845" y="1716"/>
                      </a:lnTo>
                      <a:lnTo>
                        <a:pt x="887" y="1685"/>
                      </a:lnTo>
                      <a:lnTo>
                        <a:pt x="931" y="1655"/>
                      </a:lnTo>
                      <a:lnTo>
                        <a:pt x="975" y="1625"/>
                      </a:lnTo>
                      <a:lnTo>
                        <a:pt x="1020" y="1595"/>
                      </a:lnTo>
                      <a:lnTo>
                        <a:pt x="1066" y="1565"/>
                      </a:lnTo>
                      <a:lnTo>
                        <a:pt x="1113" y="1536"/>
                      </a:lnTo>
                      <a:lnTo>
                        <a:pt x="1162" y="1507"/>
                      </a:lnTo>
                      <a:lnTo>
                        <a:pt x="1211" y="1478"/>
                      </a:lnTo>
                      <a:lnTo>
                        <a:pt x="1262" y="1449"/>
                      </a:lnTo>
                      <a:lnTo>
                        <a:pt x="1313" y="1420"/>
                      </a:lnTo>
                      <a:lnTo>
                        <a:pt x="1366" y="1392"/>
                      </a:lnTo>
                      <a:lnTo>
                        <a:pt x="1418" y="1364"/>
                      </a:lnTo>
                      <a:lnTo>
                        <a:pt x="1473" y="1336"/>
                      </a:lnTo>
                      <a:lnTo>
                        <a:pt x="1529" y="1308"/>
                      </a:lnTo>
                      <a:lnTo>
                        <a:pt x="1584" y="1280"/>
                      </a:lnTo>
                      <a:lnTo>
                        <a:pt x="1642" y="1254"/>
                      </a:lnTo>
                      <a:lnTo>
                        <a:pt x="1700" y="1227"/>
                      </a:lnTo>
                      <a:lnTo>
                        <a:pt x="1758" y="1200"/>
                      </a:lnTo>
                      <a:lnTo>
                        <a:pt x="1819" y="1173"/>
                      </a:lnTo>
                      <a:lnTo>
                        <a:pt x="1880" y="1147"/>
                      </a:lnTo>
                      <a:lnTo>
                        <a:pt x="1941" y="1121"/>
                      </a:lnTo>
                      <a:lnTo>
                        <a:pt x="2004" y="1095"/>
                      </a:lnTo>
                      <a:lnTo>
                        <a:pt x="2068" y="1069"/>
                      </a:lnTo>
                      <a:lnTo>
                        <a:pt x="2132" y="1044"/>
                      </a:lnTo>
                      <a:lnTo>
                        <a:pt x="2197" y="1020"/>
                      </a:lnTo>
                      <a:lnTo>
                        <a:pt x="2263" y="995"/>
                      </a:lnTo>
                      <a:lnTo>
                        <a:pt x="2330" y="970"/>
                      </a:lnTo>
                      <a:lnTo>
                        <a:pt x="2398" y="946"/>
                      </a:lnTo>
                      <a:lnTo>
                        <a:pt x="2467" y="922"/>
                      </a:lnTo>
                      <a:lnTo>
                        <a:pt x="2538" y="899"/>
                      </a:lnTo>
                      <a:lnTo>
                        <a:pt x="2608" y="875"/>
                      </a:lnTo>
                      <a:lnTo>
                        <a:pt x="2679" y="852"/>
                      </a:lnTo>
                      <a:lnTo>
                        <a:pt x="2751" y="829"/>
                      </a:lnTo>
                      <a:lnTo>
                        <a:pt x="2897" y="785"/>
                      </a:lnTo>
                      <a:lnTo>
                        <a:pt x="3047" y="741"/>
                      </a:lnTo>
                      <a:lnTo>
                        <a:pt x="3199" y="699"/>
                      </a:lnTo>
                      <a:lnTo>
                        <a:pt x="3355" y="658"/>
                      </a:lnTo>
                      <a:lnTo>
                        <a:pt x="3514" y="618"/>
                      </a:lnTo>
                      <a:lnTo>
                        <a:pt x="3675" y="580"/>
                      </a:lnTo>
                      <a:lnTo>
                        <a:pt x="3839" y="542"/>
                      </a:lnTo>
                      <a:lnTo>
                        <a:pt x="4007" y="506"/>
                      </a:lnTo>
                      <a:lnTo>
                        <a:pt x="4176" y="472"/>
                      </a:lnTo>
                      <a:lnTo>
                        <a:pt x="4350" y="439"/>
                      </a:lnTo>
                      <a:lnTo>
                        <a:pt x="4524" y="408"/>
                      </a:lnTo>
                      <a:lnTo>
                        <a:pt x="4702" y="377"/>
                      </a:lnTo>
                      <a:lnTo>
                        <a:pt x="4881" y="348"/>
                      </a:lnTo>
                      <a:lnTo>
                        <a:pt x="5064" y="321"/>
                      </a:lnTo>
                      <a:lnTo>
                        <a:pt x="5248" y="295"/>
                      </a:lnTo>
                      <a:lnTo>
                        <a:pt x="5435" y="270"/>
                      </a:lnTo>
                      <a:lnTo>
                        <a:pt x="5623" y="247"/>
                      </a:lnTo>
                      <a:lnTo>
                        <a:pt x="5814" y="227"/>
                      </a:lnTo>
                      <a:lnTo>
                        <a:pt x="6008" y="207"/>
                      </a:lnTo>
                      <a:lnTo>
                        <a:pt x="6203" y="188"/>
                      </a:lnTo>
                      <a:lnTo>
                        <a:pt x="6400" y="172"/>
                      </a:lnTo>
                      <a:lnTo>
                        <a:pt x="6597" y="157"/>
                      </a:lnTo>
                      <a:lnTo>
                        <a:pt x="6798" y="144"/>
                      </a:lnTo>
                      <a:lnTo>
                        <a:pt x="7000" y="133"/>
                      </a:lnTo>
                      <a:lnTo>
                        <a:pt x="7205" y="122"/>
                      </a:lnTo>
                      <a:lnTo>
                        <a:pt x="7410" y="115"/>
                      </a:lnTo>
                      <a:lnTo>
                        <a:pt x="7617" y="108"/>
                      </a:lnTo>
                      <a:lnTo>
                        <a:pt x="7825" y="104"/>
                      </a:lnTo>
                      <a:lnTo>
                        <a:pt x="8034" y="102"/>
                      </a:lnTo>
                      <a:lnTo>
                        <a:pt x="8246" y="100"/>
                      </a:lnTo>
                      <a:lnTo>
                        <a:pt x="8246" y="100"/>
                      </a:lnTo>
                      <a:lnTo>
                        <a:pt x="8246" y="100"/>
                      </a:lnTo>
                      <a:lnTo>
                        <a:pt x="8252" y="99"/>
                      </a:lnTo>
                      <a:lnTo>
                        <a:pt x="8257" y="99"/>
                      </a:lnTo>
                      <a:lnTo>
                        <a:pt x="8263" y="97"/>
                      </a:lnTo>
                      <a:lnTo>
                        <a:pt x="8267" y="96"/>
                      </a:lnTo>
                      <a:lnTo>
                        <a:pt x="8272" y="93"/>
                      </a:lnTo>
                      <a:lnTo>
                        <a:pt x="8276" y="91"/>
                      </a:lnTo>
                      <a:lnTo>
                        <a:pt x="8280" y="88"/>
                      </a:lnTo>
                      <a:lnTo>
                        <a:pt x="8284" y="84"/>
                      </a:lnTo>
                      <a:lnTo>
                        <a:pt x="8289" y="77"/>
                      </a:lnTo>
                      <a:lnTo>
                        <a:pt x="8293" y="68"/>
                      </a:lnTo>
                      <a:lnTo>
                        <a:pt x="8295" y="59"/>
                      </a:lnTo>
                      <a:lnTo>
                        <a:pt x="8296" y="50"/>
                      </a:lnTo>
                      <a:lnTo>
                        <a:pt x="8295" y="40"/>
                      </a:lnTo>
                      <a:lnTo>
                        <a:pt x="8293" y="31"/>
                      </a:lnTo>
                      <a:lnTo>
                        <a:pt x="8289" y="23"/>
                      </a:lnTo>
                      <a:lnTo>
                        <a:pt x="8284" y="16"/>
                      </a:lnTo>
                      <a:lnTo>
                        <a:pt x="8280" y="13"/>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55" name="Freeform 197"/>
                <p:cNvSpPr>
                  <a:spLocks/>
                </p:cNvSpPr>
                <p:nvPr>
                  <p:custDataLst>
                    <p:tags r:id="rId104"/>
                  </p:custDataLst>
                </p:nvPr>
              </p:nvSpPr>
              <p:spPr bwMode="auto">
                <a:xfrm>
                  <a:off x="728" y="3515"/>
                  <a:ext cx="358" cy="114"/>
                </a:xfrm>
                <a:custGeom>
                  <a:avLst/>
                  <a:gdLst>
                    <a:gd name="T0" fmla="*/ 8239 w 8245"/>
                    <a:gd name="T1" fmla="*/ 2750 h 2864"/>
                    <a:gd name="T2" fmla="*/ 8211 w 8245"/>
                    <a:gd name="T3" fmla="*/ 2600 h 2864"/>
                    <a:gd name="T4" fmla="*/ 8162 w 8245"/>
                    <a:gd name="T5" fmla="*/ 2452 h 2864"/>
                    <a:gd name="T6" fmla="*/ 8091 w 8245"/>
                    <a:gd name="T7" fmla="*/ 2307 h 2864"/>
                    <a:gd name="T8" fmla="*/ 8002 w 8245"/>
                    <a:gd name="T9" fmla="*/ 2166 h 2864"/>
                    <a:gd name="T10" fmla="*/ 7894 w 8245"/>
                    <a:gd name="T11" fmla="*/ 2028 h 2864"/>
                    <a:gd name="T12" fmla="*/ 7766 w 8245"/>
                    <a:gd name="T13" fmla="*/ 1893 h 2864"/>
                    <a:gd name="T14" fmla="*/ 7620 w 8245"/>
                    <a:gd name="T15" fmla="*/ 1763 h 2864"/>
                    <a:gd name="T16" fmla="*/ 7459 w 8245"/>
                    <a:gd name="T17" fmla="*/ 1635 h 2864"/>
                    <a:gd name="T18" fmla="*/ 7279 w 8245"/>
                    <a:gd name="T19" fmla="*/ 1511 h 2864"/>
                    <a:gd name="T20" fmla="*/ 7083 w 8245"/>
                    <a:gd name="T21" fmla="*/ 1391 h 2864"/>
                    <a:gd name="T22" fmla="*/ 6872 w 8245"/>
                    <a:gd name="T23" fmla="*/ 1275 h 2864"/>
                    <a:gd name="T24" fmla="*/ 6645 w 8245"/>
                    <a:gd name="T25" fmla="*/ 1162 h 2864"/>
                    <a:gd name="T26" fmla="*/ 6404 w 8245"/>
                    <a:gd name="T27" fmla="*/ 1055 h 2864"/>
                    <a:gd name="T28" fmla="*/ 6149 w 8245"/>
                    <a:gd name="T29" fmla="*/ 950 h 2864"/>
                    <a:gd name="T30" fmla="*/ 5880 w 8245"/>
                    <a:gd name="T31" fmla="*/ 851 h 2864"/>
                    <a:gd name="T32" fmla="*/ 5596 w 8245"/>
                    <a:gd name="T33" fmla="*/ 757 h 2864"/>
                    <a:gd name="T34" fmla="*/ 5072 w 8245"/>
                    <a:gd name="T35" fmla="*/ 602 h 2864"/>
                    <a:gd name="T36" fmla="*/ 4426 w 8245"/>
                    <a:gd name="T37" fmla="*/ 444 h 2864"/>
                    <a:gd name="T38" fmla="*/ 3738 w 8245"/>
                    <a:gd name="T39" fmla="*/ 309 h 2864"/>
                    <a:gd name="T40" fmla="*/ 3010 w 8245"/>
                    <a:gd name="T41" fmla="*/ 196 h 2864"/>
                    <a:gd name="T42" fmla="*/ 2246 w 8245"/>
                    <a:gd name="T43" fmla="*/ 107 h 2864"/>
                    <a:gd name="T44" fmla="*/ 1453 w 8245"/>
                    <a:gd name="T45" fmla="*/ 44 h 2864"/>
                    <a:gd name="T46" fmla="*/ 631 w 8245"/>
                    <a:gd name="T47" fmla="*/ 8 h 2864"/>
                    <a:gd name="T48" fmla="*/ 0 w 8245"/>
                    <a:gd name="T49" fmla="*/ 100 h 2864"/>
                    <a:gd name="T50" fmla="*/ 835 w 8245"/>
                    <a:gd name="T51" fmla="*/ 115 h 2864"/>
                    <a:gd name="T52" fmla="*/ 1648 w 8245"/>
                    <a:gd name="T53" fmla="*/ 157 h 2864"/>
                    <a:gd name="T54" fmla="*/ 2431 w 8245"/>
                    <a:gd name="T55" fmla="*/ 227 h 2864"/>
                    <a:gd name="T56" fmla="*/ 3181 w 8245"/>
                    <a:gd name="T57" fmla="*/ 321 h 2864"/>
                    <a:gd name="T58" fmla="*/ 3895 w 8245"/>
                    <a:gd name="T59" fmla="*/ 439 h 2864"/>
                    <a:gd name="T60" fmla="*/ 4570 w 8245"/>
                    <a:gd name="T61" fmla="*/ 580 h 2864"/>
                    <a:gd name="T62" fmla="*/ 5198 w 8245"/>
                    <a:gd name="T63" fmla="*/ 741 h 2864"/>
                    <a:gd name="T64" fmla="*/ 5637 w 8245"/>
                    <a:gd name="T65" fmla="*/ 875 h 2864"/>
                    <a:gd name="T66" fmla="*/ 5915 w 8245"/>
                    <a:gd name="T67" fmla="*/ 970 h 2864"/>
                    <a:gd name="T68" fmla="*/ 6177 w 8245"/>
                    <a:gd name="T69" fmla="*/ 1069 h 2864"/>
                    <a:gd name="T70" fmla="*/ 6426 w 8245"/>
                    <a:gd name="T71" fmla="*/ 1173 h 2864"/>
                    <a:gd name="T72" fmla="*/ 6661 w 8245"/>
                    <a:gd name="T73" fmla="*/ 1280 h 2864"/>
                    <a:gd name="T74" fmla="*/ 6879 w 8245"/>
                    <a:gd name="T75" fmla="*/ 1392 h 2864"/>
                    <a:gd name="T76" fmla="*/ 7083 w 8245"/>
                    <a:gd name="T77" fmla="*/ 1507 h 2864"/>
                    <a:gd name="T78" fmla="*/ 7270 w 8245"/>
                    <a:gd name="T79" fmla="*/ 1625 h 2864"/>
                    <a:gd name="T80" fmla="*/ 7440 w 8245"/>
                    <a:gd name="T81" fmla="*/ 1746 h 2864"/>
                    <a:gd name="T82" fmla="*/ 7594 w 8245"/>
                    <a:gd name="T83" fmla="*/ 1870 h 2864"/>
                    <a:gd name="T84" fmla="*/ 7729 w 8245"/>
                    <a:gd name="T85" fmla="*/ 1998 h 2864"/>
                    <a:gd name="T86" fmla="*/ 7845 w 8245"/>
                    <a:gd name="T87" fmla="*/ 2126 h 2864"/>
                    <a:gd name="T88" fmla="*/ 7943 w 8245"/>
                    <a:gd name="T89" fmla="*/ 2258 h 2864"/>
                    <a:gd name="T90" fmla="*/ 8022 w 8245"/>
                    <a:gd name="T91" fmla="*/ 2390 h 2864"/>
                    <a:gd name="T92" fmla="*/ 8082 w 8245"/>
                    <a:gd name="T93" fmla="*/ 2524 h 2864"/>
                    <a:gd name="T94" fmla="*/ 8122 w 8245"/>
                    <a:gd name="T95" fmla="*/ 2659 h 2864"/>
                    <a:gd name="T96" fmla="*/ 8142 w 8245"/>
                    <a:gd name="T97" fmla="*/ 2796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4">
                      <a:moveTo>
                        <a:pt x="8245" y="2864"/>
                      </a:moveTo>
                      <a:lnTo>
                        <a:pt x="8244" y="2826"/>
                      </a:lnTo>
                      <a:lnTo>
                        <a:pt x="8242" y="2788"/>
                      </a:lnTo>
                      <a:lnTo>
                        <a:pt x="8239" y="2750"/>
                      </a:lnTo>
                      <a:lnTo>
                        <a:pt x="8234" y="2712"/>
                      </a:lnTo>
                      <a:lnTo>
                        <a:pt x="8227" y="2675"/>
                      </a:lnTo>
                      <a:lnTo>
                        <a:pt x="8219" y="2637"/>
                      </a:lnTo>
                      <a:lnTo>
                        <a:pt x="8211" y="2600"/>
                      </a:lnTo>
                      <a:lnTo>
                        <a:pt x="8201" y="2563"/>
                      </a:lnTo>
                      <a:lnTo>
                        <a:pt x="8188" y="2526"/>
                      </a:lnTo>
                      <a:lnTo>
                        <a:pt x="8176" y="2488"/>
                      </a:lnTo>
                      <a:lnTo>
                        <a:pt x="8162" y="2452"/>
                      </a:lnTo>
                      <a:lnTo>
                        <a:pt x="8146" y="2416"/>
                      </a:lnTo>
                      <a:lnTo>
                        <a:pt x="8130" y="2380"/>
                      </a:lnTo>
                      <a:lnTo>
                        <a:pt x="8111" y="2343"/>
                      </a:lnTo>
                      <a:lnTo>
                        <a:pt x="8091" y="2307"/>
                      </a:lnTo>
                      <a:lnTo>
                        <a:pt x="8071" y="2272"/>
                      </a:lnTo>
                      <a:lnTo>
                        <a:pt x="8049" y="2236"/>
                      </a:lnTo>
                      <a:lnTo>
                        <a:pt x="8026" y="2201"/>
                      </a:lnTo>
                      <a:lnTo>
                        <a:pt x="8002" y="2166"/>
                      </a:lnTo>
                      <a:lnTo>
                        <a:pt x="7977" y="2131"/>
                      </a:lnTo>
                      <a:lnTo>
                        <a:pt x="7950" y="2096"/>
                      </a:lnTo>
                      <a:lnTo>
                        <a:pt x="7922" y="2062"/>
                      </a:lnTo>
                      <a:lnTo>
                        <a:pt x="7894" y="2028"/>
                      </a:lnTo>
                      <a:lnTo>
                        <a:pt x="7864" y="1994"/>
                      </a:lnTo>
                      <a:lnTo>
                        <a:pt x="7832" y="1960"/>
                      </a:lnTo>
                      <a:lnTo>
                        <a:pt x="7800" y="1926"/>
                      </a:lnTo>
                      <a:lnTo>
                        <a:pt x="7766" y="1893"/>
                      </a:lnTo>
                      <a:lnTo>
                        <a:pt x="7732" y="1860"/>
                      </a:lnTo>
                      <a:lnTo>
                        <a:pt x="7696" y="1828"/>
                      </a:lnTo>
                      <a:lnTo>
                        <a:pt x="7659" y="1795"/>
                      </a:lnTo>
                      <a:lnTo>
                        <a:pt x="7620" y="1763"/>
                      </a:lnTo>
                      <a:lnTo>
                        <a:pt x="7582" y="1730"/>
                      </a:lnTo>
                      <a:lnTo>
                        <a:pt x="7542" y="1699"/>
                      </a:lnTo>
                      <a:lnTo>
                        <a:pt x="7501" y="1667"/>
                      </a:lnTo>
                      <a:lnTo>
                        <a:pt x="7459" y="1635"/>
                      </a:lnTo>
                      <a:lnTo>
                        <a:pt x="7415" y="1603"/>
                      </a:lnTo>
                      <a:lnTo>
                        <a:pt x="7371" y="1572"/>
                      </a:lnTo>
                      <a:lnTo>
                        <a:pt x="7326" y="1542"/>
                      </a:lnTo>
                      <a:lnTo>
                        <a:pt x="7279" y="1511"/>
                      </a:lnTo>
                      <a:lnTo>
                        <a:pt x="7232" y="1481"/>
                      </a:lnTo>
                      <a:lnTo>
                        <a:pt x="7183" y="1450"/>
                      </a:lnTo>
                      <a:lnTo>
                        <a:pt x="7134" y="1420"/>
                      </a:lnTo>
                      <a:lnTo>
                        <a:pt x="7083" y="1391"/>
                      </a:lnTo>
                      <a:lnTo>
                        <a:pt x="7032" y="1361"/>
                      </a:lnTo>
                      <a:lnTo>
                        <a:pt x="6980" y="1332"/>
                      </a:lnTo>
                      <a:lnTo>
                        <a:pt x="6927" y="1303"/>
                      </a:lnTo>
                      <a:lnTo>
                        <a:pt x="6872" y="1275"/>
                      </a:lnTo>
                      <a:lnTo>
                        <a:pt x="6817" y="1246"/>
                      </a:lnTo>
                      <a:lnTo>
                        <a:pt x="6761" y="1218"/>
                      </a:lnTo>
                      <a:lnTo>
                        <a:pt x="6704" y="1190"/>
                      </a:lnTo>
                      <a:lnTo>
                        <a:pt x="6645" y="1162"/>
                      </a:lnTo>
                      <a:lnTo>
                        <a:pt x="6587" y="1136"/>
                      </a:lnTo>
                      <a:lnTo>
                        <a:pt x="6527" y="1108"/>
                      </a:lnTo>
                      <a:lnTo>
                        <a:pt x="6466" y="1081"/>
                      </a:lnTo>
                      <a:lnTo>
                        <a:pt x="6404" y="1055"/>
                      </a:lnTo>
                      <a:lnTo>
                        <a:pt x="6341" y="1028"/>
                      </a:lnTo>
                      <a:lnTo>
                        <a:pt x="6278" y="1002"/>
                      </a:lnTo>
                      <a:lnTo>
                        <a:pt x="6214" y="976"/>
                      </a:lnTo>
                      <a:lnTo>
                        <a:pt x="6149" y="950"/>
                      </a:lnTo>
                      <a:lnTo>
                        <a:pt x="6083" y="925"/>
                      </a:lnTo>
                      <a:lnTo>
                        <a:pt x="6016" y="901"/>
                      </a:lnTo>
                      <a:lnTo>
                        <a:pt x="5948" y="876"/>
                      </a:lnTo>
                      <a:lnTo>
                        <a:pt x="5880" y="851"/>
                      </a:lnTo>
                      <a:lnTo>
                        <a:pt x="5809" y="827"/>
                      </a:lnTo>
                      <a:lnTo>
                        <a:pt x="5739" y="803"/>
                      </a:lnTo>
                      <a:lnTo>
                        <a:pt x="5668" y="779"/>
                      </a:lnTo>
                      <a:lnTo>
                        <a:pt x="5596" y="757"/>
                      </a:lnTo>
                      <a:lnTo>
                        <a:pt x="5524" y="734"/>
                      </a:lnTo>
                      <a:lnTo>
                        <a:pt x="5376" y="688"/>
                      </a:lnTo>
                      <a:lnTo>
                        <a:pt x="5225" y="645"/>
                      </a:lnTo>
                      <a:lnTo>
                        <a:pt x="5072" y="602"/>
                      </a:lnTo>
                      <a:lnTo>
                        <a:pt x="4914" y="561"/>
                      </a:lnTo>
                      <a:lnTo>
                        <a:pt x="4754" y="521"/>
                      </a:lnTo>
                      <a:lnTo>
                        <a:pt x="4592" y="482"/>
                      </a:lnTo>
                      <a:lnTo>
                        <a:pt x="4426" y="444"/>
                      </a:lnTo>
                      <a:lnTo>
                        <a:pt x="4258" y="409"/>
                      </a:lnTo>
                      <a:lnTo>
                        <a:pt x="4087" y="374"/>
                      </a:lnTo>
                      <a:lnTo>
                        <a:pt x="3914" y="341"/>
                      </a:lnTo>
                      <a:lnTo>
                        <a:pt x="3738" y="309"/>
                      </a:lnTo>
                      <a:lnTo>
                        <a:pt x="3559" y="279"/>
                      </a:lnTo>
                      <a:lnTo>
                        <a:pt x="3379" y="250"/>
                      </a:lnTo>
                      <a:lnTo>
                        <a:pt x="3196" y="222"/>
                      </a:lnTo>
                      <a:lnTo>
                        <a:pt x="3010" y="196"/>
                      </a:lnTo>
                      <a:lnTo>
                        <a:pt x="2823" y="171"/>
                      </a:lnTo>
                      <a:lnTo>
                        <a:pt x="2633" y="148"/>
                      </a:lnTo>
                      <a:lnTo>
                        <a:pt x="2441" y="126"/>
                      </a:lnTo>
                      <a:lnTo>
                        <a:pt x="2246" y="107"/>
                      </a:lnTo>
                      <a:lnTo>
                        <a:pt x="2052" y="88"/>
                      </a:lnTo>
                      <a:lnTo>
                        <a:pt x="1854" y="72"/>
                      </a:lnTo>
                      <a:lnTo>
                        <a:pt x="1654" y="57"/>
                      </a:lnTo>
                      <a:lnTo>
                        <a:pt x="1453" y="44"/>
                      </a:lnTo>
                      <a:lnTo>
                        <a:pt x="1250" y="32"/>
                      </a:lnTo>
                      <a:lnTo>
                        <a:pt x="1045" y="23"/>
                      </a:lnTo>
                      <a:lnTo>
                        <a:pt x="838" y="15"/>
                      </a:lnTo>
                      <a:lnTo>
                        <a:pt x="631" y="8"/>
                      </a:lnTo>
                      <a:lnTo>
                        <a:pt x="422" y="3"/>
                      </a:lnTo>
                      <a:lnTo>
                        <a:pt x="212" y="0"/>
                      </a:lnTo>
                      <a:lnTo>
                        <a:pt x="0" y="0"/>
                      </a:lnTo>
                      <a:lnTo>
                        <a:pt x="0" y="100"/>
                      </a:lnTo>
                      <a:lnTo>
                        <a:pt x="211" y="102"/>
                      </a:lnTo>
                      <a:lnTo>
                        <a:pt x="420" y="104"/>
                      </a:lnTo>
                      <a:lnTo>
                        <a:pt x="628" y="108"/>
                      </a:lnTo>
                      <a:lnTo>
                        <a:pt x="835" y="115"/>
                      </a:lnTo>
                      <a:lnTo>
                        <a:pt x="1040" y="122"/>
                      </a:lnTo>
                      <a:lnTo>
                        <a:pt x="1245" y="133"/>
                      </a:lnTo>
                      <a:lnTo>
                        <a:pt x="1447" y="144"/>
                      </a:lnTo>
                      <a:lnTo>
                        <a:pt x="1648" y="157"/>
                      </a:lnTo>
                      <a:lnTo>
                        <a:pt x="1845" y="172"/>
                      </a:lnTo>
                      <a:lnTo>
                        <a:pt x="2042" y="188"/>
                      </a:lnTo>
                      <a:lnTo>
                        <a:pt x="2237" y="207"/>
                      </a:lnTo>
                      <a:lnTo>
                        <a:pt x="2431" y="227"/>
                      </a:lnTo>
                      <a:lnTo>
                        <a:pt x="2622" y="247"/>
                      </a:lnTo>
                      <a:lnTo>
                        <a:pt x="2810" y="270"/>
                      </a:lnTo>
                      <a:lnTo>
                        <a:pt x="2997" y="295"/>
                      </a:lnTo>
                      <a:lnTo>
                        <a:pt x="3181" y="321"/>
                      </a:lnTo>
                      <a:lnTo>
                        <a:pt x="3364" y="348"/>
                      </a:lnTo>
                      <a:lnTo>
                        <a:pt x="3543" y="377"/>
                      </a:lnTo>
                      <a:lnTo>
                        <a:pt x="3721" y="408"/>
                      </a:lnTo>
                      <a:lnTo>
                        <a:pt x="3895" y="439"/>
                      </a:lnTo>
                      <a:lnTo>
                        <a:pt x="4069" y="472"/>
                      </a:lnTo>
                      <a:lnTo>
                        <a:pt x="4238" y="506"/>
                      </a:lnTo>
                      <a:lnTo>
                        <a:pt x="4405" y="542"/>
                      </a:lnTo>
                      <a:lnTo>
                        <a:pt x="4570" y="580"/>
                      </a:lnTo>
                      <a:lnTo>
                        <a:pt x="4731" y="618"/>
                      </a:lnTo>
                      <a:lnTo>
                        <a:pt x="4890" y="658"/>
                      </a:lnTo>
                      <a:lnTo>
                        <a:pt x="5046" y="699"/>
                      </a:lnTo>
                      <a:lnTo>
                        <a:pt x="5198" y="741"/>
                      </a:lnTo>
                      <a:lnTo>
                        <a:pt x="5348" y="785"/>
                      </a:lnTo>
                      <a:lnTo>
                        <a:pt x="5494" y="829"/>
                      </a:lnTo>
                      <a:lnTo>
                        <a:pt x="5566" y="852"/>
                      </a:lnTo>
                      <a:lnTo>
                        <a:pt x="5637" y="875"/>
                      </a:lnTo>
                      <a:lnTo>
                        <a:pt x="5707" y="899"/>
                      </a:lnTo>
                      <a:lnTo>
                        <a:pt x="5778" y="922"/>
                      </a:lnTo>
                      <a:lnTo>
                        <a:pt x="5847" y="946"/>
                      </a:lnTo>
                      <a:lnTo>
                        <a:pt x="5915" y="970"/>
                      </a:lnTo>
                      <a:lnTo>
                        <a:pt x="5982" y="995"/>
                      </a:lnTo>
                      <a:lnTo>
                        <a:pt x="6048" y="1020"/>
                      </a:lnTo>
                      <a:lnTo>
                        <a:pt x="6113" y="1044"/>
                      </a:lnTo>
                      <a:lnTo>
                        <a:pt x="6177" y="1069"/>
                      </a:lnTo>
                      <a:lnTo>
                        <a:pt x="6241" y="1095"/>
                      </a:lnTo>
                      <a:lnTo>
                        <a:pt x="6304" y="1121"/>
                      </a:lnTo>
                      <a:lnTo>
                        <a:pt x="6365" y="1147"/>
                      </a:lnTo>
                      <a:lnTo>
                        <a:pt x="6426" y="1173"/>
                      </a:lnTo>
                      <a:lnTo>
                        <a:pt x="6487" y="1200"/>
                      </a:lnTo>
                      <a:lnTo>
                        <a:pt x="6545" y="1227"/>
                      </a:lnTo>
                      <a:lnTo>
                        <a:pt x="6603" y="1254"/>
                      </a:lnTo>
                      <a:lnTo>
                        <a:pt x="6661" y="1280"/>
                      </a:lnTo>
                      <a:lnTo>
                        <a:pt x="6716" y="1308"/>
                      </a:lnTo>
                      <a:lnTo>
                        <a:pt x="6772" y="1336"/>
                      </a:lnTo>
                      <a:lnTo>
                        <a:pt x="6827" y="1364"/>
                      </a:lnTo>
                      <a:lnTo>
                        <a:pt x="6879" y="1392"/>
                      </a:lnTo>
                      <a:lnTo>
                        <a:pt x="6932" y="1420"/>
                      </a:lnTo>
                      <a:lnTo>
                        <a:pt x="6983" y="1449"/>
                      </a:lnTo>
                      <a:lnTo>
                        <a:pt x="7034" y="1478"/>
                      </a:lnTo>
                      <a:lnTo>
                        <a:pt x="7083" y="1507"/>
                      </a:lnTo>
                      <a:lnTo>
                        <a:pt x="7132" y="1536"/>
                      </a:lnTo>
                      <a:lnTo>
                        <a:pt x="7178" y="1565"/>
                      </a:lnTo>
                      <a:lnTo>
                        <a:pt x="7225" y="1595"/>
                      </a:lnTo>
                      <a:lnTo>
                        <a:pt x="7270" y="1625"/>
                      </a:lnTo>
                      <a:lnTo>
                        <a:pt x="7314" y="1655"/>
                      </a:lnTo>
                      <a:lnTo>
                        <a:pt x="7358" y="1685"/>
                      </a:lnTo>
                      <a:lnTo>
                        <a:pt x="7400" y="1716"/>
                      </a:lnTo>
                      <a:lnTo>
                        <a:pt x="7440" y="1746"/>
                      </a:lnTo>
                      <a:lnTo>
                        <a:pt x="7480" y="1777"/>
                      </a:lnTo>
                      <a:lnTo>
                        <a:pt x="7519" y="1808"/>
                      </a:lnTo>
                      <a:lnTo>
                        <a:pt x="7557" y="1839"/>
                      </a:lnTo>
                      <a:lnTo>
                        <a:pt x="7594" y="1870"/>
                      </a:lnTo>
                      <a:lnTo>
                        <a:pt x="7629" y="1902"/>
                      </a:lnTo>
                      <a:lnTo>
                        <a:pt x="7664" y="1934"/>
                      </a:lnTo>
                      <a:lnTo>
                        <a:pt x="7697" y="1966"/>
                      </a:lnTo>
                      <a:lnTo>
                        <a:pt x="7729" y="1998"/>
                      </a:lnTo>
                      <a:lnTo>
                        <a:pt x="7760" y="2030"/>
                      </a:lnTo>
                      <a:lnTo>
                        <a:pt x="7789" y="2062"/>
                      </a:lnTo>
                      <a:lnTo>
                        <a:pt x="7818" y="2094"/>
                      </a:lnTo>
                      <a:lnTo>
                        <a:pt x="7845" y="2126"/>
                      </a:lnTo>
                      <a:lnTo>
                        <a:pt x="7872" y="2159"/>
                      </a:lnTo>
                      <a:lnTo>
                        <a:pt x="7897" y="2191"/>
                      </a:lnTo>
                      <a:lnTo>
                        <a:pt x="7920" y="2224"/>
                      </a:lnTo>
                      <a:lnTo>
                        <a:pt x="7943" y="2258"/>
                      </a:lnTo>
                      <a:lnTo>
                        <a:pt x="7966" y="2290"/>
                      </a:lnTo>
                      <a:lnTo>
                        <a:pt x="7985" y="2323"/>
                      </a:lnTo>
                      <a:lnTo>
                        <a:pt x="8005" y="2356"/>
                      </a:lnTo>
                      <a:lnTo>
                        <a:pt x="8022" y="2390"/>
                      </a:lnTo>
                      <a:lnTo>
                        <a:pt x="8039" y="2423"/>
                      </a:lnTo>
                      <a:lnTo>
                        <a:pt x="8055" y="2456"/>
                      </a:lnTo>
                      <a:lnTo>
                        <a:pt x="8069" y="2489"/>
                      </a:lnTo>
                      <a:lnTo>
                        <a:pt x="8082" y="2524"/>
                      </a:lnTo>
                      <a:lnTo>
                        <a:pt x="8095" y="2558"/>
                      </a:lnTo>
                      <a:lnTo>
                        <a:pt x="8105" y="2591"/>
                      </a:lnTo>
                      <a:lnTo>
                        <a:pt x="8114" y="2625"/>
                      </a:lnTo>
                      <a:lnTo>
                        <a:pt x="8122" y="2659"/>
                      </a:lnTo>
                      <a:lnTo>
                        <a:pt x="8130" y="2693"/>
                      </a:lnTo>
                      <a:lnTo>
                        <a:pt x="8135" y="2726"/>
                      </a:lnTo>
                      <a:lnTo>
                        <a:pt x="8139" y="2762"/>
                      </a:lnTo>
                      <a:lnTo>
                        <a:pt x="8142" y="2796"/>
                      </a:lnTo>
                      <a:lnTo>
                        <a:pt x="8144" y="2830"/>
                      </a:lnTo>
                      <a:lnTo>
                        <a:pt x="8145" y="2864"/>
                      </a:lnTo>
                      <a:lnTo>
                        <a:pt x="8245"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56" name="Freeform 198"/>
                <p:cNvSpPr>
                  <a:spLocks/>
                </p:cNvSpPr>
                <p:nvPr>
                  <p:custDataLst>
                    <p:tags r:id="rId105"/>
                  </p:custDataLst>
                </p:nvPr>
              </p:nvSpPr>
              <p:spPr bwMode="auto">
                <a:xfrm>
                  <a:off x="370" y="3472"/>
                  <a:ext cx="714" cy="160"/>
                </a:xfrm>
                <a:custGeom>
                  <a:avLst/>
                  <a:gdLst>
                    <a:gd name="T0" fmla="*/ 0 w 16419"/>
                    <a:gd name="T1" fmla="*/ 0 h 4020"/>
                    <a:gd name="T2" fmla="*/ 0 w 16419"/>
                    <a:gd name="T3" fmla="*/ 4020 h 4020"/>
                    <a:gd name="T4" fmla="*/ 16415 w 16419"/>
                    <a:gd name="T5" fmla="*/ 4020 h 4020"/>
                    <a:gd name="T6" fmla="*/ 16419 w 16419"/>
                    <a:gd name="T7" fmla="*/ 2 h 4020"/>
                    <a:gd name="T8" fmla="*/ 0 w 16419"/>
                    <a:gd name="T9" fmla="*/ 0 h 4020"/>
                  </a:gdLst>
                  <a:ahLst/>
                  <a:cxnLst>
                    <a:cxn ang="0">
                      <a:pos x="T0" y="T1"/>
                    </a:cxn>
                    <a:cxn ang="0">
                      <a:pos x="T2" y="T3"/>
                    </a:cxn>
                    <a:cxn ang="0">
                      <a:pos x="T4" y="T5"/>
                    </a:cxn>
                    <a:cxn ang="0">
                      <a:pos x="T6" y="T7"/>
                    </a:cxn>
                    <a:cxn ang="0">
                      <a:pos x="T8" y="T9"/>
                    </a:cxn>
                  </a:cxnLst>
                  <a:rect l="0" t="0" r="r" b="b"/>
                  <a:pathLst>
                    <a:path w="16419" h="4020">
                      <a:moveTo>
                        <a:pt x="0" y="0"/>
                      </a:moveTo>
                      <a:lnTo>
                        <a:pt x="0" y="4020"/>
                      </a:lnTo>
                      <a:lnTo>
                        <a:pt x="16415" y="4020"/>
                      </a:lnTo>
                      <a:lnTo>
                        <a:pt x="16419" y="2"/>
                      </a:lnTo>
                      <a:lnTo>
                        <a:pt x="0" y="0"/>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57" name="Freeform 199"/>
                <p:cNvSpPr>
                  <a:spLocks/>
                </p:cNvSpPr>
                <p:nvPr>
                  <p:custDataLst>
                    <p:tags r:id="rId106"/>
                  </p:custDataLst>
                </p:nvPr>
              </p:nvSpPr>
              <p:spPr bwMode="auto">
                <a:xfrm>
                  <a:off x="371" y="3356"/>
                  <a:ext cx="713" cy="225"/>
                </a:xfrm>
                <a:custGeom>
                  <a:avLst/>
                  <a:gdLst>
                    <a:gd name="T0" fmla="*/ 16347 w 16389"/>
                    <a:gd name="T1" fmla="*/ 3102 h 5628"/>
                    <a:gd name="T2" fmla="*/ 16132 w 16389"/>
                    <a:gd name="T3" fmla="*/ 3517 h 5628"/>
                    <a:gd name="T4" fmla="*/ 15745 w 16389"/>
                    <a:gd name="T5" fmla="*/ 3909 h 5628"/>
                    <a:gd name="T6" fmla="*/ 15203 w 16389"/>
                    <a:gd name="T7" fmla="*/ 4272 h 5628"/>
                    <a:gd name="T8" fmla="*/ 14518 w 16389"/>
                    <a:gd name="T9" fmla="*/ 4604 h 5628"/>
                    <a:gd name="T10" fmla="*/ 13704 w 16389"/>
                    <a:gd name="T11" fmla="*/ 4896 h 5628"/>
                    <a:gd name="T12" fmla="*/ 12776 w 16389"/>
                    <a:gd name="T13" fmla="*/ 5147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7 h 5628"/>
                    <a:gd name="T30" fmla="*/ 2685 w 16389"/>
                    <a:gd name="T31" fmla="*/ 4896 h 5628"/>
                    <a:gd name="T32" fmla="*/ 1871 w 16389"/>
                    <a:gd name="T33" fmla="*/ 4604 h 5628"/>
                    <a:gd name="T34" fmla="*/ 1186 w 16389"/>
                    <a:gd name="T35" fmla="*/ 4272 h 5628"/>
                    <a:gd name="T36" fmla="*/ 644 w 16389"/>
                    <a:gd name="T37" fmla="*/ 3909 h 5628"/>
                    <a:gd name="T38" fmla="*/ 257 w 16389"/>
                    <a:gd name="T39" fmla="*/ 3517 h 5628"/>
                    <a:gd name="T40" fmla="*/ 42 w 16389"/>
                    <a:gd name="T41" fmla="*/ 3102 h 5628"/>
                    <a:gd name="T42" fmla="*/ 10 w 16389"/>
                    <a:gd name="T43" fmla="*/ 2669 h 5628"/>
                    <a:gd name="T44" fmla="*/ 165 w 16389"/>
                    <a:gd name="T45" fmla="*/ 2247 h 5628"/>
                    <a:gd name="T46" fmla="*/ 496 w 16389"/>
                    <a:gd name="T47" fmla="*/ 1846 h 5628"/>
                    <a:gd name="T48" fmla="*/ 989 w 16389"/>
                    <a:gd name="T49" fmla="*/ 1473 h 5628"/>
                    <a:gd name="T50" fmla="*/ 1628 w 16389"/>
                    <a:gd name="T51" fmla="*/ 1130 h 5628"/>
                    <a:gd name="T52" fmla="*/ 2400 w 16389"/>
                    <a:gd name="T53" fmla="*/ 824 h 5628"/>
                    <a:gd name="T54" fmla="*/ 3292 w 16389"/>
                    <a:gd name="T55" fmla="*/ 559 h 5628"/>
                    <a:gd name="T56" fmla="*/ 4289 w 16389"/>
                    <a:gd name="T57" fmla="*/ 339 h 5628"/>
                    <a:gd name="T58" fmla="*/ 5378 w 16389"/>
                    <a:gd name="T59" fmla="*/ 170 h 5628"/>
                    <a:gd name="T60" fmla="*/ 6543 w 16389"/>
                    <a:gd name="T61" fmla="*/ 57 h 5628"/>
                    <a:gd name="T62" fmla="*/ 7773 w 16389"/>
                    <a:gd name="T63" fmla="*/ 3 h 5628"/>
                    <a:gd name="T64" fmla="*/ 9032 w 16389"/>
                    <a:gd name="T65" fmla="*/ 14 h 5628"/>
                    <a:gd name="T66" fmla="*/ 10241 w 16389"/>
                    <a:gd name="T67" fmla="*/ 88 h 5628"/>
                    <a:gd name="T68" fmla="*/ 11383 w 16389"/>
                    <a:gd name="T69" fmla="*/ 220 h 5628"/>
                    <a:gd name="T70" fmla="*/ 12443 w 16389"/>
                    <a:gd name="T71" fmla="*/ 406 h 5628"/>
                    <a:gd name="T72" fmla="*/ 13407 w 16389"/>
                    <a:gd name="T73" fmla="*/ 642 h 5628"/>
                    <a:gd name="T74" fmla="*/ 14260 w 16389"/>
                    <a:gd name="T75" fmla="*/ 922 h 5628"/>
                    <a:gd name="T76" fmla="*/ 14990 w 16389"/>
                    <a:gd name="T77" fmla="*/ 1241 h 5628"/>
                    <a:gd name="T78" fmla="*/ 15581 w 16389"/>
                    <a:gd name="T79" fmla="*/ 1594 h 5628"/>
                    <a:gd name="T80" fmla="*/ 16022 w 16389"/>
                    <a:gd name="T81" fmla="*/ 1977 h 5628"/>
                    <a:gd name="T82" fmla="*/ 16296 w 16389"/>
                    <a:gd name="T83" fmla="*/ 2385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2"/>
                      </a:lnTo>
                      <a:lnTo>
                        <a:pt x="16224" y="3381"/>
                      </a:lnTo>
                      <a:lnTo>
                        <a:pt x="16132" y="3517"/>
                      </a:lnTo>
                      <a:lnTo>
                        <a:pt x="16022" y="3650"/>
                      </a:lnTo>
                      <a:lnTo>
                        <a:pt x="15893" y="3781"/>
                      </a:lnTo>
                      <a:lnTo>
                        <a:pt x="15745" y="3909"/>
                      </a:lnTo>
                      <a:lnTo>
                        <a:pt x="15581" y="4033"/>
                      </a:lnTo>
                      <a:lnTo>
                        <a:pt x="15400" y="4155"/>
                      </a:lnTo>
                      <a:lnTo>
                        <a:pt x="15203" y="4272"/>
                      </a:lnTo>
                      <a:lnTo>
                        <a:pt x="14990" y="4387"/>
                      </a:lnTo>
                      <a:lnTo>
                        <a:pt x="14761" y="4497"/>
                      </a:lnTo>
                      <a:lnTo>
                        <a:pt x="14518" y="4604"/>
                      </a:lnTo>
                      <a:lnTo>
                        <a:pt x="14260" y="4706"/>
                      </a:lnTo>
                      <a:lnTo>
                        <a:pt x="13989" y="4803"/>
                      </a:lnTo>
                      <a:lnTo>
                        <a:pt x="13704" y="4896"/>
                      </a:lnTo>
                      <a:lnTo>
                        <a:pt x="13407" y="4985"/>
                      </a:lnTo>
                      <a:lnTo>
                        <a:pt x="13096" y="5069"/>
                      </a:lnTo>
                      <a:lnTo>
                        <a:pt x="12776" y="5147"/>
                      </a:lnTo>
                      <a:lnTo>
                        <a:pt x="12443" y="5220"/>
                      </a:lnTo>
                      <a:lnTo>
                        <a:pt x="12100" y="5289"/>
                      </a:lnTo>
                      <a:lnTo>
                        <a:pt x="11746" y="5351"/>
                      </a:lnTo>
                      <a:lnTo>
                        <a:pt x="11383" y="5407"/>
                      </a:lnTo>
                      <a:lnTo>
                        <a:pt x="11011" y="5457"/>
                      </a:lnTo>
                      <a:lnTo>
                        <a:pt x="10631" y="5502"/>
                      </a:lnTo>
                      <a:lnTo>
                        <a:pt x="10241" y="5539"/>
                      </a:lnTo>
                      <a:lnTo>
                        <a:pt x="9846" y="5571"/>
                      </a:lnTo>
                      <a:lnTo>
                        <a:pt x="9442" y="5596"/>
                      </a:lnTo>
                      <a:lnTo>
                        <a:pt x="9032" y="5614"/>
                      </a:lnTo>
                      <a:lnTo>
                        <a:pt x="8616" y="5624"/>
                      </a:lnTo>
                      <a:lnTo>
                        <a:pt x="8195" y="5628"/>
                      </a:lnTo>
                      <a:lnTo>
                        <a:pt x="7773" y="5624"/>
                      </a:lnTo>
                      <a:lnTo>
                        <a:pt x="7357" y="5614"/>
                      </a:lnTo>
                      <a:lnTo>
                        <a:pt x="6947" y="5596"/>
                      </a:lnTo>
                      <a:lnTo>
                        <a:pt x="6543" y="5571"/>
                      </a:lnTo>
                      <a:lnTo>
                        <a:pt x="6148" y="5539"/>
                      </a:lnTo>
                      <a:lnTo>
                        <a:pt x="5758" y="5502"/>
                      </a:lnTo>
                      <a:lnTo>
                        <a:pt x="5378" y="5457"/>
                      </a:lnTo>
                      <a:lnTo>
                        <a:pt x="5006" y="5407"/>
                      </a:lnTo>
                      <a:lnTo>
                        <a:pt x="4643" y="5351"/>
                      </a:lnTo>
                      <a:lnTo>
                        <a:pt x="4289" y="5289"/>
                      </a:lnTo>
                      <a:lnTo>
                        <a:pt x="3946" y="5220"/>
                      </a:lnTo>
                      <a:lnTo>
                        <a:pt x="3613" y="5147"/>
                      </a:lnTo>
                      <a:lnTo>
                        <a:pt x="3292" y="5069"/>
                      </a:lnTo>
                      <a:lnTo>
                        <a:pt x="2982" y="4985"/>
                      </a:lnTo>
                      <a:lnTo>
                        <a:pt x="2685" y="4896"/>
                      </a:lnTo>
                      <a:lnTo>
                        <a:pt x="2400" y="4803"/>
                      </a:lnTo>
                      <a:lnTo>
                        <a:pt x="2129" y="4706"/>
                      </a:lnTo>
                      <a:lnTo>
                        <a:pt x="1871" y="4604"/>
                      </a:lnTo>
                      <a:lnTo>
                        <a:pt x="1628" y="4497"/>
                      </a:lnTo>
                      <a:lnTo>
                        <a:pt x="1399" y="4387"/>
                      </a:lnTo>
                      <a:lnTo>
                        <a:pt x="1186" y="4272"/>
                      </a:lnTo>
                      <a:lnTo>
                        <a:pt x="989" y="4155"/>
                      </a:lnTo>
                      <a:lnTo>
                        <a:pt x="808" y="4033"/>
                      </a:lnTo>
                      <a:lnTo>
                        <a:pt x="644" y="3909"/>
                      </a:lnTo>
                      <a:lnTo>
                        <a:pt x="496" y="3781"/>
                      </a:lnTo>
                      <a:lnTo>
                        <a:pt x="367" y="3650"/>
                      </a:lnTo>
                      <a:lnTo>
                        <a:pt x="257" y="3517"/>
                      </a:lnTo>
                      <a:lnTo>
                        <a:pt x="165" y="3381"/>
                      </a:lnTo>
                      <a:lnTo>
                        <a:pt x="93" y="3242"/>
                      </a:lnTo>
                      <a:lnTo>
                        <a:pt x="42" y="3102"/>
                      </a:lnTo>
                      <a:lnTo>
                        <a:pt x="10" y="2959"/>
                      </a:lnTo>
                      <a:lnTo>
                        <a:pt x="0" y="2814"/>
                      </a:lnTo>
                      <a:lnTo>
                        <a:pt x="10" y="2669"/>
                      </a:lnTo>
                      <a:lnTo>
                        <a:pt x="42" y="2526"/>
                      </a:lnTo>
                      <a:lnTo>
                        <a:pt x="93" y="2385"/>
                      </a:lnTo>
                      <a:lnTo>
                        <a:pt x="165" y="2247"/>
                      </a:lnTo>
                      <a:lnTo>
                        <a:pt x="257" y="2111"/>
                      </a:lnTo>
                      <a:lnTo>
                        <a:pt x="367" y="1977"/>
                      </a:lnTo>
                      <a:lnTo>
                        <a:pt x="496" y="1846"/>
                      </a:lnTo>
                      <a:lnTo>
                        <a:pt x="644" y="1719"/>
                      </a:lnTo>
                      <a:lnTo>
                        <a:pt x="808" y="1594"/>
                      </a:lnTo>
                      <a:lnTo>
                        <a:pt x="989" y="1473"/>
                      </a:lnTo>
                      <a:lnTo>
                        <a:pt x="1186" y="1355"/>
                      </a:lnTo>
                      <a:lnTo>
                        <a:pt x="1399" y="1241"/>
                      </a:lnTo>
                      <a:lnTo>
                        <a:pt x="1628" y="1130"/>
                      </a:lnTo>
                      <a:lnTo>
                        <a:pt x="1871" y="1023"/>
                      </a:lnTo>
                      <a:lnTo>
                        <a:pt x="2129" y="922"/>
                      </a:lnTo>
                      <a:lnTo>
                        <a:pt x="2400" y="824"/>
                      </a:lnTo>
                      <a:lnTo>
                        <a:pt x="2685" y="730"/>
                      </a:lnTo>
                      <a:lnTo>
                        <a:pt x="2982" y="642"/>
                      </a:lnTo>
                      <a:lnTo>
                        <a:pt x="3292" y="559"/>
                      </a:lnTo>
                      <a:lnTo>
                        <a:pt x="3613" y="480"/>
                      </a:lnTo>
                      <a:lnTo>
                        <a:pt x="3946" y="406"/>
                      </a:lnTo>
                      <a:lnTo>
                        <a:pt x="4289" y="339"/>
                      </a:lnTo>
                      <a:lnTo>
                        <a:pt x="4643" y="277"/>
                      </a:lnTo>
                      <a:lnTo>
                        <a:pt x="5006" y="220"/>
                      </a:lnTo>
                      <a:lnTo>
                        <a:pt x="5378" y="170"/>
                      </a:lnTo>
                      <a:lnTo>
                        <a:pt x="5758" y="126"/>
                      </a:lnTo>
                      <a:lnTo>
                        <a:pt x="6148" y="88"/>
                      </a:lnTo>
                      <a:lnTo>
                        <a:pt x="6543" y="57"/>
                      </a:lnTo>
                      <a:lnTo>
                        <a:pt x="6947" y="32"/>
                      </a:lnTo>
                      <a:lnTo>
                        <a:pt x="7357" y="14"/>
                      </a:lnTo>
                      <a:lnTo>
                        <a:pt x="7773" y="3"/>
                      </a:lnTo>
                      <a:lnTo>
                        <a:pt x="8195" y="0"/>
                      </a:lnTo>
                      <a:lnTo>
                        <a:pt x="8616" y="3"/>
                      </a:lnTo>
                      <a:lnTo>
                        <a:pt x="9032" y="14"/>
                      </a:lnTo>
                      <a:lnTo>
                        <a:pt x="9442" y="32"/>
                      </a:lnTo>
                      <a:lnTo>
                        <a:pt x="9846" y="57"/>
                      </a:lnTo>
                      <a:lnTo>
                        <a:pt x="10241" y="88"/>
                      </a:lnTo>
                      <a:lnTo>
                        <a:pt x="10631" y="126"/>
                      </a:lnTo>
                      <a:lnTo>
                        <a:pt x="11011" y="170"/>
                      </a:lnTo>
                      <a:lnTo>
                        <a:pt x="11383" y="220"/>
                      </a:lnTo>
                      <a:lnTo>
                        <a:pt x="11746" y="277"/>
                      </a:lnTo>
                      <a:lnTo>
                        <a:pt x="12100" y="339"/>
                      </a:lnTo>
                      <a:lnTo>
                        <a:pt x="12443" y="406"/>
                      </a:lnTo>
                      <a:lnTo>
                        <a:pt x="12776" y="480"/>
                      </a:lnTo>
                      <a:lnTo>
                        <a:pt x="13096" y="559"/>
                      </a:lnTo>
                      <a:lnTo>
                        <a:pt x="13407" y="642"/>
                      </a:lnTo>
                      <a:lnTo>
                        <a:pt x="13704" y="730"/>
                      </a:lnTo>
                      <a:lnTo>
                        <a:pt x="13989" y="824"/>
                      </a:lnTo>
                      <a:lnTo>
                        <a:pt x="14260" y="922"/>
                      </a:lnTo>
                      <a:lnTo>
                        <a:pt x="14518" y="1023"/>
                      </a:lnTo>
                      <a:lnTo>
                        <a:pt x="14761" y="1130"/>
                      </a:lnTo>
                      <a:lnTo>
                        <a:pt x="14990" y="1241"/>
                      </a:lnTo>
                      <a:lnTo>
                        <a:pt x="15203" y="1355"/>
                      </a:lnTo>
                      <a:lnTo>
                        <a:pt x="15400" y="1473"/>
                      </a:lnTo>
                      <a:lnTo>
                        <a:pt x="15581" y="1594"/>
                      </a:lnTo>
                      <a:lnTo>
                        <a:pt x="15745" y="1719"/>
                      </a:lnTo>
                      <a:lnTo>
                        <a:pt x="15893" y="1846"/>
                      </a:lnTo>
                      <a:lnTo>
                        <a:pt x="16022" y="1977"/>
                      </a:lnTo>
                      <a:lnTo>
                        <a:pt x="16132" y="2111"/>
                      </a:lnTo>
                      <a:lnTo>
                        <a:pt x="16224" y="2247"/>
                      </a:lnTo>
                      <a:lnTo>
                        <a:pt x="16296" y="2385"/>
                      </a:lnTo>
                      <a:lnTo>
                        <a:pt x="16347" y="2526"/>
                      </a:lnTo>
                      <a:lnTo>
                        <a:pt x="16379" y="2669"/>
                      </a:lnTo>
                      <a:lnTo>
                        <a:pt x="16389" y="2814"/>
                      </a:lnTo>
                      <a:close/>
                    </a:path>
                  </a:pathLst>
                </a:custGeom>
                <a:solidFill>
                  <a:srgbClr val="B8CAD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58" name="Freeform 200"/>
                <p:cNvSpPr>
                  <a:spLocks/>
                </p:cNvSpPr>
                <p:nvPr>
                  <p:custDataLst>
                    <p:tags r:id="rId107"/>
                  </p:custDataLst>
                </p:nvPr>
              </p:nvSpPr>
              <p:spPr bwMode="auto">
                <a:xfrm>
                  <a:off x="725" y="3469"/>
                  <a:ext cx="361" cy="114"/>
                </a:xfrm>
                <a:custGeom>
                  <a:avLst/>
                  <a:gdLst>
                    <a:gd name="T0" fmla="*/ 472 w 8295"/>
                    <a:gd name="T1" fmla="*/ 2861 h 2864"/>
                    <a:gd name="T2" fmla="*/ 1300 w 8295"/>
                    <a:gd name="T3" fmla="*/ 2832 h 2864"/>
                    <a:gd name="T4" fmla="*/ 2102 w 8295"/>
                    <a:gd name="T5" fmla="*/ 2776 h 2864"/>
                    <a:gd name="T6" fmla="*/ 2873 w 8295"/>
                    <a:gd name="T7" fmla="*/ 2693 h 2864"/>
                    <a:gd name="T8" fmla="*/ 3609 w 8295"/>
                    <a:gd name="T9" fmla="*/ 2587 h 2864"/>
                    <a:gd name="T10" fmla="*/ 4308 w 8295"/>
                    <a:gd name="T11" fmla="*/ 2456 h 2864"/>
                    <a:gd name="T12" fmla="*/ 4964 w 8295"/>
                    <a:gd name="T13" fmla="*/ 2304 h 2864"/>
                    <a:gd name="T14" fmla="*/ 5426 w 8295"/>
                    <a:gd name="T15" fmla="*/ 2176 h 2864"/>
                    <a:gd name="T16" fmla="*/ 5718 w 8295"/>
                    <a:gd name="T17" fmla="*/ 2085 h 2864"/>
                    <a:gd name="T18" fmla="*/ 5998 w 8295"/>
                    <a:gd name="T19" fmla="*/ 1988 h 2864"/>
                    <a:gd name="T20" fmla="*/ 6264 w 8295"/>
                    <a:gd name="T21" fmla="*/ 1888 h 2864"/>
                    <a:gd name="T22" fmla="*/ 6516 w 8295"/>
                    <a:gd name="T23" fmla="*/ 1783 h 2864"/>
                    <a:gd name="T24" fmla="*/ 6754 w 8295"/>
                    <a:gd name="T25" fmla="*/ 1674 h 2864"/>
                    <a:gd name="T26" fmla="*/ 6977 w 8295"/>
                    <a:gd name="T27" fmla="*/ 1561 h 2864"/>
                    <a:gd name="T28" fmla="*/ 7184 w 8295"/>
                    <a:gd name="T29" fmla="*/ 1444 h 2864"/>
                    <a:gd name="T30" fmla="*/ 7376 w 8295"/>
                    <a:gd name="T31" fmla="*/ 1323 h 2864"/>
                    <a:gd name="T32" fmla="*/ 7551 w 8295"/>
                    <a:gd name="T33" fmla="*/ 1198 h 2864"/>
                    <a:gd name="T34" fmla="*/ 7709 w 8295"/>
                    <a:gd name="T35" fmla="*/ 1069 h 2864"/>
                    <a:gd name="T36" fmla="*/ 7850 w 8295"/>
                    <a:gd name="T37" fmla="*/ 938 h 2864"/>
                    <a:gd name="T38" fmla="*/ 7972 w 8295"/>
                    <a:gd name="T39" fmla="*/ 802 h 2864"/>
                    <a:gd name="T40" fmla="*/ 8076 w 8295"/>
                    <a:gd name="T41" fmla="*/ 663 h 2864"/>
                    <a:gd name="T42" fmla="*/ 8161 w 8295"/>
                    <a:gd name="T43" fmla="*/ 521 h 2864"/>
                    <a:gd name="T44" fmla="*/ 8226 w 8295"/>
                    <a:gd name="T45" fmla="*/ 376 h 2864"/>
                    <a:gd name="T46" fmla="*/ 8269 w 8295"/>
                    <a:gd name="T47" fmla="*/ 227 h 2864"/>
                    <a:gd name="T48" fmla="*/ 8292 w 8295"/>
                    <a:gd name="T49" fmla="*/ 76 h 2864"/>
                    <a:gd name="T50" fmla="*/ 8194 w 8295"/>
                    <a:gd name="T51" fmla="*/ 34 h 2864"/>
                    <a:gd name="T52" fmla="*/ 8180 w 8295"/>
                    <a:gd name="T53" fmla="*/ 172 h 2864"/>
                    <a:gd name="T54" fmla="*/ 8145 w 8295"/>
                    <a:gd name="T55" fmla="*/ 307 h 2864"/>
                    <a:gd name="T56" fmla="*/ 8089 w 8295"/>
                    <a:gd name="T57" fmla="*/ 441 h 2864"/>
                    <a:gd name="T58" fmla="*/ 8016 w 8295"/>
                    <a:gd name="T59" fmla="*/ 574 h 2864"/>
                    <a:gd name="T60" fmla="*/ 7922 w 8295"/>
                    <a:gd name="T61" fmla="*/ 706 h 2864"/>
                    <a:gd name="T62" fmla="*/ 7810 w 8295"/>
                    <a:gd name="T63" fmla="*/ 835 h 2864"/>
                    <a:gd name="T64" fmla="*/ 7679 w 8295"/>
                    <a:gd name="T65" fmla="*/ 963 h 2864"/>
                    <a:gd name="T66" fmla="*/ 7530 w 8295"/>
                    <a:gd name="T67" fmla="*/ 1087 h 2864"/>
                    <a:gd name="T68" fmla="*/ 7364 w 8295"/>
                    <a:gd name="T69" fmla="*/ 1209 h 2864"/>
                    <a:gd name="T70" fmla="*/ 7182 w 8295"/>
                    <a:gd name="T71" fmla="*/ 1328 h 2864"/>
                    <a:gd name="T72" fmla="*/ 6982 w 8295"/>
                    <a:gd name="T73" fmla="*/ 1444 h 2864"/>
                    <a:gd name="T74" fmla="*/ 6766 w 8295"/>
                    <a:gd name="T75" fmla="*/ 1556 h 2864"/>
                    <a:gd name="T76" fmla="*/ 6537 w 8295"/>
                    <a:gd name="T77" fmla="*/ 1664 h 2864"/>
                    <a:gd name="T78" fmla="*/ 6290 w 8295"/>
                    <a:gd name="T79" fmla="*/ 1769 h 2864"/>
                    <a:gd name="T80" fmla="*/ 6032 w 8295"/>
                    <a:gd name="T81" fmla="*/ 1869 h 2864"/>
                    <a:gd name="T82" fmla="*/ 5757 w 8295"/>
                    <a:gd name="T83" fmla="*/ 1965 h 2864"/>
                    <a:gd name="T84" fmla="*/ 5471 w 8295"/>
                    <a:gd name="T85" fmla="*/ 2058 h 2864"/>
                    <a:gd name="T86" fmla="*/ 5096 w 8295"/>
                    <a:gd name="T87" fmla="*/ 2165 h 2864"/>
                    <a:gd name="T88" fmla="*/ 4455 w 8295"/>
                    <a:gd name="T89" fmla="*/ 2322 h 2864"/>
                    <a:gd name="T90" fmla="*/ 3771 w 8295"/>
                    <a:gd name="T91" fmla="*/ 2457 h 2864"/>
                    <a:gd name="T92" fmla="*/ 3047 w 8295"/>
                    <a:gd name="T93" fmla="*/ 2569 h 2864"/>
                    <a:gd name="T94" fmla="*/ 2287 w 8295"/>
                    <a:gd name="T95" fmla="*/ 2658 h 2864"/>
                    <a:gd name="T96" fmla="*/ 1497 w 8295"/>
                    <a:gd name="T97" fmla="*/ 2720 h 2864"/>
                    <a:gd name="T98" fmla="*/ 678 w 8295"/>
                    <a:gd name="T99" fmla="*/ 2756 h 2864"/>
                    <a:gd name="T100" fmla="*/ 50 w 8295"/>
                    <a:gd name="T101" fmla="*/ 2764 h 2864"/>
                    <a:gd name="T102" fmla="*/ 33 w 8295"/>
                    <a:gd name="T103" fmla="*/ 2767 h 2864"/>
                    <a:gd name="T104" fmla="*/ 15 w 8295"/>
                    <a:gd name="T105" fmla="*/ 2776 h 2864"/>
                    <a:gd name="T106" fmla="*/ 0 w 8295"/>
                    <a:gd name="T107" fmla="*/ 2805 h 2864"/>
                    <a:gd name="T108" fmla="*/ 6 w 8295"/>
                    <a:gd name="T109" fmla="*/ 2841 h 2864"/>
                    <a:gd name="T110" fmla="*/ 23 w 8295"/>
                    <a:gd name="T111" fmla="*/ 2858 h 2864"/>
                    <a:gd name="T112" fmla="*/ 43 w 8295"/>
                    <a:gd name="T113" fmla="*/ 2864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4">
                      <a:moveTo>
                        <a:pt x="50" y="2864"/>
                      </a:moveTo>
                      <a:lnTo>
                        <a:pt x="50" y="2864"/>
                      </a:lnTo>
                      <a:lnTo>
                        <a:pt x="262" y="2864"/>
                      </a:lnTo>
                      <a:lnTo>
                        <a:pt x="472" y="2861"/>
                      </a:lnTo>
                      <a:lnTo>
                        <a:pt x="681" y="2856"/>
                      </a:lnTo>
                      <a:lnTo>
                        <a:pt x="888" y="2849"/>
                      </a:lnTo>
                      <a:lnTo>
                        <a:pt x="1095" y="2841"/>
                      </a:lnTo>
                      <a:lnTo>
                        <a:pt x="1300" y="2832"/>
                      </a:lnTo>
                      <a:lnTo>
                        <a:pt x="1503" y="2820"/>
                      </a:lnTo>
                      <a:lnTo>
                        <a:pt x="1704" y="2807"/>
                      </a:lnTo>
                      <a:lnTo>
                        <a:pt x="1904" y="2792"/>
                      </a:lnTo>
                      <a:lnTo>
                        <a:pt x="2102" y="2776"/>
                      </a:lnTo>
                      <a:lnTo>
                        <a:pt x="2296" y="2757"/>
                      </a:lnTo>
                      <a:lnTo>
                        <a:pt x="2491" y="2738"/>
                      </a:lnTo>
                      <a:lnTo>
                        <a:pt x="2683" y="2716"/>
                      </a:lnTo>
                      <a:lnTo>
                        <a:pt x="2873" y="2693"/>
                      </a:lnTo>
                      <a:lnTo>
                        <a:pt x="3060" y="2668"/>
                      </a:lnTo>
                      <a:lnTo>
                        <a:pt x="3246" y="2642"/>
                      </a:lnTo>
                      <a:lnTo>
                        <a:pt x="3429" y="2615"/>
                      </a:lnTo>
                      <a:lnTo>
                        <a:pt x="3609" y="2587"/>
                      </a:lnTo>
                      <a:lnTo>
                        <a:pt x="3788" y="2555"/>
                      </a:lnTo>
                      <a:lnTo>
                        <a:pt x="3964" y="2523"/>
                      </a:lnTo>
                      <a:lnTo>
                        <a:pt x="4137" y="2490"/>
                      </a:lnTo>
                      <a:lnTo>
                        <a:pt x="4308" y="2456"/>
                      </a:lnTo>
                      <a:lnTo>
                        <a:pt x="4476" y="2420"/>
                      </a:lnTo>
                      <a:lnTo>
                        <a:pt x="4642" y="2383"/>
                      </a:lnTo>
                      <a:lnTo>
                        <a:pt x="4804" y="2343"/>
                      </a:lnTo>
                      <a:lnTo>
                        <a:pt x="4964" y="2304"/>
                      </a:lnTo>
                      <a:lnTo>
                        <a:pt x="5122" y="2263"/>
                      </a:lnTo>
                      <a:lnTo>
                        <a:pt x="5275" y="2219"/>
                      </a:lnTo>
                      <a:lnTo>
                        <a:pt x="5351" y="2197"/>
                      </a:lnTo>
                      <a:lnTo>
                        <a:pt x="5426" y="2176"/>
                      </a:lnTo>
                      <a:lnTo>
                        <a:pt x="5500" y="2153"/>
                      </a:lnTo>
                      <a:lnTo>
                        <a:pt x="5574" y="2131"/>
                      </a:lnTo>
                      <a:lnTo>
                        <a:pt x="5646" y="2107"/>
                      </a:lnTo>
                      <a:lnTo>
                        <a:pt x="5718" y="2085"/>
                      </a:lnTo>
                      <a:lnTo>
                        <a:pt x="5789" y="2061"/>
                      </a:lnTo>
                      <a:lnTo>
                        <a:pt x="5859" y="2037"/>
                      </a:lnTo>
                      <a:lnTo>
                        <a:pt x="5930" y="2013"/>
                      </a:lnTo>
                      <a:lnTo>
                        <a:pt x="5998" y="1988"/>
                      </a:lnTo>
                      <a:lnTo>
                        <a:pt x="6066" y="1963"/>
                      </a:lnTo>
                      <a:lnTo>
                        <a:pt x="6133" y="1939"/>
                      </a:lnTo>
                      <a:lnTo>
                        <a:pt x="6199" y="1914"/>
                      </a:lnTo>
                      <a:lnTo>
                        <a:pt x="6264" y="1888"/>
                      </a:lnTo>
                      <a:lnTo>
                        <a:pt x="6328" y="1862"/>
                      </a:lnTo>
                      <a:lnTo>
                        <a:pt x="6391" y="1836"/>
                      </a:lnTo>
                      <a:lnTo>
                        <a:pt x="6454" y="1809"/>
                      </a:lnTo>
                      <a:lnTo>
                        <a:pt x="6516" y="1783"/>
                      </a:lnTo>
                      <a:lnTo>
                        <a:pt x="6577" y="1756"/>
                      </a:lnTo>
                      <a:lnTo>
                        <a:pt x="6637" y="1728"/>
                      </a:lnTo>
                      <a:lnTo>
                        <a:pt x="6695" y="1702"/>
                      </a:lnTo>
                      <a:lnTo>
                        <a:pt x="6754" y="1674"/>
                      </a:lnTo>
                      <a:lnTo>
                        <a:pt x="6811" y="1646"/>
                      </a:lnTo>
                      <a:lnTo>
                        <a:pt x="6867" y="1618"/>
                      </a:lnTo>
                      <a:lnTo>
                        <a:pt x="6922" y="1590"/>
                      </a:lnTo>
                      <a:lnTo>
                        <a:pt x="6977" y="1561"/>
                      </a:lnTo>
                      <a:lnTo>
                        <a:pt x="7030" y="1532"/>
                      </a:lnTo>
                      <a:lnTo>
                        <a:pt x="7082" y="1503"/>
                      </a:lnTo>
                      <a:lnTo>
                        <a:pt x="7133" y="1473"/>
                      </a:lnTo>
                      <a:lnTo>
                        <a:pt x="7184" y="1444"/>
                      </a:lnTo>
                      <a:lnTo>
                        <a:pt x="7233" y="1414"/>
                      </a:lnTo>
                      <a:lnTo>
                        <a:pt x="7282" y="1384"/>
                      </a:lnTo>
                      <a:lnTo>
                        <a:pt x="7329" y="1353"/>
                      </a:lnTo>
                      <a:lnTo>
                        <a:pt x="7376" y="1323"/>
                      </a:lnTo>
                      <a:lnTo>
                        <a:pt x="7421" y="1292"/>
                      </a:lnTo>
                      <a:lnTo>
                        <a:pt x="7465" y="1261"/>
                      </a:lnTo>
                      <a:lnTo>
                        <a:pt x="7509" y="1230"/>
                      </a:lnTo>
                      <a:lnTo>
                        <a:pt x="7551" y="1198"/>
                      </a:lnTo>
                      <a:lnTo>
                        <a:pt x="7592" y="1165"/>
                      </a:lnTo>
                      <a:lnTo>
                        <a:pt x="7632" y="1134"/>
                      </a:lnTo>
                      <a:lnTo>
                        <a:pt x="7670" y="1102"/>
                      </a:lnTo>
                      <a:lnTo>
                        <a:pt x="7709" y="1069"/>
                      </a:lnTo>
                      <a:lnTo>
                        <a:pt x="7746" y="1037"/>
                      </a:lnTo>
                      <a:lnTo>
                        <a:pt x="7782" y="1004"/>
                      </a:lnTo>
                      <a:lnTo>
                        <a:pt x="7816" y="971"/>
                      </a:lnTo>
                      <a:lnTo>
                        <a:pt x="7850" y="938"/>
                      </a:lnTo>
                      <a:lnTo>
                        <a:pt x="7882" y="904"/>
                      </a:lnTo>
                      <a:lnTo>
                        <a:pt x="7914" y="870"/>
                      </a:lnTo>
                      <a:lnTo>
                        <a:pt x="7944" y="836"/>
                      </a:lnTo>
                      <a:lnTo>
                        <a:pt x="7972" y="802"/>
                      </a:lnTo>
                      <a:lnTo>
                        <a:pt x="8000" y="768"/>
                      </a:lnTo>
                      <a:lnTo>
                        <a:pt x="8027" y="733"/>
                      </a:lnTo>
                      <a:lnTo>
                        <a:pt x="8052" y="699"/>
                      </a:lnTo>
                      <a:lnTo>
                        <a:pt x="8076" y="663"/>
                      </a:lnTo>
                      <a:lnTo>
                        <a:pt x="8099" y="628"/>
                      </a:lnTo>
                      <a:lnTo>
                        <a:pt x="8121" y="592"/>
                      </a:lnTo>
                      <a:lnTo>
                        <a:pt x="8141" y="557"/>
                      </a:lnTo>
                      <a:lnTo>
                        <a:pt x="8161" y="521"/>
                      </a:lnTo>
                      <a:lnTo>
                        <a:pt x="8180" y="484"/>
                      </a:lnTo>
                      <a:lnTo>
                        <a:pt x="8196" y="448"/>
                      </a:lnTo>
                      <a:lnTo>
                        <a:pt x="8212" y="412"/>
                      </a:lnTo>
                      <a:lnTo>
                        <a:pt x="8226" y="376"/>
                      </a:lnTo>
                      <a:lnTo>
                        <a:pt x="8238" y="338"/>
                      </a:lnTo>
                      <a:lnTo>
                        <a:pt x="8251" y="301"/>
                      </a:lnTo>
                      <a:lnTo>
                        <a:pt x="8261" y="265"/>
                      </a:lnTo>
                      <a:lnTo>
                        <a:pt x="8269" y="227"/>
                      </a:lnTo>
                      <a:lnTo>
                        <a:pt x="8277" y="189"/>
                      </a:lnTo>
                      <a:lnTo>
                        <a:pt x="8284" y="152"/>
                      </a:lnTo>
                      <a:lnTo>
                        <a:pt x="8289" y="114"/>
                      </a:lnTo>
                      <a:lnTo>
                        <a:pt x="8292" y="76"/>
                      </a:lnTo>
                      <a:lnTo>
                        <a:pt x="8294" y="38"/>
                      </a:lnTo>
                      <a:lnTo>
                        <a:pt x="8295" y="0"/>
                      </a:lnTo>
                      <a:lnTo>
                        <a:pt x="8195" y="0"/>
                      </a:lnTo>
                      <a:lnTo>
                        <a:pt x="8194" y="34"/>
                      </a:lnTo>
                      <a:lnTo>
                        <a:pt x="8192" y="69"/>
                      </a:lnTo>
                      <a:lnTo>
                        <a:pt x="8189" y="103"/>
                      </a:lnTo>
                      <a:lnTo>
                        <a:pt x="8185" y="138"/>
                      </a:lnTo>
                      <a:lnTo>
                        <a:pt x="8180" y="172"/>
                      </a:lnTo>
                      <a:lnTo>
                        <a:pt x="8172" y="205"/>
                      </a:lnTo>
                      <a:lnTo>
                        <a:pt x="8164" y="239"/>
                      </a:lnTo>
                      <a:lnTo>
                        <a:pt x="8155" y="273"/>
                      </a:lnTo>
                      <a:lnTo>
                        <a:pt x="8145" y="307"/>
                      </a:lnTo>
                      <a:lnTo>
                        <a:pt x="8132" y="340"/>
                      </a:lnTo>
                      <a:lnTo>
                        <a:pt x="8119" y="375"/>
                      </a:lnTo>
                      <a:lnTo>
                        <a:pt x="8105" y="408"/>
                      </a:lnTo>
                      <a:lnTo>
                        <a:pt x="8089" y="441"/>
                      </a:lnTo>
                      <a:lnTo>
                        <a:pt x="8072" y="475"/>
                      </a:lnTo>
                      <a:lnTo>
                        <a:pt x="8055" y="508"/>
                      </a:lnTo>
                      <a:lnTo>
                        <a:pt x="8035" y="541"/>
                      </a:lnTo>
                      <a:lnTo>
                        <a:pt x="8016" y="574"/>
                      </a:lnTo>
                      <a:lnTo>
                        <a:pt x="7993" y="608"/>
                      </a:lnTo>
                      <a:lnTo>
                        <a:pt x="7970" y="640"/>
                      </a:lnTo>
                      <a:lnTo>
                        <a:pt x="7947" y="673"/>
                      </a:lnTo>
                      <a:lnTo>
                        <a:pt x="7922" y="706"/>
                      </a:lnTo>
                      <a:lnTo>
                        <a:pt x="7895" y="738"/>
                      </a:lnTo>
                      <a:lnTo>
                        <a:pt x="7868" y="770"/>
                      </a:lnTo>
                      <a:lnTo>
                        <a:pt x="7839" y="803"/>
                      </a:lnTo>
                      <a:lnTo>
                        <a:pt x="7810" y="835"/>
                      </a:lnTo>
                      <a:lnTo>
                        <a:pt x="7779" y="867"/>
                      </a:lnTo>
                      <a:lnTo>
                        <a:pt x="7747" y="898"/>
                      </a:lnTo>
                      <a:lnTo>
                        <a:pt x="7714" y="930"/>
                      </a:lnTo>
                      <a:lnTo>
                        <a:pt x="7679" y="963"/>
                      </a:lnTo>
                      <a:lnTo>
                        <a:pt x="7644" y="994"/>
                      </a:lnTo>
                      <a:lnTo>
                        <a:pt x="7607" y="1025"/>
                      </a:lnTo>
                      <a:lnTo>
                        <a:pt x="7569" y="1056"/>
                      </a:lnTo>
                      <a:lnTo>
                        <a:pt x="7530" y="1087"/>
                      </a:lnTo>
                      <a:lnTo>
                        <a:pt x="7490" y="1118"/>
                      </a:lnTo>
                      <a:lnTo>
                        <a:pt x="7450" y="1148"/>
                      </a:lnTo>
                      <a:lnTo>
                        <a:pt x="7408" y="1179"/>
                      </a:lnTo>
                      <a:lnTo>
                        <a:pt x="7364" y="1209"/>
                      </a:lnTo>
                      <a:lnTo>
                        <a:pt x="7320" y="1239"/>
                      </a:lnTo>
                      <a:lnTo>
                        <a:pt x="7275" y="1269"/>
                      </a:lnTo>
                      <a:lnTo>
                        <a:pt x="7228" y="1299"/>
                      </a:lnTo>
                      <a:lnTo>
                        <a:pt x="7182" y="1328"/>
                      </a:lnTo>
                      <a:lnTo>
                        <a:pt x="7133" y="1357"/>
                      </a:lnTo>
                      <a:lnTo>
                        <a:pt x="7084" y="1386"/>
                      </a:lnTo>
                      <a:lnTo>
                        <a:pt x="7033" y="1415"/>
                      </a:lnTo>
                      <a:lnTo>
                        <a:pt x="6982" y="1444"/>
                      </a:lnTo>
                      <a:lnTo>
                        <a:pt x="6929" y="1472"/>
                      </a:lnTo>
                      <a:lnTo>
                        <a:pt x="6877" y="1501"/>
                      </a:lnTo>
                      <a:lnTo>
                        <a:pt x="6822" y="1529"/>
                      </a:lnTo>
                      <a:lnTo>
                        <a:pt x="6766" y="1556"/>
                      </a:lnTo>
                      <a:lnTo>
                        <a:pt x="6711" y="1584"/>
                      </a:lnTo>
                      <a:lnTo>
                        <a:pt x="6653" y="1610"/>
                      </a:lnTo>
                      <a:lnTo>
                        <a:pt x="6595" y="1637"/>
                      </a:lnTo>
                      <a:lnTo>
                        <a:pt x="6537" y="1664"/>
                      </a:lnTo>
                      <a:lnTo>
                        <a:pt x="6476" y="1691"/>
                      </a:lnTo>
                      <a:lnTo>
                        <a:pt x="6415" y="1717"/>
                      </a:lnTo>
                      <a:lnTo>
                        <a:pt x="6354" y="1743"/>
                      </a:lnTo>
                      <a:lnTo>
                        <a:pt x="6290" y="1769"/>
                      </a:lnTo>
                      <a:lnTo>
                        <a:pt x="6227" y="1795"/>
                      </a:lnTo>
                      <a:lnTo>
                        <a:pt x="6163" y="1820"/>
                      </a:lnTo>
                      <a:lnTo>
                        <a:pt x="6098" y="1845"/>
                      </a:lnTo>
                      <a:lnTo>
                        <a:pt x="6032" y="1869"/>
                      </a:lnTo>
                      <a:lnTo>
                        <a:pt x="5965" y="1894"/>
                      </a:lnTo>
                      <a:lnTo>
                        <a:pt x="5897" y="1918"/>
                      </a:lnTo>
                      <a:lnTo>
                        <a:pt x="5828" y="1942"/>
                      </a:lnTo>
                      <a:lnTo>
                        <a:pt x="5757" y="1965"/>
                      </a:lnTo>
                      <a:lnTo>
                        <a:pt x="5687" y="1989"/>
                      </a:lnTo>
                      <a:lnTo>
                        <a:pt x="5616" y="2012"/>
                      </a:lnTo>
                      <a:lnTo>
                        <a:pt x="5544" y="2035"/>
                      </a:lnTo>
                      <a:lnTo>
                        <a:pt x="5471" y="2058"/>
                      </a:lnTo>
                      <a:lnTo>
                        <a:pt x="5398" y="2079"/>
                      </a:lnTo>
                      <a:lnTo>
                        <a:pt x="5324" y="2101"/>
                      </a:lnTo>
                      <a:lnTo>
                        <a:pt x="5248" y="2123"/>
                      </a:lnTo>
                      <a:lnTo>
                        <a:pt x="5096" y="2165"/>
                      </a:lnTo>
                      <a:lnTo>
                        <a:pt x="4940" y="2207"/>
                      </a:lnTo>
                      <a:lnTo>
                        <a:pt x="4781" y="2246"/>
                      </a:lnTo>
                      <a:lnTo>
                        <a:pt x="4620" y="2284"/>
                      </a:lnTo>
                      <a:lnTo>
                        <a:pt x="4455" y="2322"/>
                      </a:lnTo>
                      <a:lnTo>
                        <a:pt x="4288" y="2358"/>
                      </a:lnTo>
                      <a:lnTo>
                        <a:pt x="4119" y="2392"/>
                      </a:lnTo>
                      <a:lnTo>
                        <a:pt x="3945" y="2425"/>
                      </a:lnTo>
                      <a:lnTo>
                        <a:pt x="3771" y="2457"/>
                      </a:lnTo>
                      <a:lnTo>
                        <a:pt x="3593" y="2487"/>
                      </a:lnTo>
                      <a:lnTo>
                        <a:pt x="3414" y="2516"/>
                      </a:lnTo>
                      <a:lnTo>
                        <a:pt x="3231" y="2543"/>
                      </a:lnTo>
                      <a:lnTo>
                        <a:pt x="3047" y="2569"/>
                      </a:lnTo>
                      <a:lnTo>
                        <a:pt x="2860" y="2594"/>
                      </a:lnTo>
                      <a:lnTo>
                        <a:pt x="2672" y="2617"/>
                      </a:lnTo>
                      <a:lnTo>
                        <a:pt x="2481" y="2637"/>
                      </a:lnTo>
                      <a:lnTo>
                        <a:pt x="2287" y="2658"/>
                      </a:lnTo>
                      <a:lnTo>
                        <a:pt x="2092" y="2676"/>
                      </a:lnTo>
                      <a:lnTo>
                        <a:pt x="1895" y="2692"/>
                      </a:lnTo>
                      <a:lnTo>
                        <a:pt x="1698" y="2707"/>
                      </a:lnTo>
                      <a:lnTo>
                        <a:pt x="1497" y="2720"/>
                      </a:lnTo>
                      <a:lnTo>
                        <a:pt x="1295" y="2731"/>
                      </a:lnTo>
                      <a:lnTo>
                        <a:pt x="1090" y="2742"/>
                      </a:lnTo>
                      <a:lnTo>
                        <a:pt x="885" y="2750"/>
                      </a:lnTo>
                      <a:lnTo>
                        <a:pt x="678" y="2756"/>
                      </a:lnTo>
                      <a:lnTo>
                        <a:pt x="470" y="2760"/>
                      </a:lnTo>
                      <a:lnTo>
                        <a:pt x="261" y="2762"/>
                      </a:lnTo>
                      <a:lnTo>
                        <a:pt x="50" y="2764"/>
                      </a:lnTo>
                      <a:lnTo>
                        <a:pt x="50" y="2764"/>
                      </a:lnTo>
                      <a:lnTo>
                        <a:pt x="50" y="2764"/>
                      </a:lnTo>
                      <a:lnTo>
                        <a:pt x="43" y="2765"/>
                      </a:lnTo>
                      <a:lnTo>
                        <a:pt x="38" y="2765"/>
                      </a:lnTo>
                      <a:lnTo>
                        <a:pt x="33" y="2767"/>
                      </a:lnTo>
                      <a:lnTo>
                        <a:pt x="28" y="2769"/>
                      </a:lnTo>
                      <a:lnTo>
                        <a:pt x="23" y="2771"/>
                      </a:lnTo>
                      <a:lnTo>
                        <a:pt x="19" y="2773"/>
                      </a:lnTo>
                      <a:lnTo>
                        <a:pt x="15" y="2776"/>
                      </a:lnTo>
                      <a:lnTo>
                        <a:pt x="12" y="2780"/>
                      </a:lnTo>
                      <a:lnTo>
                        <a:pt x="6" y="2787"/>
                      </a:lnTo>
                      <a:lnTo>
                        <a:pt x="3" y="2796"/>
                      </a:lnTo>
                      <a:lnTo>
                        <a:pt x="0" y="2805"/>
                      </a:lnTo>
                      <a:lnTo>
                        <a:pt x="0" y="2814"/>
                      </a:lnTo>
                      <a:lnTo>
                        <a:pt x="0" y="2824"/>
                      </a:lnTo>
                      <a:lnTo>
                        <a:pt x="3" y="2833"/>
                      </a:lnTo>
                      <a:lnTo>
                        <a:pt x="6" y="2841"/>
                      </a:lnTo>
                      <a:lnTo>
                        <a:pt x="12" y="2848"/>
                      </a:lnTo>
                      <a:lnTo>
                        <a:pt x="15" y="2853"/>
                      </a:lnTo>
                      <a:lnTo>
                        <a:pt x="19" y="2856"/>
                      </a:lnTo>
                      <a:lnTo>
                        <a:pt x="23" y="2858"/>
                      </a:lnTo>
                      <a:lnTo>
                        <a:pt x="28" y="2860"/>
                      </a:lnTo>
                      <a:lnTo>
                        <a:pt x="33" y="2862"/>
                      </a:lnTo>
                      <a:lnTo>
                        <a:pt x="38" y="2863"/>
                      </a:lnTo>
                      <a:lnTo>
                        <a:pt x="43" y="2864"/>
                      </a:lnTo>
                      <a:lnTo>
                        <a:pt x="50"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59" name="Freeform 201"/>
                <p:cNvSpPr>
                  <a:spLocks/>
                </p:cNvSpPr>
                <p:nvPr>
                  <p:custDataLst>
                    <p:tags r:id="rId108"/>
                  </p:custDataLst>
                </p:nvPr>
              </p:nvSpPr>
              <p:spPr bwMode="auto">
                <a:xfrm>
                  <a:off x="369" y="3467"/>
                  <a:ext cx="359" cy="116"/>
                </a:xfrm>
                <a:custGeom>
                  <a:avLst/>
                  <a:gdLst>
                    <a:gd name="T0" fmla="*/ 3 w 8246"/>
                    <a:gd name="T1" fmla="*/ 127 h 2915"/>
                    <a:gd name="T2" fmla="*/ 25 w 8246"/>
                    <a:gd name="T3" fmla="*/ 278 h 2915"/>
                    <a:gd name="T4" fmla="*/ 69 w 8246"/>
                    <a:gd name="T5" fmla="*/ 427 h 2915"/>
                    <a:gd name="T6" fmla="*/ 134 w 8246"/>
                    <a:gd name="T7" fmla="*/ 572 h 2915"/>
                    <a:gd name="T8" fmla="*/ 219 w 8246"/>
                    <a:gd name="T9" fmla="*/ 714 h 2915"/>
                    <a:gd name="T10" fmla="*/ 323 w 8246"/>
                    <a:gd name="T11" fmla="*/ 853 h 2915"/>
                    <a:gd name="T12" fmla="*/ 445 w 8246"/>
                    <a:gd name="T13" fmla="*/ 989 h 2915"/>
                    <a:gd name="T14" fmla="*/ 586 w 8246"/>
                    <a:gd name="T15" fmla="*/ 1120 h 2915"/>
                    <a:gd name="T16" fmla="*/ 744 w 8246"/>
                    <a:gd name="T17" fmla="*/ 1249 h 2915"/>
                    <a:gd name="T18" fmla="*/ 919 w 8246"/>
                    <a:gd name="T19" fmla="*/ 1374 h 2915"/>
                    <a:gd name="T20" fmla="*/ 1111 w 8246"/>
                    <a:gd name="T21" fmla="*/ 1495 h 2915"/>
                    <a:gd name="T22" fmla="*/ 1318 w 8246"/>
                    <a:gd name="T23" fmla="*/ 1612 h 2915"/>
                    <a:gd name="T24" fmla="*/ 1541 w 8246"/>
                    <a:gd name="T25" fmla="*/ 1725 h 2915"/>
                    <a:gd name="T26" fmla="*/ 1779 w 8246"/>
                    <a:gd name="T27" fmla="*/ 1834 h 2915"/>
                    <a:gd name="T28" fmla="*/ 2030 w 8246"/>
                    <a:gd name="T29" fmla="*/ 1939 h 2915"/>
                    <a:gd name="T30" fmla="*/ 2297 w 8246"/>
                    <a:gd name="T31" fmla="*/ 2039 h 2915"/>
                    <a:gd name="T32" fmla="*/ 2577 w 8246"/>
                    <a:gd name="T33" fmla="*/ 2136 h 2915"/>
                    <a:gd name="T34" fmla="*/ 2869 w 8246"/>
                    <a:gd name="T35" fmla="*/ 2227 h 2915"/>
                    <a:gd name="T36" fmla="*/ 3331 w 8246"/>
                    <a:gd name="T37" fmla="*/ 2355 h 2915"/>
                    <a:gd name="T38" fmla="*/ 3987 w 8246"/>
                    <a:gd name="T39" fmla="*/ 2507 h 2915"/>
                    <a:gd name="T40" fmla="*/ 4686 w 8246"/>
                    <a:gd name="T41" fmla="*/ 2638 h 2915"/>
                    <a:gd name="T42" fmla="*/ 5422 w 8246"/>
                    <a:gd name="T43" fmla="*/ 2744 h 2915"/>
                    <a:gd name="T44" fmla="*/ 6193 w 8246"/>
                    <a:gd name="T45" fmla="*/ 2827 h 2915"/>
                    <a:gd name="T46" fmla="*/ 6995 w 8246"/>
                    <a:gd name="T47" fmla="*/ 2883 h 2915"/>
                    <a:gd name="T48" fmla="*/ 7823 w 8246"/>
                    <a:gd name="T49" fmla="*/ 2912 h 2915"/>
                    <a:gd name="T50" fmla="*/ 8034 w 8246"/>
                    <a:gd name="T51" fmla="*/ 2813 h 2915"/>
                    <a:gd name="T52" fmla="*/ 7205 w 8246"/>
                    <a:gd name="T53" fmla="*/ 2793 h 2915"/>
                    <a:gd name="T54" fmla="*/ 6400 w 8246"/>
                    <a:gd name="T55" fmla="*/ 2743 h 2915"/>
                    <a:gd name="T56" fmla="*/ 5623 w 8246"/>
                    <a:gd name="T57" fmla="*/ 2668 h 2915"/>
                    <a:gd name="T58" fmla="*/ 4881 w 8246"/>
                    <a:gd name="T59" fmla="*/ 2567 h 2915"/>
                    <a:gd name="T60" fmla="*/ 4176 w 8246"/>
                    <a:gd name="T61" fmla="*/ 2443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1 h 2915"/>
                    <a:gd name="T76" fmla="*/ 1418 w 8246"/>
                    <a:gd name="T77" fmla="*/ 1552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9 h 2915"/>
                    <a:gd name="T94" fmla="*/ 175 w 8246"/>
                    <a:gd name="T95" fmla="*/ 426 h 2915"/>
                    <a:gd name="T96" fmla="*/ 131 w 8246"/>
                    <a:gd name="T97" fmla="*/ 290 h 2915"/>
                    <a:gd name="T98" fmla="*/ 106 w 8246"/>
                    <a:gd name="T99" fmla="*/ 154 h 2915"/>
                    <a:gd name="T100" fmla="*/ 100 w 8246"/>
                    <a:gd name="T101" fmla="*/ 51 h 2915"/>
                    <a:gd name="T102" fmla="*/ 98 w 8246"/>
                    <a:gd name="T103" fmla="*/ 33 h 2915"/>
                    <a:gd name="T104" fmla="*/ 88 w 8246"/>
                    <a:gd name="T105" fmla="*/ 17 h 2915"/>
                    <a:gd name="T106" fmla="*/ 60 w 8246"/>
                    <a:gd name="T107" fmla="*/ 1 h 2915"/>
                    <a:gd name="T108" fmla="*/ 23 w 8246"/>
                    <a:gd name="T109" fmla="*/ 7 h 2915"/>
                    <a:gd name="T110" fmla="*/ 6 w 8246"/>
                    <a:gd name="T111" fmla="*/ 24 h 2915"/>
                    <a:gd name="T112" fmla="*/ 0 w 8246"/>
                    <a:gd name="T113" fmla="*/ 45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1"/>
                      </a:moveTo>
                      <a:lnTo>
                        <a:pt x="0" y="51"/>
                      </a:lnTo>
                      <a:lnTo>
                        <a:pt x="1" y="89"/>
                      </a:lnTo>
                      <a:lnTo>
                        <a:pt x="3" y="127"/>
                      </a:lnTo>
                      <a:lnTo>
                        <a:pt x="6" y="165"/>
                      </a:lnTo>
                      <a:lnTo>
                        <a:pt x="11" y="203"/>
                      </a:lnTo>
                      <a:lnTo>
                        <a:pt x="18" y="240"/>
                      </a:lnTo>
                      <a:lnTo>
                        <a:pt x="25" y="278"/>
                      </a:lnTo>
                      <a:lnTo>
                        <a:pt x="34" y="316"/>
                      </a:lnTo>
                      <a:lnTo>
                        <a:pt x="44" y="352"/>
                      </a:lnTo>
                      <a:lnTo>
                        <a:pt x="56" y="389"/>
                      </a:lnTo>
                      <a:lnTo>
                        <a:pt x="69" y="427"/>
                      </a:lnTo>
                      <a:lnTo>
                        <a:pt x="83" y="463"/>
                      </a:lnTo>
                      <a:lnTo>
                        <a:pt x="99" y="499"/>
                      </a:lnTo>
                      <a:lnTo>
                        <a:pt x="115" y="535"/>
                      </a:lnTo>
                      <a:lnTo>
                        <a:pt x="134" y="572"/>
                      </a:lnTo>
                      <a:lnTo>
                        <a:pt x="154" y="608"/>
                      </a:lnTo>
                      <a:lnTo>
                        <a:pt x="174" y="643"/>
                      </a:lnTo>
                      <a:lnTo>
                        <a:pt x="196" y="679"/>
                      </a:lnTo>
                      <a:lnTo>
                        <a:pt x="219" y="714"/>
                      </a:lnTo>
                      <a:lnTo>
                        <a:pt x="243" y="750"/>
                      </a:lnTo>
                      <a:lnTo>
                        <a:pt x="268" y="784"/>
                      </a:lnTo>
                      <a:lnTo>
                        <a:pt x="295" y="819"/>
                      </a:lnTo>
                      <a:lnTo>
                        <a:pt x="323" y="853"/>
                      </a:lnTo>
                      <a:lnTo>
                        <a:pt x="351" y="887"/>
                      </a:lnTo>
                      <a:lnTo>
                        <a:pt x="381" y="921"/>
                      </a:lnTo>
                      <a:lnTo>
                        <a:pt x="413" y="955"/>
                      </a:lnTo>
                      <a:lnTo>
                        <a:pt x="445" y="989"/>
                      </a:lnTo>
                      <a:lnTo>
                        <a:pt x="479" y="1022"/>
                      </a:lnTo>
                      <a:lnTo>
                        <a:pt x="513" y="1055"/>
                      </a:lnTo>
                      <a:lnTo>
                        <a:pt x="549" y="1088"/>
                      </a:lnTo>
                      <a:lnTo>
                        <a:pt x="586" y="1120"/>
                      </a:lnTo>
                      <a:lnTo>
                        <a:pt x="624" y="1153"/>
                      </a:lnTo>
                      <a:lnTo>
                        <a:pt x="663" y="1185"/>
                      </a:lnTo>
                      <a:lnTo>
                        <a:pt x="703" y="1216"/>
                      </a:lnTo>
                      <a:lnTo>
                        <a:pt x="744" y="1249"/>
                      </a:lnTo>
                      <a:lnTo>
                        <a:pt x="786" y="1281"/>
                      </a:lnTo>
                      <a:lnTo>
                        <a:pt x="830" y="1312"/>
                      </a:lnTo>
                      <a:lnTo>
                        <a:pt x="874" y="1343"/>
                      </a:lnTo>
                      <a:lnTo>
                        <a:pt x="919" y="1374"/>
                      </a:lnTo>
                      <a:lnTo>
                        <a:pt x="966" y="1404"/>
                      </a:lnTo>
                      <a:lnTo>
                        <a:pt x="1013" y="1435"/>
                      </a:lnTo>
                      <a:lnTo>
                        <a:pt x="1062" y="1465"/>
                      </a:lnTo>
                      <a:lnTo>
                        <a:pt x="1111" y="1495"/>
                      </a:lnTo>
                      <a:lnTo>
                        <a:pt x="1162" y="1524"/>
                      </a:lnTo>
                      <a:lnTo>
                        <a:pt x="1212" y="1554"/>
                      </a:lnTo>
                      <a:lnTo>
                        <a:pt x="1265" y="1583"/>
                      </a:lnTo>
                      <a:lnTo>
                        <a:pt x="1318" y="1612"/>
                      </a:lnTo>
                      <a:lnTo>
                        <a:pt x="1373" y="1641"/>
                      </a:lnTo>
                      <a:lnTo>
                        <a:pt x="1428" y="1669"/>
                      </a:lnTo>
                      <a:lnTo>
                        <a:pt x="1484" y="1697"/>
                      </a:lnTo>
                      <a:lnTo>
                        <a:pt x="1541" y="1725"/>
                      </a:lnTo>
                      <a:lnTo>
                        <a:pt x="1600" y="1753"/>
                      </a:lnTo>
                      <a:lnTo>
                        <a:pt x="1658" y="1779"/>
                      </a:lnTo>
                      <a:lnTo>
                        <a:pt x="1718" y="1807"/>
                      </a:lnTo>
                      <a:lnTo>
                        <a:pt x="1779" y="1834"/>
                      </a:lnTo>
                      <a:lnTo>
                        <a:pt x="1841" y="1860"/>
                      </a:lnTo>
                      <a:lnTo>
                        <a:pt x="1904" y="1887"/>
                      </a:lnTo>
                      <a:lnTo>
                        <a:pt x="1967" y="1913"/>
                      </a:lnTo>
                      <a:lnTo>
                        <a:pt x="2030" y="1939"/>
                      </a:lnTo>
                      <a:lnTo>
                        <a:pt x="2096" y="1965"/>
                      </a:lnTo>
                      <a:lnTo>
                        <a:pt x="2162" y="1990"/>
                      </a:lnTo>
                      <a:lnTo>
                        <a:pt x="2229" y="2014"/>
                      </a:lnTo>
                      <a:lnTo>
                        <a:pt x="2297" y="2039"/>
                      </a:lnTo>
                      <a:lnTo>
                        <a:pt x="2365" y="2064"/>
                      </a:lnTo>
                      <a:lnTo>
                        <a:pt x="2436" y="2088"/>
                      </a:lnTo>
                      <a:lnTo>
                        <a:pt x="2506" y="2112"/>
                      </a:lnTo>
                      <a:lnTo>
                        <a:pt x="2577" y="2136"/>
                      </a:lnTo>
                      <a:lnTo>
                        <a:pt x="2649" y="2158"/>
                      </a:lnTo>
                      <a:lnTo>
                        <a:pt x="2721" y="2182"/>
                      </a:lnTo>
                      <a:lnTo>
                        <a:pt x="2794" y="2204"/>
                      </a:lnTo>
                      <a:lnTo>
                        <a:pt x="2869" y="2227"/>
                      </a:lnTo>
                      <a:lnTo>
                        <a:pt x="2944" y="2248"/>
                      </a:lnTo>
                      <a:lnTo>
                        <a:pt x="3020" y="2270"/>
                      </a:lnTo>
                      <a:lnTo>
                        <a:pt x="3173" y="2314"/>
                      </a:lnTo>
                      <a:lnTo>
                        <a:pt x="3331" y="2355"/>
                      </a:lnTo>
                      <a:lnTo>
                        <a:pt x="3491" y="2394"/>
                      </a:lnTo>
                      <a:lnTo>
                        <a:pt x="3653" y="2434"/>
                      </a:lnTo>
                      <a:lnTo>
                        <a:pt x="3819" y="2471"/>
                      </a:lnTo>
                      <a:lnTo>
                        <a:pt x="3987" y="2507"/>
                      </a:lnTo>
                      <a:lnTo>
                        <a:pt x="4158" y="2541"/>
                      </a:lnTo>
                      <a:lnTo>
                        <a:pt x="4331" y="2574"/>
                      </a:lnTo>
                      <a:lnTo>
                        <a:pt x="4507" y="2606"/>
                      </a:lnTo>
                      <a:lnTo>
                        <a:pt x="4686" y="2638"/>
                      </a:lnTo>
                      <a:lnTo>
                        <a:pt x="4866" y="2666"/>
                      </a:lnTo>
                      <a:lnTo>
                        <a:pt x="5049" y="2693"/>
                      </a:lnTo>
                      <a:lnTo>
                        <a:pt x="5235" y="2719"/>
                      </a:lnTo>
                      <a:lnTo>
                        <a:pt x="5422" y="2744"/>
                      </a:lnTo>
                      <a:lnTo>
                        <a:pt x="5612" y="2767"/>
                      </a:lnTo>
                      <a:lnTo>
                        <a:pt x="5804" y="2789"/>
                      </a:lnTo>
                      <a:lnTo>
                        <a:pt x="5998" y="2808"/>
                      </a:lnTo>
                      <a:lnTo>
                        <a:pt x="6193" y="2827"/>
                      </a:lnTo>
                      <a:lnTo>
                        <a:pt x="6391" y="2843"/>
                      </a:lnTo>
                      <a:lnTo>
                        <a:pt x="6591" y="2858"/>
                      </a:lnTo>
                      <a:lnTo>
                        <a:pt x="6792" y="2871"/>
                      </a:lnTo>
                      <a:lnTo>
                        <a:pt x="6995" y="2883"/>
                      </a:lnTo>
                      <a:lnTo>
                        <a:pt x="7200" y="2892"/>
                      </a:lnTo>
                      <a:lnTo>
                        <a:pt x="7407" y="2900"/>
                      </a:lnTo>
                      <a:lnTo>
                        <a:pt x="7614" y="2907"/>
                      </a:lnTo>
                      <a:lnTo>
                        <a:pt x="7823" y="2912"/>
                      </a:lnTo>
                      <a:lnTo>
                        <a:pt x="8034" y="2915"/>
                      </a:lnTo>
                      <a:lnTo>
                        <a:pt x="8246" y="2915"/>
                      </a:lnTo>
                      <a:lnTo>
                        <a:pt x="8246" y="2815"/>
                      </a:lnTo>
                      <a:lnTo>
                        <a:pt x="8034" y="2813"/>
                      </a:lnTo>
                      <a:lnTo>
                        <a:pt x="7825" y="2811"/>
                      </a:lnTo>
                      <a:lnTo>
                        <a:pt x="7617" y="2807"/>
                      </a:lnTo>
                      <a:lnTo>
                        <a:pt x="7410" y="2801"/>
                      </a:lnTo>
                      <a:lnTo>
                        <a:pt x="7205" y="2793"/>
                      </a:lnTo>
                      <a:lnTo>
                        <a:pt x="7000" y="2782"/>
                      </a:lnTo>
                      <a:lnTo>
                        <a:pt x="6798" y="2771"/>
                      </a:lnTo>
                      <a:lnTo>
                        <a:pt x="6597" y="2758"/>
                      </a:lnTo>
                      <a:lnTo>
                        <a:pt x="6400" y="2743"/>
                      </a:lnTo>
                      <a:lnTo>
                        <a:pt x="6203" y="2727"/>
                      </a:lnTo>
                      <a:lnTo>
                        <a:pt x="6008" y="2709"/>
                      </a:lnTo>
                      <a:lnTo>
                        <a:pt x="5814" y="2688"/>
                      </a:lnTo>
                      <a:lnTo>
                        <a:pt x="5623" y="2668"/>
                      </a:lnTo>
                      <a:lnTo>
                        <a:pt x="5435" y="2645"/>
                      </a:lnTo>
                      <a:lnTo>
                        <a:pt x="5248" y="2620"/>
                      </a:lnTo>
                      <a:lnTo>
                        <a:pt x="5064" y="2594"/>
                      </a:lnTo>
                      <a:lnTo>
                        <a:pt x="4881" y="2567"/>
                      </a:lnTo>
                      <a:lnTo>
                        <a:pt x="4702" y="2538"/>
                      </a:lnTo>
                      <a:lnTo>
                        <a:pt x="4524" y="2508"/>
                      </a:lnTo>
                      <a:lnTo>
                        <a:pt x="4350" y="2476"/>
                      </a:lnTo>
                      <a:lnTo>
                        <a:pt x="4176" y="2443"/>
                      </a:lnTo>
                      <a:lnTo>
                        <a:pt x="4007" y="2409"/>
                      </a:lnTo>
                      <a:lnTo>
                        <a:pt x="3839" y="2373"/>
                      </a:lnTo>
                      <a:lnTo>
                        <a:pt x="3675" y="2335"/>
                      </a:lnTo>
                      <a:lnTo>
                        <a:pt x="3514" y="2297"/>
                      </a:lnTo>
                      <a:lnTo>
                        <a:pt x="3355" y="2258"/>
                      </a:lnTo>
                      <a:lnTo>
                        <a:pt x="3199" y="2216"/>
                      </a:lnTo>
                      <a:lnTo>
                        <a:pt x="3047" y="2174"/>
                      </a:lnTo>
                      <a:lnTo>
                        <a:pt x="2971" y="2152"/>
                      </a:lnTo>
                      <a:lnTo>
                        <a:pt x="2897" y="2130"/>
                      </a:lnTo>
                      <a:lnTo>
                        <a:pt x="2824" y="2109"/>
                      </a:lnTo>
                      <a:lnTo>
                        <a:pt x="2751" y="2086"/>
                      </a:lnTo>
                      <a:lnTo>
                        <a:pt x="2679" y="2063"/>
                      </a:lnTo>
                      <a:lnTo>
                        <a:pt x="2608" y="2040"/>
                      </a:lnTo>
                      <a:lnTo>
                        <a:pt x="2538" y="2016"/>
                      </a:lnTo>
                      <a:lnTo>
                        <a:pt x="2467" y="1993"/>
                      </a:lnTo>
                      <a:lnTo>
                        <a:pt x="2398" y="1969"/>
                      </a:lnTo>
                      <a:lnTo>
                        <a:pt x="2330" y="1945"/>
                      </a:lnTo>
                      <a:lnTo>
                        <a:pt x="2263" y="1920"/>
                      </a:lnTo>
                      <a:lnTo>
                        <a:pt x="2197" y="1896"/>
                      </a:lnTo>
                      <a:lnTo>
                        <a:pt x="2132" y="1871"/>
                      </a:lnTo>
                      <a:lnTo>
                        <a:pt x="2068" y="1846"/>
                      </a:lnTo>
                      <a:lnTo>
                        <a:pt x="2004" y="1820"/>
                      </a:lnTo>
                      <a:lnTo>
                        <a:pt x="1941" y="1794"/>
                      </a:lnTo>
                      <a:lnTo>
                        <a:pt x="1880" y="1768"/>
                      </a:lnTo>
                      <a:lnTo>
                        <a:pt x="1819" y="1742"/>
                      </a:lnTo>
                      <a:lnTo>
                        <a:pt x="1758" y="1715"/>
                      </a:lnTo>
                      <a:lnTo>
                        <a:pt x="1700" y="1688"/>
                      </a:lnTo>
                      <a:lnTo>
                        <a:pt x="1642" y="1661"/>
                      </a:lnTo>
                      <a:lnTo>
                        <a:pt x="1584" y="1635"/>
                      </a:lnTo>
                      <a:lnTo>
                        <a:pt x="1529" y="1607"/>
                      </a:lnTo>
                      <a:lnTo>
                        <a:pt x="1473" y="1580"/>
                      </a:lnTo>
                      <a:lnTo>
                        <a:pt x="1418" y="1552"/>
                      </a:lnTo>
                      <a:lnTo>
                        <a:pt x="1366" y="1523"/>
                      </a:lnTo>
                      <a:lnTo>
                        <a:pt x="1313" y="1495"/>
                      </a:lnTo>
                      <a:lnTo>
                        <a:pt x="1262" y="1466"/>
                      </a:lnTo>
                      <a:lnTo>
                        <a:pt x="1211" y="1437"/>
                      </a:lnTo>
                      <a:lnTo>
                        <a:pt x="1162" y="1408"/>
                      </a:lnTo>
                      <a:lnTo>
                        <a:pt x="1113" y="1379"/>
                      </a:lnTo>
                      <a:lnTo>
                        <a:pt x="1066" y="1350"/>
                      </a:lnTo>
                      <a:lnTo>
                        <a:pt x="1020" y="1320"/>
                      </a:lnTo>
                      <a:lnTo>
                        <a:pt x="975" y="1290"/>
                      </a:lnTo>
                      <a:lnTo>
                        <a:pt x="931" y="1260"/>
                      </a:lnTo>
                      <a:lnTo>
                        <a:pt x="887" y="1230"/>
                      </a:lnTo>
                      <a:lnTo>
                        <a:pt x="845" y="1199"/>
                      </a:lnTo>
                      <a:lnTo>
                        <a:pt x="804" y="1169"/>
                      </a:lnTo>
                      <a:lnTo>
                        <a:pt x="765" y="1138"/>
                      </a:lnTo>
                      <a:lnTo>
                        <a:pt x="726" y="1107"/>
                      </a:lnTo>
                      <a:lnTo>
                        <a:pt x="688" y="1076"/>
                      </a:lnTo>
                      <a:lnTo>
                        <a:pt x="651" y="1045"/>
                      </a:lnTo>
                      <a:lnTo>
                        <a:pt x="616" y="1014"/>
                      </a:lnTo>
                      <a:lnTo>
                        <a:pt x="581" y="981"/>
                      </a:lnTo>
                      <a:lnTo>
                        <a:pt x="548" y="949"/>
                      </a:lnTo>
                      <a:lnTo>
                        <a:pt x="516" y="918"/>
                      </a:lnTo>
                      <a:lnTo>
                        <a:pt x="485" y="886"/>
                      </a:lnTo>
                      <a:lnTo>
                        <a:pt x="456" y="854"/>
                      </a:lnTo>
                      <a:lnTo>
                        <a:pt x="427" y="821"/>
                      </a:lnTo>
                      <a:lnTo>
                        <a:pt x="400" y="789"/>
                      </a:lnTo>
                      <a:lnTo>
                        <a:pt x="373" y="757"/>
                      </a:lnTo>
                      <a:lnTo>
                        <a:pt x="348" y="724"/>
                      </a:lnTo>
                      <a:lnTo>
                        <a:pt x="324" y="691"/>
                      </a:lnTo>
                      <a:lnTo>
                        <a:pt x="301" y="659"/>
                      </a:lnTo>
                      <a:lnTo>
                        <a:pt x="280" y="625"/>
                      </a:lnTo>
                      <a:lnTo>
                        <a:pt x="260" y="592"/>
                      </a:lnTo>
                      <a:lnTo>
                        <a:pt x="240" y="559"/>
                      </a:lnTo>
                      <a:lnTo>
                        <a:pt x="223" y="526"/>
                      </a:lnTo>
                      <a:lnTo>
                        <a:pt x="205" y="492"/>
                      </a:lnTo>
                      <a:lnTo>
                        <a:pt x="190" y="459"/>
                      </a:lnTo>
                      <a:lnTo>
                        <a:pt x="175" y="426"/>
                      </a:lnTo>
                      <a:lnTo>
                        <a:pt x="163" y="391"/>
                      </a:lnTo>
                      <a:lnTo>
                        <a:pt x="150" y="358"/>
                      </a:lnTo>
                      <a:lnTo>
                        <a:pt x="140" y="324"/>
                      </a:lnTo>
                      <a:lnTo>
                        <a:pt x="131" y="290"/>
                      </a:lnTo>
                      <a:lnTo>
                        <a:pt x="123" y="256"/>
                      </a:lnTo>
                      <a:lnTo>
                        <a:pt x="115" y="223"/>
                      </a:lnTo>
                      <a:lnTo>
                        <a:pt x="110" y="189"/>
                      </a:lnTo>
                      <a:lnTo>
                        <a:pt x="106" y="154"/>
                      </a:lnTo>
                      <a:lnTo>
                        <a:pt x="102" y="120"/>
                      </a:lnTo>
                      <a:lnTo>
                        <a:pt x="101" y="85"/>
                      </a:lnTo>
                      <a:lnTo>
                        <a:pt x="100" y="51"/>
                      </a:lnTo>
                      <a:lnTo>
                        <a:pt x="100" y="51"/>
                      </a:lnTo>
                      <a:lnTo>
                        <a:pt x="100" y="51"/>
                      </a:lnTo>
                      <a:lnTo>
                        <a:pt x="100" y="45"/>
                      </a:lnTo>
                      <a:lnTo>
                        <a:pt x="99" y="39"/>
                      </a:lnTo>
                      <a:lnTo>
                        <a:pt x="98" y="33"/>
                      </a:lnTo>
                      <a:lnTo>
                        <a:pt x="96" y="29"/>
                      </a:lnTo>
                      <a:lnTo>
                        <a:pt x="94" y="24"/>
                      </a:lnTo>
                      <a:lnTo>
                        <a:pt x="91" y="20"/>
                      </a:lnTo>
                      <a:lnTo>
                        <a:pt x="88" y="17"/>
                      </a:lnTo>
                      <a:lnTo>
                        <a:pt x="85" y="13"/>
                      </a:lnTo>
                      <a:lnTo>
                        <a:pt x="77" y="7"/>
                      </a:lnTo>
                      <a:lnTo>
                        <a:pt x="68" y="3"/>
                      </a:lnTo>
                      <a:lnTo>
                        <a:pt x="60" y="1"/>
                      </a:lnTo>
                      <a:lnTo>
                        <a:pt x="51" y="0"/>
                      </a:lnTo>
                      <a:lnTo>
                        <a:pt x="40" y="1"/>
                      </a:lnTo>
                      <a:lnTo>
                        <a:pt x="32" y="3"/>
                      </a:lnTo>
                      <a:lnTo>
                        <a:pt x="23" y="7"/>
                      </a:lnTo>
                      <a:lnTo>
                        <a:pt x="15" y="13"/>
                      </a:lnTo>
                      <a:lnTo>
                        <a:pt x="12" y="17"/>
                      </a:lnTo>
                      <a:lnTo>
                        <a:pt x="9" y="20"/>
                      </a:lnTo>
                      <a:lnTo>
                        <a:pt x="6" y="24"/>
                      </a:lnTo>
                      <a:lnTo>
                        <a:pt x="4" y="29"/>
                      </a:lnTo>
                      <a:lnTo>
                        <a:pt x="2" y="33"/>
                      </a:lnTo>
                      <a:lnTo>
                        <a:pt x="1" y="39"/>
                      </a:lnTo>
                      <a:lnTo>
                        <a:pt x="0" y="45"/>
                      </a:lnTo>
                      <a:lnTo>
                        <a:pt x="0" y="51"/>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60" name="Freeform 202"/>
                <p:cNvSpPr>
                  <a:spLocks/>
                </p:cNvSpPr>
                <p:nvPr>
                  <p:custDataLst>
                    <p:tags r:id="rId109"/>
                  </p:custDataLst>
                </p:nvPr>
              </p:nvSpPr>
              <p:spPr bwMode="auto">
                <a:xfrm>
                  <a:off x="369" y="3354"/>
                  <a:ext cx="361" cy="115"/>
                </a:xfrm>
                <a:custGeom>
                  <a:avLst/>
                  <a:gdLst>
                    <a:gd name="T0" fmla="*/ 7823 w 8296"/>
                    <a:gd name="T1" fmla="*/ 4 h 2865"/>
                    <a:gd name="T2" fmla="*/ 6995 w 8296"/>
                    <a:gd name="T3" fmla="*/ 33 h 2865"/>
                    <a:gd name="T4" fmla="*/ 6193 w 8296"/>
                    <a:gd name="T5" fmla="*/ 89 h 2865"/>
                    <a:gd name="T6" fmla="*/ 5422 w 8296"/>
                    <a:gd name="T7" fmla="*/ 171 h 2865"/>
                    <a:gd name="T8" fmla="*/ 4686 w 8296"/>
                    <a:gd name="T9" fmla="*/ 278 h 2865"/>
                    <a:gd name="T10" fmla="*/ 3987 w 8296"/>
                    <a:gd name="T11" fmla="*/ 409 h 2865"/>
                    <a:gd name="T12" fmla="*/ 3331 w 8296"/>
                    <a:gd name="T13" fmla="*/ 561 h 2865"/>
                    <a:gd name="T14" fmla="*/ 2721 w 8296"/>
                    <a:gd name="T15" fmla="*/ 734 h 2865"/>
                    <a:gd name="T16" fmla="*/ 2436 w 8296"/>
                    <a:gd name="T17" fmla="*/ 827 h 2865"/>
                    <a:gd name="T18" fmla="*/ 2162 w 8296"/>
                    <a:gd name="T19" fmla="*/ 925 h 2865"/>
                    <a:gd name="T20" fmla="*/ 1904 w 8296"/>
                    <a:gd name="T21" fmla="*/ 1029 h 2865"/>
                    <a:gd name="T22" fmla="*/ 1658 w 8296"/>
                    <a:gd name="T23" fmla="*/ 1135 h 2865"/>
                    <a:gd name="T24" fmla="*/ 1428 w 8296"/>
                    <a:gd name="T25" fmla="*/ 1247 h 2865"/>
                    <a:gd name="T26" fmla="*/ 1212 w 8296"/>
                    <a:gd name="T27" fmla="*/ 1362 h 2865"/>
                    <a:gd name="T28" fmla="*/ 1013 w 8296"/>
                    <a:gd name="T29" fmla="*/ 1481 h 2865"/>
                    <a:gd name="T30" fmla="*/ 830 w 8296"/>
                    <a:gd name="T31" fmla="*/ 1604 h 2865"/>
                    <a:gd name="T32" fmla="*/ 663 w 8296"/>
                    <a:gd name="T33" fmla="*/ 1731 h 2865"/>
                    <a:gd name="T34" fmla="*/ 513 w 8296"/>
                    <a:gd name="T35" fmla="*/ 1861 h 2865"/>
                    <a:gd name="T36" fmla="*/ 381 w 8296"/>
                    <a:gd name="T37" fmla="*/ 1995 h 2865"/>
                    <a:gd name="T38" fmla="*/ 268 w 8296"/>
                    <a:gd name="T39" fmla="*/ 2131 h 2865"/>
                    <a:gd name="T40" fmla="*/ 174 w 8296"/>
                    <a:gd name="T41" fmla="*/ 2272 h 2865"/>
                    <a:gd name="T42" fmla="*/ 99 w 8296"/>
                    <a:gd name="T43" fmla="*/ 2416 h 2865"/>
                    <a:gd name="T44" fmla="*/ 44 w 8296"/>
                    <a:gd name="T45" fmla="*/ 2563 h 2865"/>
                    <a:gd name="T46" fmla="*/ 11 w 8296"/>
                    <a:gd name="T47" fmla="*/ 2713 h 2865"/>
                    <a:gd name="T48" fmla="*/ 0 w 8296"/>
                    <a:gd name="T49" fmla="*/ 2865 h 2865"/>
                    <a:gd name="T50" fmla="*/ 106 w 8296"/>
                    <a:gd name="T51" fmla="*/ 2761 h 2865"/>
                    <a:gd name="T52" fmla="*/ 131 w 8296"/>
                    <a:gd name="T53" fmla="*/ 2625 h 2865"/>
                    <a:gd name="T54" fmla="*/ 175 w 8296"/>
                    <a:gd name="T55" fmla="*/ 2490 h 2865"/>
                    <a:gd name="T56" fmla="*/ 240 w 8296"/>
                    <a:gd name="T57" fmla="*/ 2357 h 2865"/>
                    <a:gd name="T58" fmla="*/ 324 w 8296"/>
                    <a:gd name="T59" fmla="*/ 2224 h 2865"/>
                    <a:gd name="T60" fmla="*/ 427 w 8296"/>
                    <a:gd name="T61" fmla="*/ 2094 h 2865"/>
                    <a:gd name="T62" fmla="*/ 548 w 8296"/>
                    <a:gd name="T63" fmla="*/ 1966 h 2865"/>
                    <a:gd name="T64" fmla="*/ 688 w 8296"/>
                    <a:gd name="T65" fmla="*/ 1839 h 2865"/>
                    <a:gd name="T66" fmla="*/ 845 w 8296"/>
                    <a:gd name="T67" fmla="*/ 1716 h 2865"/>
                    <a:gd name="T68" fmla="*/ 1020 w 8296"/>
                    <a:gd name="T69" fmla="*/ 1596 h 2865"/>
                    <a:gd name="T70" fmla="*/ 1211 w 8296"/>
                    <a:gd name="T71" fmla="*/ 1478 h 2865"/>
                    <a:gd name="T72" fmla="*/ 1418 w 8296"/>
                    <a:gd name="T73" fmla="*/ 1364 h 2865"/>
                    <a:gd name="T74" fmla="*/ 1642 w 8296"/>
                    <a:gd name="T75" fmla="*/ 1253 h 2865"/>
                    <a:gd name="T76" fmla="*/ 1880 w 8296"/>
                    <a:gd name="T77" fmla="*/ 1147 h 2865"/>
                    <a:gd name="T78" fmla="*/ 2132 w 8296"/>
                    <a:gd name="T79" fmla="*/ 1044 h 2865"/>
                    <a:gd name="T80" fmla="*/ 2398 w 8296"/>
                    <a:gd name="T81" fmla="*/ 946 h 2865"/>
                    <a:gd name="T82" fmla="*/ 2679 w 8296"/>
                    <a:gd name="T83" fmla="*/ 852 h 2865"/>
                    <a:gd name="T84" fmla="*/ 3199 w 8296"/>
                    <a:gd name="T85" fmla="*/ 700 h 2865"/>
                    <a:gd name="T86" fmla="*/ 3839 w 8296"/>
                    <a:gd name="T87" fmla="*/ 543 h 2865"/>
                    <a:gd name="T88" fmla="*/ 4524 w 8296"/>
                    <a:gd name="T89" fmla="*/ 408 h 2865"/>
                    <a:gd name="T90" fmla="*/ 5248 w 8296"/>
                    <a:gd name="T91" fmla="*/ 295 h 2865"/>
                    <a:gd name="T92" fmla="*/ 6008 w 8296"/>
                    <a:gd name="T93" fmla="*/ 207 h 2865"/>
                    <a:gd name="T94" fmla="*/ 6798 w 8296"/>
                    <a:gd name="T95" fmla="*/ 144 h 2865"/>
                    <a:gd name="T96" fmla="*/ 7617 w 8296"/>
                    <a:gd name="T97" fmla="*/ 109 h 2865"/>
                    <a:gd name="T98" fmla="*/ 8246 w 8296"/>
                    <a:gd name="T99" fmla="*/ 100 h 2865"/>
                    <a:gd name="T100" fmla="*/ 8263 w 8296"/>
                    <a:gd name="T101" fmla="*/ 98 h 2865"/>
                    <a:gd name="T102" fmla="*/ 8280 w 8296"/>
                    <a:gd name="T103" fmla="*/ 88 h 2865"/>
                    <a:gd name="T104" fmla="*/ 8295 w 8296"/>
                    <a:gd name="T105" fmla="*/ 60 h 2865"/>
                    <a:gd name="T106" fmla="*/ 8289 w 8296"/>
                    <a:gd name="T107" fmla="*/ 24 h 2865"/>
                    <a:gd name="T108" fmla="*/ 8272 w 8296"/>
                    <a:gd name="T109" fmla="*/ 6 h 2865"/>
                    <a:gd name="T110" fmla="*/ 8252 w 8296"/>
                    <a:gd name="T111" fmla="*/ 0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5">
                      <a:moveTo>
                        <a:pt x="8246" y="0"/>
                      </a:moveTo>
                      <a:lnTo>
                        <a:pt x="8246" y="0"/>
                      </a:lnTo>
                      <a:lnTo>
                        <a:pt x="8034" y="1"/>
                      </a:lnTo>
                      <a:lnTo>
                        <a:pt x="7823" y="4"/>
                      </a:lnTo>
                      <a:lnTo>
                        <a:pt x="7614" y="8"/>
                      </a:lnTo>
                      <a:lnTo>
                        <a:pt x="7407" y="14"/>
                      </a:lnTo>
                      <a:lnTo>
                        <a:pt x="7200" y="23"/>
                      </a:lnTo>
                      <a:lnTo>
                        <a:pt x="6995" y="33"/>
                      </a:lnTo>
                      <a:lnTo>
                        <a:pt x="6792" y="45"/>
                      </a:lnTo>
                      <a:lnTo>
                        <a:pt x="6591" y="57"/>
                      </a:lnTo>
                      <a:lnTo>
                        <a:pt x="6391" y="72"/>
                      </a:lnTo>
                      <a:lnTo>
                        <a:pt x="6193" y="89"/>
                      </a:lnTo>
                      <a:lnTo>
                        <a:pt x="5998" y="108"/>
                      </a:lnTo>
                      <a:lnTo>
                        <a:pt x="5804" y="127"/>
                      </a:lnTo>
                      <a:lnTo>
                        <a:pt x="5612" y="148"/>
                      </a:lnTo>
                      <a:lnTo>
                        <a:pt x="5422" y="171"/>
                      </a:lnTo>
                      <a:lnTo>
                        <a:pt x="5235" y="196"/>
                      </a:lnTo>
                      <a:lnTo>
                        <a:pt x="5049" y="221"/>
                      </a:lnTo>
                      <a:lnTo>
                        <a:pt x="4866" y="249"/>
                      </a:lnTo>
                      <a:lnTo>
                        <a:pt x="4686" y="278"/>
                      </a:lnTo>
                      <a:lnTo>
                        <a:pt x="4507" y="308"/>
                      </a:lnTo>
                      <a:lnTo>
                        <a:pt x="4331" y="341"/>
                      </a:lnTo>
                      <a:lnTo>
                        <a:pt x="4158" y="374"/>
                      </a:lnTo>
                      <a:lnTo>
                        <a:pt x="3987" y="409"/>
                      </a:lnTo>
                      <a:lnTo>
                        <a:pt x="3819" y="445"/>
                      </a:lnTo>
                      <a:lnTo>
                        <a:pt x="3653" y="482"/>
                      </a:lnTo>
                      <a:lnTo>
                        <a:pt x="3491" y="521"/>
                      </a:lnTo>
                      <a:lnTo>
                        <a:pt x="3331" y="561"/>
                      </a:lnTo>
                      <a:lnTo>
                        <a:pt x="3173" y="602"/>
                      </a:lnTo>
                      <a:lnTo>
                        <a:pt x="3020" y="645"/>
                      </a:lnTo>
                      <a:lnTo>
                        <a:pt x="2869" y="689"/>
                      </a:lnTo>
                      <a:lnTo>
                        <a:pt x="2721" y="734"/>
                      </a:lnTo>
                      <a:lnTo>
                        <a:pt x="2649" y="757"/>
                      </a:lnTo>
                      <a:lnTo>
                        <a:pt x="2577" y="780"/>
                      </a:lnTo>
                      <a:lnTo>
                        <a:pt x="2506" y="803"/>
                      </a:lnTo>
                      <a:lnTo>
                        <a:pt x="2436" y="827"/>
                      </a:lnTo>
                      <a:lnTo>
                        <a:pt x="2365" y="852"/>
                      </a:lnTo>
                      <a:lnTo>
                        <a:pt x="2297" y="876"/>
                      </a:lnTo>
                      <a:lnTo>
                        <a:pt x="2229" y="900"/>
                      </a:lnTo>
                      <a:lnTo>
                        <a:pt x="2162" y="925"/>
                      </a:lnTo>
                      <a:lnTo>
                        <a:pt x="2096" y="951"/>
                      </a:lnTo>
                      <a:lnTo>
                        <a:pt x="2030" y="976"/>
                      </a:lnTo>
                      <a:lnTo>
                        <a:pt x="1967" y="1002"/>
                      </a:lnTo>
                      <a:lnTo>
                        <a:pt x="1904" y="1029"/>
                      </a:lnTo>
                      <a:lnTo>
                        <a:pt x="1841" y="1055"/>
                      </a:lnTo>
                      <a:lnTo>
                        <a:pt x="1779" y="1082"/>
                      </a:lnTo>
                      <a:lnTo>
                        <a:pt x="1718" y="1109"/>
                      </a:lnTo>
                      <a:lnTo>
                        <a:pt x="1658" y="1135"/>
                      </a:lnTo>
                      <a:lnTo>
                        <a:pt x="1600" y="1163"/>
                      </a:lnTo>
                      <a:lnTo>
                        <a:pt x="1541" y="1190"/>
                      </a:lnTo>
                      <a:lnTo>
                        <a:pt x="1484" y="1218"/>
                      </a:lnTo>
                      <a:lnTo>
                        <a:pt x="1428" y="1247"/>
                      </a:lnTo>
                      <a:lnTo>
                        <a:pt x="1373" y="1275"/>
                      </a:lnTo>
                      <a:lnTo>
                        <a:pt x="1318" y="1304"/>
                      </a:lnTo>
                      <a:lnTo>
                        <a:pt x="1265" y="1333"/>
                      </a:lnTo>
                      <a:lnTo>
                        <a:pt x="1212" y="1362"/>
                      </a:lnTo>
                      <a:lnTo>
                        <a:pt x="1162" y="1391"/>
                      </a:lnTo>
                      <a:lnTo>
                        <a:pt x="1111" y="1421"/>
                      </a:lnTo>
                      <a:lnTo>
                        <a:pt x="1062" y="1451"/>
                      </a:lnTo>
                      <a:lnTo>
                        <a:pt x="1013" y="1481"/>
                      </a:lnTo>
                      <a:lnTo>
                        <a:pt x="966" y="1511"/>
                      </a:lnTo>
                      <a:lnTo>
                        <a:pt x="919" y="1542"/>
                      </a:lnTo>
                      <a:lnTo>
                        <a:pt x="874" y="1573"/>
                      </a:lnTo>
                      <a:lnTo>
                        <a:pt x="830" y="1604"/>
                      </a:lnTo>
                      <a:lnTo>
                        <a:pt x="786" y="1635"/>
                      </a:lnTo>
                      <a:lnTo>
                        <a:pt x="744" y="1666"/>
                      </a:lnTo>
                      <a:lnTo>
                        <a:pt x="703" y="1698"/>
                      </a:lnTo>
                      <a:lnTo>
                        <a:pt x="663" y="1731"/>
                      </a:lnTo>
                      <a:lnTo>
                        <a:pt x="624" y="1763"/>
                      </a:lnTo>
                      <a:lnTo>
                        <a:pt x="586" y="1795"/>
                      </a:lnTo>
                      <a:lnTo>
                        <a:pt x="549" y="1828"/>
                      </a:lnTo>
                      <a:lnTo>
                        <a:pt x="513" y="1861"/>
                      </a:lnTo>
                      <a:lnTo>
                        <a:pt x="479" y="1894"/>
                      </a:lnTo>
                      <a:lnTo>
                        <a:pt x="445" y="1927"/>
                      </a:lnTo>
                      <a:lnTo>
                        <a:pt x="413" y="1960"/>
                      </a:lnTo>
                      <a:lnTo>
                        <a:pt x="381" y="1995"/>
                      </a:lnTo>
                      <a:lnTo>
                        <a:pt x="351" y="2029"/>
                      </a:lnTo>
                      <a:lnTo>
                        <a:pt x="323" y="2063"/>
                      </a:lnTo>
                      <a:lnTo>
                        <a:pt x="295" y="2097"/>
                      </a:lnTo>
                      <a:lnTo>
                        <a:pt x="268" y="2131"/>
                      </a:lnTo>
                      <a:lnTo>
                        <a:pt x="243" y="2166"/>
                      </a:lnTo>
                      <a:lnTo>
                        <a:pt x="219" y="2202"/>
                      </a:lnTo>
                      <a:lnTo>
                        <a:pt x="196" y="2237"/>
                      </a:lnTo>
                      <a:lnTo>
                        <a:pt x="174" y="2272"/>
                      </a:lnTo>
                      <a:lnTo>
                        <a:pt x="154" y="2308"/>
                      </a:lnTo>
                      <a:lnTo>
                        <a:pt x="134" y="2343"/>
                      </a:lnTo>
                      <a:lnTo>
                        <a:pt x="115" y="2380"/>
                      </a:lnTo>
                      <a:lnTo>
                        <a:pt x="99" y="2416"/>
                      </a:lnTo>
                      <a:lnTo>
                        <a:pt x="83" y="2452"/>
                      </a:lnTo>
                      <a:lnTo>
                        <a:pt x="69" y="2489"/>
                      </a:lnTo>
                      <a:lnTo>
                        <a:pt x="56" y="2525"/>
                      </a:lnTo>
                      <a:lnTo>
                        <a:pt x="44" y="2563"/>
                      </a:lnTo>
                      <a:lnTo>
                        <a:pt x="34" y="2600"/>
                      </a:lnTo>
                      <a:lnTo>
                        <a:pt x="25" y="2637"/>
                      </a:lnTo>
                      <a:lnTo>
                        <a:pt x="18" y="2676"/>
                      </a:lnTo>
                      <a:lnTo>
                        <a:pt x="11" y="2713"/>
                      </a:lnTo>
                      <a:lnTo>
                        <a:pt x="6" y="2750"/>
                      </a:lnTo>
                      <a:lnTo>
                        <a:pt x="3" y="2788"/>
                      </a:lnTo>
                      <a:lnTo>
                        <a:pt x="1" y="2827"/>
                      </a:lnTo>
                      <a:lnTo>
                        <a:pt x="0" y="2865"/>
                      </a:lnTo>
                      <a:lnTo>
                        <a:pt x="100" y="2865"/>
                      </a:lnTo>
                      <a:lnTo>
                        <a:pt x="101" y="2830"/>
                      </a:lnTo>
                      <a:lnTo>
                        <a:pt x="102" y="2796"/>
                      </a:lnTo>
                      <a:lnTo>
                        <a:pt x="106" y="2761"/>
                      </a:lnTo>
                      <a:lnTo>
                        <a:pt x="110" y="2727"/>
                      </a:lnTo>
                      <a:lnTo>
                        <a:pt x="115" y="2693"/>
                      </a:lnTo>
                      <a:lnTo>
                        <a:pt x="123" y="2659"/>
                      </a:lnTo>
                      <a:lnTo>
                        <a:pt x="131" y="2625"/>
                      </a:lnTo>
                      <a:lnTo>
                        <a:pt x="140" y="2592"/>
                      </a:lnTo>
                      <a:lnTo>
                        <a:pt x="150" y="2558"/>
                      </a:lnTo>
                      <a:lnTo>
                        <a:pt x="163" y="2524"/>
                      </a:lnTo>
                      <a:lnTo>
                        <a:pt x="175" y="2490"/>
                      </a:lnTo>
                      <a:lnTo>
                        <a:pt x="190" y="2457"/>
                      </a:lnTo>
                      <a:lnTo>
                        <a:pt x="205" y="2423"/>
                      </a:lnTo>
                      <a:lnTo>
                        <a:pt x="223" y="2390"/>
                      </a:lnTo>
                      <a:lnTo>
                        <a:pt x="240" y="2357"/>
                      </a:lnTo>
                      <a:lnTo>
                        <a:pt x="260" y="2324"/>
                      </a:lnTo>
                      <a:lnTo>
                        <a:pt x="279" y="2291"/>
                      </a:lnTo>
                      <a:lnTo>
                        <a:pt x="301" y="2257"/>
                      </a:lnTo>
                      <a:lnTo>
                        <a:pt x="324" y="2224"/>
                      </a:lnTo>
                      <a:lnTo>
                        <a:pt x="348" y="2192"/>
                      </a:lnTo>
                      <a:lnTo>
                        <a:pt x="373" y="2159"/>
                      </a:lnTo>
                      <a:lnTo>
                        <a:pt x="400" y="2127"/>
                      </a:lnTo>
                      <a:lnTo>
                        <a:pt x="427" y="2094"/>
                      </a:lnTo>
                      <a:lnTo>
                        <a:pt x="456" y="2062"/>
                      </a:lnTo>
                      <a:lnTo>
                        <a:pt x="485" y="2030"/>
                      </a:lnTo>
                      <a:lnTo>
                        <a:pt x="516" y="1998"/>
                      </a:lnTo>
                      <a:lnTo>
                        <a:pt x="548" y="1966"/>
                      </a:lnTo>
                      <a:lnTo>
                        <a:pt x="581" y="1934"/>
                      </a:lnTo>
                      <a:lnTo>
                        <a:pt x="616" y="1902"/>
                      </a:lnTo>
                      <a:lnTo>
                        <a:pt x="651" y="1871"/>
                      </a:lnTo>
                      <a:lnTo>
                        <a:pt x="688" y="1839"/>
                      </a:lnTo>
                      <a:lnTo>
                        <a:pt x="726" y="1808"/>
                      </a:lnTo>
                      <a:lnTo>
                        <a:pt x="765" y="1777"/>
                      </a:lnTo>
                      <a:lnTo>
                        <a:pt x="804" y="1747"/>
                      </a:lnTo>
                      <a:lnTo>
                        <a:pt x="845" y="1716"/>
                      </a:lnTo>
                      <a:lnTo>
                        <a:pt x="887" y="1686"/>
                      </a:lnTo>
                      <a:lnTo>
                        <a:pt x="931" y="1656"/>
                      </a:lnTo>
                      <a:lnTo>
                        <a:pt x="975" y="1625"/>
                      </a:lnTo>
                      <a:lnTo>
                        <a:pt x="1020" y="1596"/>
                      </a:lnTo>
                      <a:lnTo>
                        <a:pt x="1066" y="1566"/>
                      </a:lnTo>
                      <a:lnTo>
                        <a:pt x="1113" y="1537"/>
                      </a:lnTo>
                      <a:lnTo>
                        <a:pt x="1162" y="1507"/>
                      </a:lnTo>
                      <a:lnTo>
                        <a:pt x="1211" y="1478"/>
                      </a:lnTo>
                      <a:lnTo>
                        <a:pt x="1262" y="1449"/>
                      </a:lnTo>
                      <a:lnTo>
                        <a:pt x="1313" y="1421"/>
                      </a:lnTo>
                      <a:lnTo>
                        <a:pt x="1366" y="1392"/>
                      </a:lnTo>
                      <a:lnTo>
                        <a:pt x="1418" y="1364"/>
                      </a:lnTo>
                      <a:lnTo>
                        <a:pt x="1473" y="1336"/>
                      </a:lnTo>
                      <a:lnTo>
                        <a:pt x="1529" y="1308"/>
                      </a:lnTo>
                      <a:lnTo>
                        <a:pt x="1584" y="1281"/>
                      </a:lnTo>
                      <a:lnTo>
                        <a:pt x="1642" y="1253"/>
                      </a:lnTo>
                      <a:lnTo>
                        <a:pt x="1700" y="1227"/>
                      </a:lnTo>
                      <a:lnTo>
                        <a:pt x="1758" y="1200"/>
                      </a:lnTo>
                      <a:lnTo>
                        <a:pt x="1819" y="1174"/>
                      </a:lnTo>
                      <a:lnTo>
                        <a:pt x="1880" y="1147"/>
                      </a:lnTo>
                      <a:lnTo>
                        <a:pt x="1941" y="1121"/>
                      </a:lnTo>
                      <a:lnTo>
                        <a:pt x="2004" y="1095"/>
                      </a:lnTo>
                      <a:lnTo>
                        <a:pt x="2068" y="1070"/>
                      </a:lnTo>
                      <a:lnTo>
                        <a:pt x="2132" y="1044"/>
                      </a:lnTo>
                      <a:lnTo>
                        <a:pt x="2197" y="1020"/>
                      </a:lnTo>
                      <a:lnTo>
                        <a:pt x="2263" y="995"/>
                      </a:lnTo>
                      <a:lnTo>
                        <a:pt x="2330" y="971"/>
                      </a:lnTo>
                      <a:lnTo>
                        <a:pt x="2398" y="946"/>
                      </a:lnTo>
                      <a:lnTo>
                        <a:pt x="2467" y="922"/>
                      </a:lnTo>
                      <a:lnTo>
                        <a:pt x="2538" y="898"/>
                      </a:lnTo>
                      <a:lnTo>
                        <a:pt x="2608" y="876"/>
                      </a:lnTo>
                      <a:lnTo>
                        <a:pt x="2679" y="852"/>
                      </a:lnTo>
                      <a:lnTo>
                        <a:pt x="2751" y="830"/>
                      </a:lnTo>
                      <a:lnTo>
                        <a:pt x="2897" y="785"/>
                      </a:lnTo>
                      <a:lnTo>
                        <a:pt x="3047" y="741"/>
                      </a:lnTo>
                      <a:lnTo>
                        <a:pt x="3199" y="700"/>
                      </a:lnTo>
                      <a:lnTo>
                        <a:pt x="3355" y="658"/>
                      </a:lnTo>
                      <a:lnTo>
                        <a:pt x="3514" y="619"/>
                      </a:lnTo>
                      <a:lnTo>
                        <a:pt x="3675" y="580"/>
                      </a:lnTo>
                      <a:lnTo>
                        <a:pt x="3839" y="543"/>
                      </a:lnTo>
                      <a:lnTo>
                        <a:pt x="4007" y="507"/>
                      </a:lnTo>
                      <a:lnTo>
                        <a:pt x="4176" y="473"/>
                      </a:lnTo>
                      <a:lnTo>
                        <a:pt x="4350" y="440"/>
                      </a:lnTo>
                      <a:lnTo>
                        <a:pt x="4524" y="408"/>
                      </a:lnTo>
                      <a:lnTo>
                        <a:pt x="4702" y="378"/>
                      </a:lnTo>
                      <a:lnTo>
                        <a:pt x="4881" y="349"/>
                      </a:lnTo>
                      <a:lnTo>
                        <a:pt x="5064" y="321"/>
                      </a:lnTo>
                      <a:lnTo>
                        <a:pt x="5248" y="295"/>
                      </a:lnTo>
                      <a:lnTo>
                        <a:pt x="5435" y="271"/>
                      </a:lnTo>
                      <a:lnTo>
                        <a:pt x="5623" y="248"/>
                      </a:lnTo>
                      <a:lnTo>
                        <a:pt x="5814" y="227"/>
                      </a:lnTo>
                      <a:lnTo>
                        <a:pt x="6008" y="207"/>
                      </a:lnTo>
                      <a:lnTo>
                        <a:pt x="6203" y="189"/>
                      </a:lnTo>
                      <a:lnTo>
                        <a:pt x="6400" y="173"/>
                      </a:lnTo>
                      <a:lnTo>
                        <a:pt x="6597" y="157"/>
                      </a:lnTo>
                      <a:lnTo>
                        <a:pt x="6798" y="144"/>
                      </a:lnTo>
                      <a:lnTo>
                        <a:pt x="7000" y="132"/>
                      </a:lnTo>
                      <a:lnTo>
                        <a:pt x="7205" y="123"/>
                      </a:lnTo>
                      <a:lnTo>
                        <a:pt x="7410" y="115"/>
                      </a:lnTo>
                      <a:lnTo>
                        <a:pt x="7617" y="109"/>
                      </a:lnTo>
                      <a:lnTo>
                        <a:pt x="7825" y="105"/>
                      </a:lnTo>
                      <a:lnTo>
                        <a:pt x="8034" y="101"/>
                      </a:lnTo>
                      <a:lnTo>
                        <a:pt x="8246" y="100"/>
                      </a:lnTo>
                      <a:lnTo>
                        <a:pt x="8246" y="100"/>
                      </a:lnTo>
                      <a:lnTo>
                        <a:pt x="8246" y="100"/>
                      </a:lnTo>
                      <a:lnTo>
                        <a:pt x="8252" y="100"/>
                      </a:lnTo>
                      <a:lnTo>
                        <a:pt x="8257" y="99"/>
                      </a:lnTo>
                      <a:lnTo>
                        <a:pt x="8263" y="98"/>
                      </a:lnTo>
                      <a:lnTo>
                        <a:pt x="8267" y="96"/>
                      </a:lnTo>
                      <a:lnTo>
                        <a:pt x="8272" y="94"/>
                      </a:lnTo>
                      <a:lnTo>
                        <a:pt x="8276" y="91"/>
                      </a:lnTo>
                      <a:lnTo>
                        <a:pt x="8280" y="88"/>
                      </a:lnTo>
                      <a:lnTo>
                        <a:pt x="8284" y="85"/>
                      </a:lnTo>
                      <a:lnTo>
                        <a:pt x="8289" y="78"/>
                      </a:lnTo>
                      <a:lnTo>
                        <a:pt x="8293" y="68"/>
                      </a:lnTo>
                      <a:lnTo>
                        <a:pt x="8295" y="60"/>
                      </a:lnTo>
                      <a:lnTo>
                        <a:pt x="8296" y="51"/>
                      </a:lnTo>
                      <a:lnTo>
                        <a:pt x="8295" y="41"/>
                      </a:lnTo>
                      <a:lnTo>
                        <a:pt x="8293" y="32"/>
                      </a:lnTo>
                      <a:lnTo>
                        <a:pt x="8289" y="24"/>
                      </a:lnTo>
                      <a:lnTo>
                        <a:pt x="8284" y="16"/>
                      </a:lnTo>
                      <a:lnTo>
                        <a:pt x="8280" y="12"/>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61" name="Freeform 203"/>
                <p:cNvSpPr>
                  <a:spLocks/>
                </p:cNvSpPr>
                <p:nvPr>
                  <p:custDataLst>
                    <p:tags r:id="rId110"/>
                  </p:custDataLst>
                </p:nvPr>
              </p:nvSpPr>
              <p:spPr bwMode="auto">
                <a:xfrm>
                  <a:off x="728" y="3354"/>
                  <a:ext cx="358" cy="115"/>
                </a:xfrm>
                <a:custGeom>
                  <a:avLst/>
                  <a:gdLst>
                    <a:gd name="T0" fmla="*/ 8239 w 8245"/>
                    <a:gd name="T1" fmla="*/ 2750 h 2865"/>
                    <a:gd name="T2" fmla="*/ 8211 w 8245"/>
                    <a:gd name="T3" fmla="*/ 2600 h 2865"/>
                    <a:gd name="T4" fmla="*/ 8162 w 8245"/>
                    <a:gd name="T5" fmla="*/ 2452 h 2865"/>
                    <a:gd name="T6" fmla="*/ 8091 w 8245"/>
                    <a:gd name="T7" fmla="*/ 2308 h 2865"/>
                    <a:gd name="T8" fmla="*/ 8002 w 8245"/>
                    <a:gd name="T9" fmla="*/ 2166 h 2865"/>
                    <a:gd name="T10" fmla="*/ 7894 w 8245"/>
                    <a:gd name="T11" fmla="*/ 2029 h 2865"/>
                    <a:gd name="T12" fmla="*/ 7766 w 8245"/>
                    <a:gd name="T13" fmla="*/ 1894 h 2865"/>
                    <a:gd name="T14" fmla="*/ 7620 w 8245"/>
                    <a:gd name="T15" fmla="*/ 1763 h 2865"/>
                    <a:gd name="T16" fmla="*/ 7459 w 8245"/>
                    <a:gd name="T17" fmla="*/ 1635 h 2865"/>
                    <a:gd name="T18" fmla="*/ 7279 w 8245"/>
                    <a:gd name="T19" fmla="*/ 1511 h 2865"/>
                    <a:gd name="T20" fmla="*/ 7083 w 8245"/>
                    <a:gd name="T21" fmla="*/ 1391 h 2865"/>
                    <a:gd name="T22" fmla="*/ 6872 w 8245"/>
                    <a:gd name="T23" fmla="*/ 1275 h 2865"/>
                    <a:gd name="T24" fmla="*/ 6645 w 8245"/>
                    <a:gd name="T25" fmla="*/ 1163 h 2865"/>
                    <a:gd name="T26" fmla="*/ 6404 w 8245"/>
                    <a:gd name="T27" fmla="*/ 1055 h 2865"/>
                    <a:gd name="T28" fmla="*/ 6149 w 8245"/>
                    <a:gd name="T29" fmla="*/ 951 h 2865"/>
                    <a:gd name="T30" fmla="*/ 5880 w 8245"/>
                    <a:gd name="T31" fmla="*/ 852 h 2865"/>
                    <a:gd name="T32" fmla="*/ 5596 w 8245"/>
                    <a:gd name="T33" fmla="*/ 757 h 2865"/>
                    <a:gd name="T34" fmla="*/ 5072 w 8245"/>
                    <a:gd name="T35" fmla="*/ 602 h 2865"/>
                    <a:gd name="T36" fmla="*/ 4426 w 8245"/>
                    <a:gd name="T37" fmla="*/ 445 h 2865"/>
                    <a:gd name="T38" fmla="*/ 3738 w 8245"/>
                    <a:gd name="T39" fmla="*/ 308 h 2865"/>
                    <a:gd name="T40" fmla="*/ 3010 w 8245"/>
                    <a:gd name="T41" fmla="*/ 196 h 2865"/>
                    <a:gd name="T42" fmla="*/ 2246 w 8245"/>
                    <a:gd name="T43" fmla="*/ 108 h 2865"/>
                    <a:gd name="T44" fmla="*/ 1453 w 8245"/>
                    <a:gd name="T45" fmla="*/ 45 h 2865"/>
                    <a:gd name="T46" fmla="*/ 631 w 8245"/>
                    <a:gd name="T47" fmla="*/ 8 h 2865"/>
                    <a:gd name="T48" fmla="*/ 0 w 8245"/>
                    <a:gd name="T49" fmla="*/ 100 h 2865"/>
                    <a:gd name="T50" fmla="*/ 835 w 8245"/>
                    <a:gd name="T51" fmla="*/ 115 h 2865"/>
                    <a:gd name="T52" fmla="*/ 1648 w 8245"/>
                    <a:gd name="T53" fmla="*/ 157 h 2865"/>
                    <a:gd name="T54" fmla="*/ 2431 w 8245"/>
                    <a:gd name="T55" fmla="*/ 227 h 2865"/>
                    <a:gd name="T56" fmla="*/ 3181 w 8245"/>
                    <a:gd name="T57" fmla="*/ 321 h 2865"/>
                    <a:gd name="T58" fmla="*/ 3895 w 8245"/>
                    <a:gd name="T59" fmla="*/ 440 h 2865"/>
                    <a:gd name="T60" fmla="*/ 4570 w 8245"/>
                    <a:gd name="T61" fmla="*/ 580 h 2865"/>
                    <a:gd name="T62" fmla="*/ 5198 w 8245"/>
                    <a:gd name="T63" fmla="*/ 741 h 2865"/>
                    <a:gd name="T64" fmla="*/ 5637 w 8245"/>
                    <a:gd name="T65" fmla="*/ 876 h 2865"/>
                    <a:gd name="T66" fmla="*/ 5915 w 8245"/>
                    <a:gd name="T67" fmla="*/ 971 h 2865"/>
                    <a:gd name="T68" fmla="*/ 6177 w 8245"/>
                    <a:gd name="T69" fmla="*/ 1070 h 2865"/>
                    <a:gd name="T70" fmla="*/ 6426 w 8245"/>
                    <a:gd name="T71" fmla="*/ 1174 h 2865"/>
                    <a:gd name="T72" fmla="*/ 6661 w 8245"/>
                    <a:gd name="T73" fmla="*/ 1281 h 2865"/>
                    <a:gd name="T74" fmla="*/ 6879 w 8245"/>
                    <a:gd name="T75" fmla="*/ 1392 h 2865"/>
                    <a:gd name="T76" fmla="*/ 7083 w 8245"/>
                    <a:gd name="T77" fmla="*/ 1507 h 2865"/>
                    <a:gd name="T78" fmla="*/ 7270 w 8245"/>
                    <a:gd name="T79" fmla="*/ 1625 h 2865"/>
                    <a:gd name="T80" fmla="*/ 7440 w 8245"/>
                    <a:gd name="T81" fmla="*/ 1747 h 2865"/>
                    <a:gd name="T82" fmla="*/ 7594 w 8245"/>
                    <a:gd name="T83" fmla="*/ 1871 h 2865"/>
                    <a:gd name="T84" fmla="*/ 7729 w 8245"/>
                    <a:gd name="T85" fmla="*/ 1998 h 2865"/>
                    <a:gd name="T86" fmla="*/ 7845 w 8245"/>
                    <a:gd name="T87" fmla="*/ 2127 h 2865"/>
                    <a:gd name="T88" fmla="*/ 7943 w 8245"/>
                    <a:gd name="T89" fmla="*/ 2257 h 2865"/>
                    <a:gd name="T90" fmla="*/ 8022 w 8245"/>
                    <a:gd name="T91" fmla="*/ 2390 h 2865"/>
                    <a:gd name="T92" fmla="*/ 8082 w 8245"/>
                    <a:gd name="T93" fmla="*/ 2524 h 2865"/>
                    <a:gd name="T94" fmla="*/ 8122 w 8245"/>
                    <a:gd name="T95" fmla="*/ 2659 h 2865"/>
                    <a:gd name="T96" fmla="*/ 8142 w 8245"/>
                    <a:gd name="T97" fmla="*/ 279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5">
                      <a:moveTo>
                        <a:pt x="8245" y="2865"/>
                      </a:moveTo>
                      <a:lnTo>
                        <a:pt x="8244" y="2827"/>
                      </a:lnTo>
                      <a:lnTo>
                        <a:pt x="8242" y="2788"/>
                      </a:lnTo>
                      <a:lnTo>
                        <a:pt x="8239" y="2750"/>
                      </a:lnTo>
                      <a:lnTo>
                        <a:pt x="8234" y="2713"/>
                      </a:lnTo>
                      <a:lnTo>
                        <a:pt x="8227" y="2676"/>
                      </a:lnTo>
                      <a:lnTo>
                        <a:pt x="8219" y="2637"/>
                      </a:lnTo>
                      <a:lnTo>
                        <a:pt x="8211" y="2600"/>
                      </a:lnTo>
                      <a:lnTo>
                        <a:pt x="8201" y="2563"/>
                      </a:lnTo>
                      <a:lnTo>
                        <a:pt x="8188" y="2525"/>
                      </a:lnTo>
                      <a:lnTo>
                        <a:pt x="8176" y="2489"/>
                      </a:lnTo>
                      <a:lnTo>
                        <a:pt x="8162" y="2452"/>
                      </a:lnTo>
                      <a:lnTo>
                        <a:pt x="8146" y="2416"/>
                      </a:lnTo>
                      <a:lnTo>
                        <a:pt x="8130" y="2380"/>
                      </a:lnTo>
                      <a:lnTo>
                        <a:pt x="8111" y="2343"/>
                      </a:lnTo>
                      <a:lnTo>
                        <a:pt x="8091" y="2308"/>
                      </a:lnTo>
                      <a:lnTo>
                        <a:pt x="8071" y="2272"/>
                      </a:lnTo>
                      <a:lnTo>
                        <a:pt x="8049" y="2237"/>
                      </a:lnTo>
                      <a:lnTo>
                        <a:pt x="8026" y="2202"/>
                      </a:lnTo>
                      <a:lnTo>
                        <a:pt x="8002" y="2166"/>
                      </a:lnTo>
                      <a:lnTo>
                        <a:pt x="7977" y="2131"/>
                      </a:lnTo>
                      <a:lnTo>
                        <a:pt x="7950" y="2097"/>
                      </a:lnTo>
                      <a:lnTo>
                        <a:pt x="7922" y="2063"/>
                      </a:lnTo>
                      <a:lnTo>
                        <a:pt x="7894" y="2029"/>
                      </a:lnTo>
                      <a:lnTo>
                        <a:pt x="7864" y="1995"/>
                      </a:lnTo>
                      <a:lnTo>
                        <a:pt x="7832" y="1960"/>
                      </a:lnTo>
                      <a:lnTo>
                        <a:pt x="7800" y="1927"/>
                      </a:lnTo>
                      <a:lnTo>
                        <a:pt x="7766" y="1894"/>
                      </a:lnTo>
                      <a:lnTo>
                        <a:pt x="7732" y="1861"/>
                      </a:lnTo>
                      <a:lnTo>
                        <a:pt x="7696" y="1828"/>
                      </a:lnTo>
                      <a:lnTo>
                        <a:pt x="7659" y="1795"/>
                      </a:lnTo>
                      <a:lnTo>
                        <a:pt x="7620" y="1763"/>
                      </a:lnTo>
                      <a:lnTo>
                        <a:pt x="7582" y="1731"/>
                      </a:lnTo>
                      <a:lnTo>
                        <a:pt x="7542" y="1698"/>
                      </a:lnTo>
                      <a:lnTo>
                        <a:pt x="7501" y="1666"/>
                      </a:lnTo>
                      <a:lnTo>
                        <a:pt x="7459" y="1635"/>
                      </a:lnTo>
                      <a:lnTo>
                        <a:pt x="7415" y="1604"/>
                      </a:lnTo>
                      <a:lnTo>
                        <a:pt x="7371" y="1573"/>
                      </a:lnTo>
                      <a:lnTo>
                        <a:pt x="7326" y="1542"/>
                      </a:lnTo>
                      <a:lnTo>
                        <a:pt x="7279" y="1511"/>
                      </a:lnTo>
                      <a:lnTo>
                        <a:pt x="7232" y="1481"/>
                      </a:lnTo>
                      <a:lnTo>
                        <a:pt x="7183" y="1451"/>
                      </a:lnTo>
                      <a:lnTo>
                        <a:pt x="7134" y="1421"/>
                      </a:lnTo>
                      <a:lnTo>
                        <a:pt x="7083" y="1391"/>
                      </a:lnTo>
                      <a:lnTo>
                        <a:pt x="7032" y="1362"/>
                      </a:lnTo>
                      <a:lnTo>
                        <a:pt x="6980" y="1333"/>
                      </a:lnTo>
                      <a:lnTo>
                        <a:pt x="6927" y="1304"/>
                      </a:lnTo>
                      <a:lnTo>
                        <a:pt x="6872" y="1275"/>
                      </a:lnTo>
                      <a:lnTo>
                        <a:pt x="6817" y="1247"/>
                      </a:lnTo>
                      <a:lnTo>
                        <a:pt x="6761" y="1218"/>
                      </a:lnTo>
                      <a:lnTo>
                        <a:pt x="6704" y="1190"/>
                      </a:lnTo>
                      <a:lnTo>
                        <a:pt x="6645" y="1163"/>
                      </a:lnTo>
                      <a:lnTo>
                        <a:pt x="6587" y="1135"/>
                      </a:lnTo>
                      <a:lnTo>
                        <a:pt x="6527" y="1109"/>
                      </a:lnTo>
                      <a:lnTo>
                        <a:pt x="6466" y="1082"/>
                      </a:lnTo>
                      <a:lnTo>
                        <a:pt x="6404" y="1055"/>
                      </a:lnTo>
                      <a:lnTo>
                        <a:pt x="6341" y="1029"/>
                      </a:lnTo>
                      <a:lnTo>
                        <a:pt x="6278" y="1002"/>
                      </a:lnTo>
                      <a:lnTo>
                        <a:pt x="6214" y="976"/>
                      </a:lnTo>
                      <a:lnTo>
                        <a:pt x="6149" y="951"/>
                      </a:lnTo>
                      <a:lnTo>
                        <a:pt x="6083" y="925"/>
                      </a:lnTo>
                      <a:lnTo>
                        <a:pt x="6016" y="900"/>
                      </a:lnTo>
                      <a:lnTo>
                        <a:pt x="5948" y="876"/>
                      </a:lnTo>
                      <a:lnTo>
                        <a:pt x="5880" y="852"/>
                      </a:lnTo>
                      <a:lnTo>
                        <a:pt x="5809" y="827"/>
                      </a:lnTo>
                      <a:lnTo>
                        <a:pt x="5739" y="803"/>
                      </a:lnTo>
                      <a:lnTo>
                        <a:pt x="5668" y="780"/>
                      </a:lnTo>
                      <a:lnTo>
                        <a:pt x="5596" y="757"/>
                      </a:lnTo>
                      <a:lnTo>
                        <a:pt x="5524" y="734"/>
                      </a:lnTo>
                      <a:lnTo>
                        <a:pt x="5376" y="689"/>
                      </a:lnTo>
                      <a:lnTo>
                        <a:pt x="5225" y="645"/>
                      </a:lnTo>
                      <a:lnTo>
                        <a:pt x="5072" y="602"/>
                      </a:lnTo>
                      <a:lnTo>
                        <a:pt x="4914" y="561"/>
                      </a:lnTo>
                      <a:lnTo>
                        <a:pt x="4754" y="521"/>
                      </a:lnTo>
                      <a:lnTo>
                        <a:pt x="4592" y="482"/>
                      </a:lnTo>
                      <a:lnTo>
                        <a:pt x="4426" y="445"/>
                      </a:lnTo>
                      <a:lnTo>
                        <a:pt x="4258" y="409"/>
                      </a:lnTo>
                      <a:lnTo>
                        <a:pt x="4087" y="374"/>
                      </a:lnTo>
                      <a:lnTo>
                        <a:pt x="3914" y="341"/>
                      </a:lnTo>
                      <a:lnTo>
                        <a:pt x="3738" y="308"/>
                      </a:lnTo>
                      <a:lnTo>
                        <a:pt x="3559" y="278"/>
                      </a:lnTo>
                      <a:lnTo>
                        <a:pt x="3379" y="249"/>
                      </a:lnTo>
                      <a:lnTo>
                        <a:pt x="3196" y="221"/>
                      </a:lnTo>
                      <a:lnTo>
                        <a:pt x="3010" y="196"/>
                      </a:lnTo>
                      <a:lnTo>
                        <a:pt x="2823" y="171"/>
                      </a:lnTo>
                      <a:lnTo>
                        <a:pt x="2633" y="148"/>
                      </a:lnTo>
                      <a:lnTo>
                        <a:pt x="2441" y="127"/>
                      </a:lnTo>
                      <a:lnTo>
                        <a:pt x="2246" y="108"/>
                      </a:lnTo>
                      <a:lnTo>
                        <a:pt x="2052" y="89"/>
                      </a:lnTo>
                      <a:lnTo>
                        <a:pt x="1854" y="72"/>
                      </a:lnTo>
                      <a:lnTo>
                        <a:pt x="1654" y="57"/>
                      </a:lnTo>
                      <a:lnTo>
                        <a:pt x="1453" y="45"/>
                      </a:lnTo>
                      <a:lnTo>
                        <a:pt x="1250" y="33"/>
                      </a:lnTo>
                      <a:lnTo>
                        <a:pt x="1045" y="23"/>
                      </a:lnTo>
                      <a:lnTo>
                        <a:pt x="838" y="14"/>
                      </a:lnTo>
                      <a:lnTo>
                        <a:pt x="631" y="8"/>
                      </a:lnTo>
                      <a:lnTo>
                        <a:pt x="422" y="4"/>
                      </a:lnTo>
                      <a:lnTo>
                        <a:pt x="212" y="1"/>
                      </a:lnTo>
                      <a:lnTo>
                        <a:pt x="0" y="0"/>
                      </a:lnTo>
                      <a:lnTo>
                        <a:pt x="0" y="100"/>
                      </a:lnTo>
                      <a:lnTo>
                        <a:pt x="211" y="101"/>
                      </a:lnTo>
                      <a:lnTo>
                        <a:pt x="420" y="105"/>
                      </a:lnTo>
                      <a:lnTo>
                        <a:pt x="628" y="109"/>
                      </a:lnTo>
                      <a:lnTo>
                        <a:pt x="835" y="115"/>
                      </a:lnTo>
                      <a:lnTo>
                        <a:pt x="1040" y="123"/>
                      </a:lnTo>
                      <a:lnTo>
                        <a:pt x="1245" y="132"/>
                      </a:lnTo>
                      <a:lnTo>
                        <a:pt x="1447" y="144"/>
                      </a:lnTo>
                      <a:lnTo>
                        <a:pt x="1648" y="157"/>
                      </a:lnTo>
                      <a:lnTo>
                        <a:pt x="1845" y="173"/>
                      </a:lnTo>
                      <a:lnTo>
                        <a:pt x="2042" y="189"/>
                      </a:lnTo>
                      <a:lnTo>
                        <a:pt x="2237" y="207"/>
                      </a:lnTo>
                      <a:lnTo>
                        <a:pt x="2431" y="227"/>
                      </a:lnTo>
                      <a:lnTo>
                        <a:pt x="2622" y="248"/>
                      </a:lnTo>
                      <a:lnTo>
                        <a:pt x="2810" y="271"/>
                      </a:lnTo>
                      <a:lnTo>
                        <a:pt x="2997" y="295"/>
                      </a:lnTo>
                      <a:lnTo>
                        <a:pt x="3181" y="321"/>
                      </a:lnTo>
                      <a:lnTo>
                        <a:pt x="3364" y="349"/>
                      </a:lnTo>
                      <a:lnTo>
                        <a:pt x="3543" y="378"/>
                      </a:lnTo>
                      <a:lnTo>
                        <a:pt x="3721" y="408"/>
                      </a:lnTo>
                      <a:lnTo>
                        <a:pt x="3895" y="440"/>
                      </a:lnTo>
                      <a:lnTo>
                        <a:pt x="4069" y="473"/>
                      </a:lnTo>
                      <a:lnTo>
                        <a:pt x="4238" y="507"/>
                      </a:lnTo>
                      <a:lnTo>
                        <a:pt x="4405" y="543"/>
                      </a:lnTo>
                      <a:lnTo>
                        <a:pt x="4570" y="580"/>
                      </a:lnTo>
                      <a:lnTo>
                        <a:pt x="4731" y="619"/>
                      </a:lnTo>
                      <a:lnTo>
                        <a:pt x="4890" y="658"/>
                      </a:lnTo>
                      <a:lnTo>
                        <a:pt x="5046" y="700"/>
                      </a:lnTo>
                      <a:lnTo>
                        <a:pt x="5198" y="741"/>
                      </a:lnTo>
                      <a:lnTo>
                        <a:pt x="5348" y="785"/>
                      </a:lnTo>
                      <a:lnTo>
                        <a:pt x="5494" y="830"/>
                      </a:lnTo>
                      <a:lnTo>
                        <a:pt x="5566" y="852"/>
                      </a:lnTo>
                      <a:lnTo>
                        <a:pt x="5637" y="876"/>
                      </a:lnTo>
                      <a:lnTo>
                        <a:pt x="5707" y="898"/>
                      </a:lnTo>
                      <a:lnTo>
                        <a:pt x="5778" y="922"/>
                      </a:lnTo>
                      <a:lnTo>
                        <a:pt x="5847" y="946"/>
                      </a:lnTo>
                      <a:lnTo>
                        <a:pt x="5915" y="971"/>
                      </a:lnTo>
                      <a:lnTo>
                        <a:pt x="5982" y="995"/>
                      </a:lnTo>
                      <a:lnTo>
                        <a:pt x="6048" y="1020"/>
                      </a:lnTo>
                      <a:lnTo>
                        <a:pt x="6113" y="1044"/>
                      </a:lnTo>
                      <a:lnTo>
                        <a:pt x="6177" y="1070"/>
                      </a:lnTo>
                      <a:lnTo>
                        <a:pt x="6241" y="1095"/>
                      </a:lnTo>
                      <a:lnTo>
                        <a:pt x="6304" y="1121"/>
                      </a:lnTo>
                      <a:lnTo>
                        <a:pt x="6365" y="1147"/>
                      </a:lnTo>
                      <a:lnTo>
                        <a:pt x="6426" y="1174"/>
                      </a:lnTo>
                      <a:lnTo>
                        <a:pt x="6487" y="1200"/>
                      </a:lnTo>
                      <a:lnTo>
                        <a:pt x="6545" y="1227"/>
                      </a:lnTo>
                      <a:lnTo>
                        <a:pt x="6603" y="1253"/>
                      </a:lnTo>
                      <a:lnTo>
                        <a:pt x="6661" y="1281"/>
                      </a:lnTo>
                      <a:lnTo>
                        <a:pt x="6716" y="1308"/>
                      </a:lnTo>
                      <a:lnTo>
                        <a:pt x="6772" y="1336"/>
                      </a:lnTo>
                      <a:lnTo>
                        <a:pt x="6827" y="1364"/>
                      </a:lnTo>
                      <a:lnTo>
                        <a:pt x="6879" y="1392"/>
                      </a:lnTo>
                      <a:lnTo>
                        <a:pt x="6932" y="1421"/>
                      </a:lnTo>
                      <a:lnTo>
                        <a:pt x="6983" y="1449"/>
                      </a:lnTo>
                      <a:lnTo>
                        <a:pt x="7034" y="1478"/>
                      </a:lnTo>
                      <a:lnTo>
                        <a:pt x="7083" y="1507"/>
                      </a:lnTo>
                      <a:lnTo>
                        <a:pt x="7132" y="1537"/>
                      </a:lnTo>
                      <a:lnTo>
                        <a:pt x="7178" y="1566"/>
                      </a:lnTo>
                      <a:lnTo>
                        <a:pt x="7225" y="1596"/>
                      </a:lnTo>
                      <a:lnTo>
                        <a:pt x="7270" y="1625"/>
                      </a:lnTo>
                      <a:lnTo>
                        <a:pt x="7314" y="1656"/>
                      </a:lnTo>
                      <a:lnTo>
                        <a:pt x="7358" y="1686"/>
                      </a:lnTo>
                      <a:lnTo>
                        <a:pt x="7400" y="1716"/>
                      </a:lnTo>
                      <a:lnTo>
                        <a:pt x="7440" y="1747"/>
                      </a:lnTo>
                      <a:lnTo>
                        <a:pt x="7480" y="1777"/>
                      </a:lnTo>
                      <a:lnTo>
                        <a:pt x="7519" y="1808"/>
                      </a:lnTo>
                      <a:lnTo>
                        <a:pt x="7557" y="1839"/>
                      </a:lnTo>
                      <a:lnTo>
                        <a:pt x="7594" y="1871"/>
                      </a:lnTo>
                      <a:lnTo>
                        <a:pt x="7629" y="1902"/>
                      </a:lnTo>
                      <a:lnTo>
                        <a:pt x="7664" y="1934"/>
                      </a:lnTo>
                      <a:lnTo>
                        <a:pt x="7697" y="1966"/>
                      </a:lnTo>
                      <a:lnTo>
                        <a:pt x="7729" y="1998"/>
                      </a:lnTo>
                      <a:lnTo>
                        <a:pt x="7760" y="2030"/>
                      </a:lnTo>
                      <a:lnTo>
                        <a:pt x="7789" y="2062"/>
                      </a:lnTo>
                      <a:lnTo>
                        <a:pt x="7818" y="2094"/>
                      </a:lnTo>
                      <a:lnTo>
                        <a:pt x="7845" y="2127"/>
                      </a:lnTo>
                      <a:lnTo>
                        <a:pt x="7872" y="2159"/>
                      </a:lnTo>
                      <a:lnTo>
                        <a:pt x="7897" y="2192"/>
                      </a:lnTo>
                      <a:lnTo>
                        <a:pt x="7920" y="2224"/>
                      </a:lnTo>
                      <a:lnTo>
                        <a:pt x="7943" y="2257"/>
                      </a:lnTo>
                      <a:lnTo>
                        <a:pt x="7966" y="2291"/>
                      </a:lnTo>
                      <a:lnTo>
                        <a:pt x="7985" y="2324"/>
                      </a:lnTo>
                      <a:lnTo>
                        <a:pt x="8005" y="2357"/>
                      </a:lnTo>
                      <a:lnTo>
                        <a:pt x="8022" y="2390"/>
                      </a:lnTo>
                      <a:lnTo>
                        <a:pt x="8039" y="2423"/>
                      </a:lnTo>
                      <a:lnTo>
                        <a:pt x="8055" y="2457"/>
                      </a:lnTo>
                      <a:lnTo>
                        <a:pt x="8069" y="2490"/>
                      </a:lnTo>
                      <a:lnTo>
                        <a:pt x="8082" y="2524"/>
                      </a:lnTo>
                      <a:lnTo>
                        <a:pt x="8095" y="2558"/>
                      </a:lnTo>
                      <a:lnTo>
                        <a:pt x="8105" y="2592"/>
                      </a:lnTo>
                      <a:lnTo>
                        <a:pt x="8114" y="2625"/>
                      </a:lnTo>
                      <a:lnTo>
                        <a:pt x="8122" y="2659"/>
                      </a:lnTo>
                      <a:lnTo>
                        <a:pt x="8130" y="2693"/>
                      </a:lnTo>
                      <a:lnTo>
                        <a:pt x="8135" y="2727"/>
                      </a:lnTo>
                      <a:lnTo>
                        <a:pt x="8139" y="2761"/>
                      </a:lnTo>
                      <a:lnTo>
                        <a:pt x="8142" y="2796"/>
                      </a:lnTo>
                      <a:lnTo>
                        <a:pt x="8144" y="2830"/>
                      </a:lnTo>
                      <a:lnTo>
                        <a:pt x="8145" y="2865"/>
                      </a:lnTo>
                      <a:lnTo>
                        <a:pt x="8245"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62" name="Freeform 204"/>
                <p:cNvSpPr>
                  <a:spLocks/>
                </p:cNvSpPr>
                <p:nvPr>
                  <p:custDataLst>
                    <p:tags r:id="rId111"/>
                  </p:custDataLst>
                </p:nvPr>
              </p:nvSpPr>
              <p:spPr bwMode="auto">
                <a:xfrm>
                  <a:off x="737" y="3387"/>
                  <a:ext cx="234" cy="73"/>
                </a:xfrm>
                <a:custGeom>
                  <a:avLst/>
                  <a:gdLst>
                    <a:gd name="T0" fmla="*/ 0 w 5393"/>
                    <a:gd name="T1" fmla="*/ 1426 h 1828"/>
                    <a:gd name="T2" fmla="*/ 1207 w 5393"/>
                    <a:gd name="T3" fmla="*/ 1828 h 1828"/>
                    <a:gd name="T4" fmla="*/ 4061 w 5393"/>
                    <a:gd name="T5" fmla="*/ 687 h 1828"/>
                    <a:gd name="T6" fmla="*/ 5393 w 5393"/>
                    <a:gd name="T7" fmla="*/ 1013 h 1828"/>
                    <a:gd name="T8" fmla="*/ 4690 w 5393"/>
                    <a:gd name="T9" fmla="*/ 0 h 1828"/>
                    <a:gd name="T10" fmla="*/ 1253 w 5393"/>
                    <a:gd name="T11" fmla="*/ 0 h 1828"/>
                    <a:gd name="T12" fmla="*/ 2690 w 5393"/>
                    <a:gd name="T13" fmla="*/ 352 h 1828"/>
                    <a:gd name="T14" fmla="*/ 0 w 5393"/>
                    <a:gd name="T15" fmla="*/ 1426 h 18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8">
                      <a:moveTo>
                        <a:pt x="0" y="1426"/>
                      </a:moveTo>
                      <a:lnTo>
                        <a:pt x="1207" y="1828"/>
                      </a:lnTo>
                      <a:lnTo>
                        <a:pt x="4061" y="687"/>
                      </a:lnTo>
                      <a:lnTo>
                        <a:pt x="5393" y="1013"/>
                      </a:lnTo>
                      <a:lnTo>
                        <a:pt x="4690" y="0"/>
                      </a:lnTo>
                      <a:lnTo>
                        <a:pt x="1253" y="0"/>
                      </a:lnTo>
                      <a:lnTo>
                        <a:pt x="2690" y="352"/>
                      </a:lnTo>
                      <a:lnTo>
                        <a:pt x="0"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63" name="Freeform 205"/>
                <p:cNvSpPr>
                  <a:spLocks/>
                </p:cNvSpPr>
                <p:nvPr>
                  <p:custDataLst>
                    <p:tags r:id="rId112"/>
                  </p:custDataLst>
                </p:nvPr>
              </p:nvSpPr>
              <p:spPr bwMode="auto">
                <a:xfrm>
                  <a:off x="480" y="3474"/>
                  <a:ext cx="235" cy="73"/>
                </a:xfrm>
                <a:custGeom>
                  <a:avLst/>
                  <a:gdLst>
                    <a:gd name="T0" fmla="*/ 5394 w 5394"/>
                    <a:gd name="T1" fmla="*/ 401 h 1827"/>
                    <a:gd name="T2" fmla="*/ 4186 w 5394"/>
                    <a:gd name="T3" fmla="*/ 0 h 1827"/>
                    <a:gd name="T4" fmla="*/ 1332 w 5394"/>
                    <a:gd name="T5" fmla="*/ 1140 h 1827"/>
                    <a:gd name="T6" fmla="*/ 0 w 5394"/>
                    <a:gd name="T7" fmla="*/ 814 h 1827"/>
                    <a:gd name="T8" fmla="*/ 702 w 5394"/>
                    <a:gd name="T9" fmla="*/ 1827 h 1827"/>
                    <a:gd name="T10" fmla="*/ 4140 w 5394"/>
                    <a:gd name="T11" fmla="*/ 1827 h 1827"/>
                    <a:gd name="T12" fmla="*/ 2704 w 5394"/>
                    <a:gd name="T13" fmla="*/ 1476 h 1827"/>
                    <a:gd name="T14" fmla="*/ 5394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5394" y="401"/>
                      </a:moveTo>
                      <a:lnTo>
                        <a:pt x="4186" y="0"/>
                      </a:lnTo>
                      <a:lnTo>
                        <a:pt x="1332" y="1140"/>
                      </a:lnTo>
                      <a:lnTo>
                        <a:pt x="0" y="814"/>
                      </a:lnTo>
                      <a:lnTo>
                        <a:pt x="702" y="1827"/>
                      </a:lnTo>
                      <a:lnTo>
                        <a:pt x="4140" y="1827"/>
                      </a:lnTo>
                      <a:lnTo>
                        <a:pt x="2704" y="1476"/>
                      </a:lnTo>
                      <a:lnTo>
                        <a:pt x="5394"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64" name="Freeform 206"/>
                <p:cNvSpPr>
                  <a:spLocks/>
                </p:cNvSpPr>
                <p:nvPr>
                  <p:custDataLst>
                    <p:tags r:id="rId113"/>
                  </p:custDataLst>
                </p:nvPr>
              </p:nvSpPr>
              <p:spPr bwMode="auto">
                <a:xfrm>
                  <a:off x="493" y="3385"/>
                  <a:ext cx="235" cy="73"/>
                </a:xfrm>
                <a:custGeom>
                  <a:avLst/>
                  <a:gdLst>
                    <a:gd name="T0" fmla="*/ 0 w 5394"/>
                    <a:gd name="T1" fmla="*/ 401 h 1827"/>
                    <a:gd name="T2" fmla="*/ 1208 w 5394"/>
                    <a:gd name="T3" fmla="*/ 0 h 1827"/>
                    <a:gd name="T4" fmla="*/ 4062 w 5394"/>
                    <a:gd name="T5" fmla="*/ 1140 h 1827"/>
                    <a:gd name="T6" fmla="*/ 5394 w 5394"/>
                    <a:gd name="T7" fmla="*/ 813 h 1827"/>
                    <a:gd name="T8" fmla="*/ 4691 w 5394"/>
                    <a:gd name="T9" fmla="*/ 1827 h 1827"/>
                    <a:gd name="T10" fmla="*/ 1253 w 5394"/>
                    <a:gd name="T11" fmla="*/ 1827 h 1827"/>
                    <a:gd name="T12" fmla="*/ 2690 w 5394"/>
                    <a:gd name="T13" fmla="*/ 1475 h 1827"/>
                    <a:gd name="T14" fmla="*/ 0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0" y="401"/>
                      </a:moveTo>
                      <a:lnTo>
                        <a:pt x="1208" y="0"/>
                      </a:lnTo>
                      <a:lnTo>
                        <a:pt x="4062" y="1140"/>
                      </a:lnTo>
                      <a:lnTo>
                        <a:pt x="5394" y="813"/>
                      </a:lnTo>
                      <a:lnTo>
                        <a:pt x="4691" y="1827"/>
                      </a:lnTo>
                      <a:lnTo>
                        <a:pt x="1253" y="1827"/>
                      </a:lnTo>
                      <a:lnTo>
                        <a:pt x="2690" y="1475"/>
                      </a:lnTo>
                      <a:lnTo>
                        <a:pt x="0"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65" name="Freeform 207"/>
                <p:cNvSpPr>
                  <a:spLocks/>
                </p:cNvSpPr>
                <p:nvPr>
                  <p:custDataLst>
                    <p:tags r:id="rId114"/>
                  </p:custDataLst>
                </p:nvPr>
              </p:nvSpPr>
              <p:spPr bwMode="auto">
                <a:xfrm>
                  <a:off x="729" y="3479"/>
                  <a:ext cx="235" cy="73"/>
                </a:xfrm>
                <a:custGeom>
                  <a:avLst/>
                  <a:gdLst>
                    <a:gd name="T0" fmla="*/ 5393 w 5393"/>
                    <a:gd name="T1" fmla="*/ 1426 h 1827"/>
                    <a:gd name="T2" fmla="*/ 4186 w 5393"/>
                    <a:gd name="T3" fmla="*/ 1827 h 1827"/>
                    <a:gd name="T4" fmla="*/ 1332 w 5393"/>
                    <a:gd name="T5" fmla="*/ 687 h 1827"/>
                    <a:gd name="T6" fmla="*/ 0 w 5393"/>
                    <a:gd name="T7" fmla="*/ 1012 h 1827"/>
                    <a:gd name="T8" fmla="*/ 702 w 5393"/>
                    <a:gd name="T9" fmla="*/ 0 h 1827"/>
                    <a:gd name="T10" fmla="*/ 4140 w 5393"/>
                    <a:gd name="T11" fmla="*/ 0 h 1827"/>
                    <a:gd name="T12" fmla="*/ 2703 w 5393"/>
                    <a:gd name="T13" fmla="*/ 352 h 1827"/>
                    <a:gd name="T14" fmla="*/ 5393 w 5393"/>
                    <a:gd name="T15" fmla="*/ 1426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7">
                      <a:moveTo>
                        <a:pt x="5393" y="1426"/>
                      </a:moveTo>
                      <a:lnTo>
                        <a:pt x="4186" y="1827"/>
                      </a:lnTo>
                      <a:lnTo>
                        <a:pt x="1332" y="687"/>
                      </a:lnTo>
                      <a:lnTo>
                        <a:pt x="0" y="1012"/>
                      </a:lnTo>
                      <a:lnTo>
                        <a:pt x="702" y="0"/>
                      </a:lnTo>
                      <a:lnTo>
                        <a:pt x="4140" y="0"/>
                      </a:lnTo>
                      <a:lnTo>
                        <a:pt x="2703" y="352"/>
                      </a:lnTo>
                      <a:lnTo>
                        <a:pt x="5393"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66" name="Rectangle 208"/>
                <p:cNvSpPr>
                  <a:spLocks noChangeArrowheads="1"/>
                </p:cNvSpPr>
                <p:nvPr>
                  <p:custDataLst>
                    <p:tags r:id="rId115"/>
                  </p:custDataLst>
                </p:nvPr>
              </p:nvSpPr>
              <p:spPr bwMode="auto">
                <a:xfrm>
                  <a:off x="369"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67" name="Rectangle 209"/>
                <p:cNvSpPr>
                  <a:spLocks noChangeArrowheads="1"/>
                </p:cNvSpPr>
                <p:nvPr>
                  <p:custDataLst>
                    <p:tags r:id="rId116"/>
                  </p:custDataLst>
                </p:nvPr>
              </p:nvSpPr>
              <p:spPr bwMode="auto">
                <a:xfrm>
                  <a:off x="369"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68" name="Rectangle 210"/>
                <p:cNvSpPr>
                  <a:spLocks noChangeArrowheads="1"/>
                </p:cNvSpPr>
                <p:nvPr>
                  <p:custDataLst>
                    <p:tags r:id="rId117"/>
                  </p:custDataLst>
                </p:nvPr>
              </p:nvSpPr>
              <p:spPr bwMode="auto">
                <a:xfrm>
                  <a:off x="369"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69" name="Rectangle 211"/>
                <p:cNvSpPr>
                  <a:spLocks noChangeArrowheads="1"/>
                </p:cNvSpPr>
                <p:nvPr>
                  <p:custDataLst>
                    <p:tags r:id="rId118"/>
                  </p:custDataLst>
                </p:nvPr>
              </p:nvSpPr>
              <p:spPr bwMode="auto">
                <a:xfrm>
                  <a:off x="1082"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70" name="Rectangle 212"/>
                <p:cNvSpPr>
                  <a:spLocks noChangeArrowheads="1"/>
                </p:cNvSpPr>
                <p:nvPr>
                  <p:custDataLst>
                    <p:tags r:id="rId119"/>
                  </p:custDataLst>
                </p:nvPr>
              </p:nvSpPr>
              <p:spPr bwMode="auto">
                <a:xfrm>
                  <a:off x="1082"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71" name="Rectangle 213"/>
                <p:cNvSpPr>
                  <a:spLocks noChangeArrowheads="1"/>
                </p:cNvSpPr>
                <p:nvPr>
                  <p:custDataLst>
                    <p:tags r:id="rId120"/>
                  </p:custDataLst>
                </p:nvPr>
              </p:nvSpPr>
              <p:spPr bwMode="auto">
                <a:xfrm>
                  <a:off x="1082"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grpSp>
        </p:grpSp>
        <p:grpSp>
          <p:nvGrpSpPr>
            <p:cNvPr id="547" name="Group 214"/>
            <p:cNvGrpSpPr>
              <a:grpSpLocks/>
            </p:cNvGrpSpPr>
            <p:nvPr>
              <p:custDataLst>
                <p:tags r:id="rId20"/>
              </p:custDataLst>
            </p:nvPr>
          </p:nvGrpSpPr>
          <p:grpSpPr bwMode="auto">
            <a:xfrm>
              <a:off x="1351" y="2278"/>
              <a:ext cx="90" cy="67"/>
              <a:chOff x="371" y="1706"/>
              <a:chExt cx="277" cy="199"/>
            </a:xfrm>
          </p:grpSpPr>
          <p:sp>
            <p:nvSpPr>
              <p:cNvPr id="624" name="AutoShape 215"/>
              <p:cNvSpPr>
                <a:spLocks noChangeArrowheads="1"/>
              </p:cNvSpPr>
              <p:nvPr/>
            </p:nvSpPr>
            <p:spPr bwMode="auto">
              <a:xfrm>
                <a:off x="371" y="1706"/>
                <a:ext cx="277" cy="199"/>
              </a:xfrm>
              <a:prstGeom prst="cube">
                <a:avLst>
                  <a:gd name="adj" fmla="val 25000"/>
                </a:avLst>
              </a:prstGeom>
              <a:solidFill>
                <a:srgbClr val="E3CAB3"/>
              </a:solidFill>
              <a:ln w="12700">
                <a:solidFill>
                  <a:srgbClr val="E3CAB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grpSp>
            <p:nvGrpSpPr>
              <p:cNvPr id="625" name="Group 216"/>
              <p:cNvGrpSpPr>
                <a:grpSpLocks/>
              </p:cNvGrpSpPr>
              <p:nvPr/>
            </p:nvGrpSpPr>
            <p:grpSpPr bwMode="auto">
              <a:xfrm>
                <a:off x="398" y="1789"/>
                <a:ext cx="182" cy="99"/>
                <a:chOff x="369" y="3354"/>
                <a:chExt cx="717" cy="390"/>
              </a:xfrm>
            </p:grpSpPr>
            <p:sp>
              <p:nvSpPr>
                <p:cNvPr id="626" name="AutoShape 217"/>
                <p:cNvSpPr>
                  <a:spLocks noChangeAspect="1" noChangeArrowheads="1" noTextEdit="1"/>
                </p:cNvSpPr>
                <p:nvPr>
                  <p:custDataLst>
                    <p:tags r:id="rId77"/>
                  </p:custDataLst>
                </p:nvPr>
              </p:nvSpPr>
              <p:spPr bwMode="auto">
                <a:xfrm>
                  <a:off x="369" y="3354"/>
                  <a:ext cx="717"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27" name="Freeform 218"/>
                <p:cNvSpPr>
                  <a:spLocks/>
                </p:cNvSpPr>
                <p:nvPr>
                  <p:custDataLst>
                    <p:tags r:id="rId78"/>
                  </p:custDataLst>
                </p:nvPr>
              </p:nvSpPr>
              <p:spPr bwMode="auto">
                <a:xfrm>
                  <a:off x="371" y="3517"/>
                  <a:ext cx="713" cy="225"/>
                </a:xfrm>
                <a:custGeom>
                  <a:avLst/>
                  <a:gdLst>
                    <a:gd name="T0" fmla="*/ 16347 w 16389"/>
                    <a:gd name="T1" fmla="*/ 3102 h 5628"/>
                    <a:gd name="T2" fmla="*/ 16132 w 16389"/>
                    <a:gd name="T3" fmla="*/ 3518 h 5628"/>
                    <a:gd name="T4" fmla="*/ 15745 w 16389"/>
                    <a:gd name="T5" fmla="*/ 3909 h 5628"/>
                    <a:gd name="T6" fmla="*/ 15203 w 16389"/>
                    <a:gd name="T7" fmla="*/ 4273 h 5628"/>
                    <a:gd name="T8" fmla="*/ 14518 w 16389"/>
                    <a:gd name="T9" fmla="*/ 4605 h 5628"/>
                    <a:gd name="T10" fmla="*/ 13704 w 16389"/>
                    <a:gd name="T11" fmla="*/ 4898 h 5628"/>
                    <a:gd name="T12" fmla="*/ 12776 w 16389"/>
                    <a:gd name="T13" fmla="*/ 5148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8 h 5628"/>
                    <a:gd name="T30" fmla="*/ 2685 w 16389"/>
                    <a:gd name="T31" fmla="*/ 4898 h 5628"/>
                    <a:gd name="T32" fmla="*/ 1871 w 16389"/>
                    <a:gd name="T33" fmla="*/ 4605 h 5628"/>
                    <a:gd name="T34" fmla="*/ 1186 w 16389"/>
                    <a:gd name="T35" fmla="*/ 4273 h 5628"/>
                    <a:gd name="T36" fmla="*/ 644 w 16389"/>
                    <a:gd name="T37" fmla="*/ 3909 h 5628"/>
                    <a:gd name="T38" fmla="*/ 257 w 16389"/>
                    <a:gd name="T39" fmla="*/ 3518 h 5628"/>
                    <a:gd name="T40" fmla="*/ 42 w 16389"/>
                    <a:gd name="T41" fmla="*/ 3102 h 5628"/>
                    <a:gd name="T42" fmla="*/ 10 w 16389"/>
                    <a:gd name="T43" fmla="*/ 2669 h 5628"/>
                    <a:gd name="T44" fmla="*/ 165 w 16389"/>
                    <a:gd name="T45" fmla="*/ 2247 h 5628"/>
                    <a:gd name="T46" fmla="*/ 496 w 16389"/>
                    <a:gd name="T47" fmla="*/ 1847 h 5628"/>
                    <a:gd name="T48" fmla="*/ 989 w 16389"/>
                    <a:gd name="T49" fmla="*/ 1474 h 5628"/>
                    <a:gd name="T50" fmla="*/ 1628 w 16389"/>
                    <a:gd name="T51" fmla="*/ 1131 h 5628"/>
                    <a:gd name="T52" fmla="*/ 2400 w 16389"/>
                    <a:gd name="T53" fmla="*/ 825 h 5628"/>
                    <a:gd name="T54" fmla="*/ 3292 w 16389"/>
                    <a:gd name="T55" fmla="*/ 560 h 5628"/>
                    <a:gd name="T56" fmla="*/ 4289 w 16389"/>
                    <a:gd name="T57" fmla="*/ 340 h 5628"/>
                    <a:gd name="T58" fmla="*/ 5378 w 16389"/>
                    <a:gd name="T59" fmla="*/ 171 h 5628"/>
                    <a:gd name="T60" fmla="*/ 6543 w 16389"/>
                    <a:gd name="T61" fmla="*/ 57 h 5628"/>
                    <a:gd name="T62" fmla="*/ 7773 w 16389"/>
                    <a:gd name="T63" fmla="*/ 4 h 5628"/>
                    <a:gd name="T64" fmla="*/ 9032 w 16389"/>
                    <a:gd name="T65" fmla="*/ 14 h 5628"/>
                    <a:gd name="T66" fmla="*/ 10241 w 16389"/>
                    <a:gd name="T67" fmla="*/ 89 h 5628"/>
                    <a:gd name="T68" fmla="*/ 11383 w 16389"/>
                    <a:gd name="T69" fmla="*/ 221 h 5628"/>
                    <a:gd name="T70" fmla="*/ 12443 w 16389"/>
                    <a:gd name="T71" fmla="*/ 408 h 5628"/>
                    <a:gd name="T72" fmla="*/ 13407 w 16389"/>
                    <a:gd name="T73" fmla="*/ 643 h 5628"/>
                    <a:gd name="T74" fmla="*/ 14260 w 16389"/>
                    <a:gd name="T75" fmla="*/ 922 h 5628"/>
                    <a:gd name="T76" fmla="*/ 14990 w 16389"/>
                    <a:gd name="T77" fmla="*/ 1241 h 5628"/>
                    <a:gd name="T78" fmla="*/ 15581 w 16389"/>
                    <a:gd name="T79" fmla="*/ 1595 h 5628"/>
                    <a:gd name="T80" fmla="*/ 16022 w 16389"/>
                    <a:gd name="T81" fmla="*/ 1978 h 5628"/>
                    <a:gd name="T82" fmla="*/ 16296 w 16389"/>
                    <a:gd name="T83" fmla="*/ 2386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3"/>
                      </a:lnTo>
                      <a:lnTo>
                        <a:pt x="16224" y="3381"/>
                      </a:lnTo>
                      <a:lnTo>
                        <a:pt x="16132" y="3518"/>
                      </a:lnTo>
                      <a:lnTo>
                        <a:pt x="16022" y="3651"/>
                      </a:lnTo>
                      <a:lnTo>
                        <a:pt x="15893" y="3782"/>
                      </a:lnTo>
                      <a:lnTo>
                        <a:pt x="15745" y="3909"/>
                      </a:lnTo>
                      <a:lnTo>
                        <a:pt x="15581" y="4034"/>
                      </a:lnTo>
                      <a:lnTo>
                        <a:pt x="15400" y="4155"/>
                      </a:lnTo>
                      <a:lnTo>
                        <a:pt x="15203" y="4273"/>
                      </a:lnTo>
                      <a:lnTo>
                        <a:pt x="14990" y="4387"/>
                      </a:lnTo>
                      <a:lnTo>
                        <a:pt x="14761" y="4498"/>
                      </a:lnTo>
                      <a:lnTo>
                        <a:pt x="14518" y="4605"/>
                      </a:lnTo>
                      <a:lnTo>
                        <a:pt x="14260" y="4706"/>
                      </a:lnTo>
                      <a:lnTo>
                        <a:pt x="13989" y="4804"/>
                      </a:lnTo>
                      <a:lnTo>
                        <a:pt x="13704" y="4898"/>
                      </a:lnTo>
                      <a:lnTo>
                        <a:pt x="13407" y="4986"/>
                      </a:lnTo>
                      <a:lnTo>
                        <a:pt x="13096" y="5069"/>
                      </a:lnTo>
                      <a:lnTo>
                        <a:pt x="12776" y="5148"/>
                      </a:lnTo>
                      <a:lnTo>
                        <a:pt x="12443" y="5222"/>
                      </a:lnTo>
                      <a:lnTo>
                        <a:pt x="12100" y="5289"/>
                      </a:lnTo>
                      <a:lnTo>
                        <a:pt x="11746" y="5351"/>
                      </a:lnTo>
                      <a:lnTo>
                        <a:pt x="11383" y="5408"/>
                      </a:lnTo>
                      <a:lnTo>
                        <a:pt x="11011" y="5458"/>
                      </a:lnTo>
                      <a:lnTo>
                        <a:pt x="10631" y="5502"/>
                      </a:lnTo>
                      <a:lnTo>
                        <a:pt x="10241" y="5540"/>
                      </a:lnTo>
                      <a:lnTo>
                        <a:pt x="9846" y="5571"/>
                      </a:lnTo>
                      <a:lnTo>
                        <a:pt x="9442" y="5596"/>
                      </a:lnTo>
                      <a:lnTo>
                        <a:pt x="9032" y="5614"/>
                      </a:lnTo>
                      <a:lnTo>
                        <a:pt x="8616" y="5625"/>
                      </a:lnTo>
                      <a:lnTo>
                        <a:pt x="8195" y="5628"/>
                      </a:lnTo>
                      <a:lnTo>
                        <a:pt x="7773" y="5625"/>
                      </a:lnTo>
                      <a:lnTo>
                        <a:pt x="7357" y="5614"/>
                      </a:lnTo>
                      <a:lnTo>
                        <a:pt x="6947" y="5596"/>
                      </a:lnTo>
                      <a:lnTo>
                        <a:pt x="6543" y="5571"/>
                      </a:lnTo>
                      <a:lnTo>
                        <a:pt x="6148" y="5540"/>
                      </a:lnTo>
                      <a:lnTo>
                        <a:pt x="5758" y="5502"/>
                      </a:lnTo>
                      <a:lnTo>
                        <a:pt x="5378" y="5458"/>
                      </a:lnTo>
                      <a:lnTo>
                        <a:pt x="5006" y="5408"/>
                      </a:lnTo>
                      <a:lnTo>
                        <a:pt x="4643" y="5351"/>
                      </a:lnTo>
                      <a:lnTo>
                        <a:pt x="4289" y="5289"/>
                      </a:lnTo>
                      <a:lnTo>
                        <a:pt x="3946" y="5222"/>
                      </a:lnTo>
                      <a:lnTo>
                        <a:pt x="3613" y="5148"/>
                      </a:lnTo>
                      <a:lnTo>
                        <a:pt x="3292" y="5069"/>
                      </a:lnTo>
                      <a:lnTo>
                        <a:pt x="2982" y="4986"/>
                      </a:lnTo>
                      <a:lnTo>
                        <a:pt x="2685" y="4898"/>
                      </a:lnTo>
                      <a:lnTo>
                        <a:pt x="2400" y="4804"/>
                      </a:lnTo>
                      <a:lnTo>
                        <a:pt x="2129" y="4706"/>
                      </a:lnTo>
                      <a:lnTo>
                        <a:pt x="1871" y="4605"/>
                      </a:lnTo>
                      <a:lnTo>
                        <a:pt x="1628" y="4498"/>
                      </a:lnTo>
                      <a:lnTo>
                        <a:pt x="1399" y="4387"/>
                      </a:lnTo>
                      <a:lnTo>
                        <a:pt x="1186" y="4273"/>
                      </a:lnTo>
                      <a:lnTo>
                        <a:pt x="989" y="4155"/>
                      </a:lnTo>
                      <a:lnTo>
                        <a:pt x="808" y="4034"/>
                      </a:lnTo>
                      <a:lnTo>
                        <a:pt x="644" y="3909"/>
                      </a:lnTo>
                      <a:lnTo>
                        <a:pt x="496" y="3782"/>
                      </a:lnTo>
                      <a:lnTo>
                        <a:pt x="367" y="3651"/>
                      </a:lnTo>
                      <a:lnTo>
                        <a:pt x="257" y="3518"/>
                      </a:lnTo>
                      <a:lnTo>
                        <a:pt x="165" y="3381"/>
                      </a:lnTo>
                      <a:lnTo>
                        <a:pt x="93" y="3243"/>
                      </a:lnTo>
                      <a:lnTo>
                        <a:pt x="42" y="3102"/>
                      </a:lnTo>
                      <a:lnTo>
                        <a:pt x="10" y="2959"/>
                      </a:lnTo>
                      <a:lnTo>
                        <a:pt x="0" y="2814"/>
                      </a:lnTo>
                      <a:lnTo>
                        <a:pt x="10" y="2669"/>
                      </a:lnTo>
                      <a:lnTo>
                        <a:pt x="42" y="2526"/>
                      </a:lnTo>
                      <a:lnTo>
                        <a:pt x="93" y="2386"/>
                      </a:lnTo>
                      <a:lnTo>
                        <a:pt x="165" y="2247"/>
                      </a:lnTo>
                      <a:lnTo>
                        <a:pt x="257" y="2111"/>
                      </a:lnTo>
                      <a:lnTo>
                        <a:pt x="367" y="1978"/>
                      </a:lnTo>
                      <a:lnTo>
                        <a:pt x="496" y="1847"/>
                      </a:lnTo>
                      <a:lnTo>
                        <a:pt x="644" y="1719"/>
                      </a:lnTo>
                      <a:lnTo>
                        <a:pt x="808" y="1595"/>
                      </a:lnTo>
                      <a:lnTo>
                        <a:pt x="989" y="1474"/>
                      </a:lnTo>
                      <a:lnTo>
                        <a:pt x="1186" y="1356"/>
                      </a:lnTo>
                      <a:lnTo>
                        <a:pt x="1399" y="1241"/>
                      </a:lnTo>
                      <a:lnTo>
                        <a:pt x="1628" y="1131"/>
                      </a:lnTo>
                      <a:lnTo>
                        <a:pt x="1871" y="1024"/>
                      </a:lnTo>
                      <a:lnTo>
                        <a:pt x="2129" y="922"/>
                      </a:lnTo>
                      <a:lnTo>
                        <a:pt x="2400" y="825"/>
                      </a:lnTo>
                      <a:lnTo>
                        <a:pt x="2685" y="732"/>
                      </a:lnTo>
                      <a:lnTo>
                        <a:pt x="2982" y="643"/>
                      </a:lnTo>
                      <a:lnTo>
                        <a:pt x="3292" y="560"/>
                      </a:lnTo>
                      <a:lnTo>
                        <a:pt x="3613" y="481"/>
                      </a:lnTo>
                      <a:lnTo>
                        <a:pt x="3946" y="408"/>
                      </a:lnTo>
                      <a:lnTo>
                        <a:pt x="4289" y="340"/>
                      </a:lnTo>
                      <a:lnTo>
                        <a:pt x="4643" y="277"/>
                      </a:lnTo>
                      <a:lnTo>
                        <a:pt x="5006" y="221"/>
                      </a:lnTo>
                      <a:lnTo>
                        <a:pt x="5378" y="171"/>
                      </a:lnTo>
                      <a:lnTo>
                        <a:pt x="5758" y="126"/>
                      </a:lnTo>
                      <a:lnTo>
                        <a:pt x="6148" y="89"/>
                      </a:lnTo>
                      <a:lnTo>
                        <a:pt x="6543" y="57"/>
                      </a:lnTo>
                      <a:lnTo>
                        <a:pt x="6947" y="32"/>
                      </a:lnTo>
                      <a:lnTo>
                        <a:pt x="7357" y="14"/>
                      </a:lnTo>
                      <a:lnTo>
                        <a:pt x="7773" y="4"/>
                      </a:lnTo>
                      <a:lnTo>
                        <a:pt x="8195" y="0"/>
                      </a:lnTo>
                      <a:lnTo>
                        <a:pt x="8616" y="4"/>
                      </a:lnTo>
                      <a:lnTo>
                        <a:pt x="9032" y="14"/>
                      </a:lnTo>
                      <a:lnTo>
                        <a:pt x="9442" y="32"/>
                      </a:lnTo>
                      <a:lnTo>
                        <a:pt x="9846" y="57"/>
                      </a:lnTo>
                      <a:lnTo>
                        <a:pt x="10241" y="89"/>
                      </a:lnTo>
                      <a:lnTo>
                        <a:pt x="10631" y="126"/>
                      </a:lnTo>
                      <a:lnTo>
                        <a:pt x="11011" y="171"/>
                      </a:lnTo>
                      <a:lnTo>
                        <a:pt x="11383" y="221"/>
                      </a:lnTo>
                      <a:lnTo>
                        <a:pt x="11746" y="277"/>
                      </a:lnTo>
                      <a:lnTo>
                        <a:pt x="12100" y="340"/>
                      </a:lnTo>
                      <a:lnTo>
                        <a:pt x="12443" y="408"/>
                      </a:lnTo>
                      <a:lnTo>
                        <a:pt x="12776" y="481"/>
                      </a:lnTo>
                      <a:lnTo>
                        <a:pt x="13096" y="560"/>
                      </a:lnTo>
                      <a:lnTo>
                        <a:pt x="13407" y="643"/>
                      </a:lnTo>
                      <a:lnTo>
                        <a:pt x="13704" y="732"/>
                      </a:lnTo>
                      <a:lnTo>
                        <a:pt x="13989" y="825"/>
                      </a:lnTo>
                      <a:lnTo>
                        <a:pt x="14260" y="922"/>
                      </a:lnTo>
                      <a:lnTo>
                        <a:pt x="14518" y="1024"/>
                      </a:lnTo>
                      <a:lnTo>
                        <a:pt x="14761" y="1131"/>
                      </a:lnTo>
                      <a:lnTo>
                        <a:pt x="14990" y="1241"/>
                      </a:lnTo>
                      <a:lnTo>
                        <a:pt x="15203" y="1356"/>
                      </a:lnTo>
                      <a:lnTo>
                        <a:pt x="15400" y="1474"/>
                      </a:lnTo>
                      <a:lnTo>
                        <a:pt x="15581" y="1595"/>
                      </a:lnTo>
                      <a:lnTo>
                        <a:pt x="15745" y="1719"/>
                      </a:lnTo>
                      <a:lnTo>
                        <a:pt x="15893" y="1847"/>
                      </a:lnTo>
                      <a:lnTo>
                        <a:pt x="16022" y="1978"/>
                      </a:lnTo>
                      <a:lnTo>
                        <a:pt x="16132" y="2111"/>
                      </a:lnTo>
                      <a:lnTo>
                        <a:pt x="16224" y="2247"/>
                      </a:lnTo>
                      <a:lnTo>
                        <a:pt x="16296" y="2386"/>
                      </a:lnTo>
                      <a:lnTo>
                        <a:pt x="16347" y="2526"/>
                      </a:lnTo>
                      <a:lnTo>
                        <a:pt x="16379" y="2669"/>
                      </a:lnTo>
                      <a:lnTo>
                        <a:pt x="16389" y="2814"/>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28" name="Freeform 219"/>
                <p:cNvSpPr>
                  <a:spLocks/>
                </p:cNvSpPr>
                <p:nvPr>
                  <p:custDataLst>
                    <p:tags r:id="rId79"/>
                  </p:custDataLst>
                </p:nvPr>
              </p:nvSpPr>
              <p:spPr bwMode="auto">
                <a:xfrm>
                  <a:off x="725" y="3629"/>
                  <a:ext cx="361" cy="115"/>
                </a:xfrm>
                <a:custGeom>
                  <a:avLst/>
                  <a:gdLst>
                    <a:gd name="T0" fmla="*/ 472 w 8295"/>
                    <a:gd name="T1" fmla="*/ 2861 h 2865"/>
                    <a:gd name="T2" fmla="*/ 1300 w 8295"/>
                    <a:gd name="T3" fmla="*/ 2832 h 2865"/>
                    <a:gd name="T4" fmla="*/ 2102 w 8295"/>
                    <a:gd name="T5" fmla="*/ 2776 h 2865"/>
                    <a:gd name="T6" fmla="*/ 2873 w 8295"/>
                    <a:gd name="T7" fmla="*/ 2694 h 2865"/>
                    <a:gd name="T8" fmla="*/ 3609 w 8295"/>
                    <a:gd name="T9" fmla="*/ 2587 h 2865"/>
                    <a:gd name="T10" fmla="*/ 4308 w 8295"/>
                    <a:gd name="T11" fmla="*/ 2456 h 2865"/>
                    <a:gd name="T12" fmla="*/ 4964 w 8295"/>
                    <a:gd name="T13" fmla="*/ 2304 h 2865"/>
                    <a:gd name="T14" fmla="*/ 5426 w 8295"/>
                    <a:gd name="T15" fmla="*/ 2177 h 2865"/>
                    <a:gd name="T16" fmla="*/ 5718 w 8295"/>
                    <a:gd name="T17" fmla="*/ 2085 h 2865"/>
                    <a:gd name="T18" fmla="*/ 5998 w 8295"/>
                    <a:gd name="T19" fmla="*/ 1989 h 2865"/>
                    <a:gd name="T20" fmla="*/ 6264 w 8295"/>
                    <a:gd name="T21" fmla="*/ 1889 h 2865"/>
                    <a:gd name="T22" fmla="*/ 6516 w 8295"/>
                    <a:gd name="T23" fmla="*/ 1783 h 2865"/>
                    <a:gd name="T24" fmla="*/ 6754 w 8295"/>
                    <a:gd name="T25" fmla="*/ 1675 h 2865"/>
                    <a:gd name="T26" fmla="*/ 6977 w 8295"/>
                    <a:gd name="T27" fmla="*/ 1561 h 2865"/>
                    <a:gd name="T28" fmla="*/ 7184 w 8295"/>
                    <a:gd name="T29" fmla="*/ 1444 h 2865"/>
                    <a:gd name="T30" fmla="*/ 7376 w 8295"/>
                    <a:gd name="T31" fmla="*/ 1323 h 2865"/>
                    <a:gd name="T32" fmla="*/ 7551 w 8295"/>
                    <a:gd name="T33" fmla="*/ 1199 h 2865"/>
                    <a:gd name="T34" fmla="*/ 7709 w 8295"/>
                    <a:gd name="T35" fmla="*/ 1070 h 2865"/>
                    <a:gd name="T36" fmla="*/ 7850 w 8295"/>
                    <a:gd name="T37" fmla="*/ 938 h 2865"/>
                    <a:gd name="T38" fmla="*/ 7972 w 8295"/>
                    <a:gd name="T39" fmla="*/ 802 h 2865"/>
                    <a:gd name="T40" fmla="*/ 8076 w 8295"/>
                    <a:gd name="T41" fmla="*/ 663 h 2865"/>
                    <a:gd name="T42" fmla="*/ 8161 w 8295"/>
                    <a:gd name="T43" fmla="*/ 522 h 2865"/>
                    <a:gd name="T44" fmla="*/ 8226 w 8295"/>
                    <a:gd name="T45" fmla="*/ 376 h 2865"/>
                    <a:gd name="T46" fmla="*/ 8269 w 8295"/>
                    <a:gd name="T47" fmla="*/ 228 h 2865"/>
                    <a:gd name="T48" fmla="*/ 8292 w 8295"/>
                    <a:gd name="T49" fmla="*/ 77 h 2865"/>
                    <a:gd name="T50" fmla="*/ 8194 w 8295"/>
                    <a:gd name="T51" fmla="*/ 35 h 2865"/>
                    <a:gd name="T52" fmla="*/ 8180 w 8295"/>
                    <a:gd name="T53" fmla="*/ 172 h 2865"/>
                    <a:gd name="T54" fmla="*/ 8145 w 8295"/>
                    <a:gd name="T55" fmla="*/ 307 h 2865"/>
                    <a:gd name="T56" fmla="*/ 8089 w 8295"/>
                    <a:gd name="T57" fmla="*/ 442 h 2865"/>
                    <a:gd name="T58" fmla="*/ 8016 w 8295"/>
                    <a:gd name="T59" fmla="*/ 574 h 2865"/>
                    <a:gd name="T60" fmla="*/ 7922 w 8295"/>
                    <a:gd name="T61" fmla="*/ 706 h 2865"/>
                    <a:gd name="T62" fmla="*/ 7810 w 8295"/>
                    <a:gd name="T63" fmla="*/ 835 h 2865"/>
                    <a:gd name="T64" fmla="*/ 7679 w 8295"/>
                    <a:gd name="T65" fmla="*/ 963 h 2865"/>
                    <a:gd name="T66" fmla="*/ 7530 w 8295"/>
                    <a:gd name="T67" fmla="*/ 1088 h 2865"/>
                    <a:gd name="T68" fmla="*/ 7364 w 8295"/>
                    <a:gd name="T69" fmla="*/ 1210 h 2865"/>
                    <a:gd name="T70" fmla="*/ 7182 w 8295"/>
                    <a:gd name="T71" fmla="*/ 1329 h 2865"/>
                    <a:gd name="T72" fmla="*/ 6982 w 8295"/>
                    <a:gd name="T73" fmla="*/ 1444 h 2865"/>
                    <a:gd name="T74" fmla="*/ 6766 w 8295"/>
                    <a:gd name="T75" fmla="*/ 1557 h 2865"/>
                    <a:gd name="T76" fmla="*/ 6537 w 8295"/>
                    <a:gd name="T77" fmla="*/ 1665 h 2865"/>
                    <a:gd name="T78" fmla="*/ 6290 w 8295"/>
                    <a:gd name="T79" fmla="*/ 1770 h 2865"/>
                    <a:gd name="T80" fmla="*/ 6032 w 8295"/>
                    <a:gd name="T81" fmla="*/ 1870 h 2865"/>
                    <a:gd name="T82" fmla="*/ 5757 w 8295"/>
                    <a:gd name="T83" fmla="*/ 1967 h 2865"/>
                    <a:gd name="T84" fmla="*/ 5471 w 8295"/>
                    <a:gd name="T85" fmla="*/ 2058 h 2865"/>
                    <a:gd name="T86" fmla="*/ 5096 w 8295"/>
                    <a:gd name="T87" fmla="*/ 2165 h 2865"/>
                    <a:gd name="T88" fmla="*/ 4455 w 8295"/>
                    <a:gd name="T89" fmla="*/ 2323 h 2865"/>
                    <a:gd name="T90" fmla="*/ 3771 w 8295"/>
                    <a:gd name="T91" fmla="*/ 2457 h 2865"/>
                    <a:gd name="T92" fmla="*/ 3047 w 8295"/>
                    <a:gd name="T93" fmla="*/ 2570 h 2865"/>
                    <a:gd name="T94" fmla="*/ 2287 w 8295"/>
                    <a:gd name="T95" fmla="*/ 2658 h 2865"/>
                    <a:gd name="T96" fmla="*/ 1497 w 8295"/>
                    <a:gd name="T97" fmla="*/ 2721 h 2865"/>
                    <a:gd name="T98" fmla="*/ 678 w 8295"/>
                    <a:gd name="T99" fmla="*/ 2756 h 2865"/>
                    <a:gd name="T100" fmla="*/ 50 w 8295"/>
                    <a:gd name="T101" fmla="*/ 2765 h 2865"/>
                    <a:gd name="T102" fmla="*/ 33 w 8295"/>
                    <a:gd name="T103" fmla="*/ 2767 h 2865"/>
                    <a:gd name="T104" fmla="*/ 15 w 8295"/>
                    <a:gd name="T105" fmla="*/ 2777 h 2865"/>
                    <a:gd name="T106" fmla="*/ 0 w 8295"/>
                    <a:gd name="T107" fmla="*/ 2805 h 2865"/>
                    <a:gd name="T108" fmla="*/ 6 w 8295"/>
                    <a:gd name="T109" fmla="*/ 2842 h 2865"/>
                    <a:gd name="T110" fmla="*/ 23 w 8295"/>
                    <a:gd name="T111" fmla="*/ 2859 h 2865"/>
                    <a:gd name="T112" fmla="*/ 43 w 8295"/>
                    <a:gd name="T113" fmla="*/ 2865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5">
                      <a:moveTo>
                        <a:pt x="50" y="2865"/>
                      </a:moveTo>
                      <a:lnTo>
                        <a:pt x="50" y="2865"/>
                      </a:lnTo>
                      <a:lnTo>
                        <a:pt x="262" y="2864"/>
                      </a:lnTo>
                      <a:lnTo>
                        <a:pt x="472" y="2861"/>
                      </a:lnTo>
                      <a:lnTo>
                        <a:pt x="681" y="2857"/>
                      </a:lnTo>
                      <a:lnTo>
                        <a:pt x="888" y="2851"/>
                      </a:lnTo>
                      <a:lnTo>
                        <a:pt x="1095" y="2842"/>
                      </a:lnTo>
                      <a:lnTo>
                        <a:pt x="1300" y="2832"/>
                      </a:lnTo>
                      <a:lnTo>
                        <a:pt x="1503" y="2820"/>
                      </a:lnTo>
                      <a:lnTo>
                        <a:pt x="1704" y="2808"/>
                      </a:lnTo>
                      <a:lnTo>
                        <a:pt x="1904" y="2793"/>
                      </a:lnTo>
                      <a:lnTo>
                        <a:pt x="2102" y="2776"/>
                      </a:lnTo>
                      <a:lnTo>
                        <a:pt x="2296" y="2757"/>
                      </a:lnTo>
                      <a:lnTo>
                        <a:pt x="2491" y="2738"/>
                      </a:lnTo>
                      <a:lnTo>
                        <a:pt x="2683" y="2717"/>
                      </a:lnTo>
                      <a:lnTo>
                        <a:pt x="2873" y="2694"/>
                      </a:lnTo>
                      <a:lnTo>
                        <a:pt x="3060" y="2669"/>
                      </a:lnTo>
                      <a:lnTo>
                        <a:pt x="3246" y="2644"/>
                      </a:lnTo>
                      <a:lnTo>
                        <a:pt x="3429" y="2616"/>
                      </a:lnTo>
                      <a:lnTo>
                        <a:pt x="3609" y="2587"/>
                      </a:lnTo>
                      <a:lnTo>
                        <a:pt x="3788" y="2557"/>
                      </a:lnTo>
                      <a:lnTo>
                        <a:pt x="3964" y="2524"/>
                      </a:lnTo>
                      <a:lnTo>
                        <a:pt x="4137" y="2491"/>
                      </a:lnTo>
                      <a:lnTo>
                        <a:pt x="4308" y="2456"/>
                      </a:lnTo>
                      <a:lnTo>
                        <a:pt x="4476" y="2420"/>
                      </a:lnTo>
                      <a:lnTo>
                        <a:pt x="4642" y="2383"/>
                      </a:lnTo>
                      <a:lnTo>
                        <a:pt x="4804" y="2344"/>
                      </a:lnTo>
                      <a:lnTo>
                        <a:pt x="4964" y="2304"/>
                      </a:lnTo>
                      <a:lnTo>
                        <a:pt x="5122" y="2263"/>
                      </a:lnTo>
                      <a:lnTo>
                        <a:pt x="5275" y="2220"/>
                      </a:lnTo>
                      <a:lnTo>
                        <a:pt x="5351" y="2198"/>
                      </a:lnTo>
                      <a:lnTo>
                        <a:pt x="5426" y="2177"/>
                      </a:lnTo>
                      <a:lnTo>
                        <a:pt x="5500" y="2154"/>
                      </a:lnTo>
                      <a:lnTo>
                        <a:pt x="5574" y="2131"/>
                      </a:lnTo>
                      <a:lnTo>
                        <a:pt x="5646" y="2108"/>
                      </a:lnTo>
                      <a:lnTo>
                        <a:pt x="5718" y="2085"/>
                      </a:lnTo>
                      <a:lnTo>
                        <a:pt x="5789" y="2062"/>
                      </a:lnTo>
                      <a:lnTo>
                        <a:pt x="5859" y="2038"/>
                      </a:lnTo>
                      <a:lnTo>
                        <a:pt x="5930" y="2013"/>
                      </a:lnTo>
                      <a:lnTo>
                        <a:pt x="5998" y="1989"/>
                      </a:lnTo>
                      <a:lnTo>
                        <a:pt x="6066" y="1965"/>
                      </a:lnTo>
                      <a:lnTo>
                        <a:pt x="6133" y="1940"/>
                      </a:lnTo>
                      <a:lnTo>
                        <a:pt x="6199" y="1914"/>
                      </a:lnTo>
                      <a:lnTo>
                        <a:pt x="6264" y="1889"/>
                      </a:lnTo>
                      <a:lnTo>
                        <a:pt x="6328" y="1863"/>
                      </a:lnTo>
                      <a:lnTo>
                        <a:pt x="6391" y="1836"/>
                      </a:lnTo>
                      <a:lnTo>
                        <a:pt x="6454" y="1810"/>
                      </a:lnTo>
                      <a:lnTo>
                        <a:pt x="6516" y="1783"/>
                      </a:lnTo>
                      <a:lnTo>
                        <a:pt x="6577" y="1756"/>
                      </a:lnTo>
                      <a:lnTo>
                        <a:pt x="6637" y="1730"/>
                      </a:lnTo>
                      <a:lnTo>
                        <a:pt x="6695" y="1702"/>
                      </a:lnTo>
                      <a:lnTo>
                        <a:pt x="6754" y="1675"/>
                      </a:lnTo>
                      <a:lnTo>
                        <a:pt x="6811" y="1647"/>
                      </a:lnTo>
                      <a:lnTo>
                        <a:pt x="6867" y="1619"/>
                      </a:lnTo>
                      <a:lnTo>
                        <a:pt x="6922" y="1590"/>
                      </a:lnTo>
                      <a:lnTo>
                        <a:pt x="6977" y="1561"/>
                      </a:lnTo>
                      <a:lnTo>
                        <a:pt x="7030" y="1532"/>
                      </a:lnTo>
                      <a:lnTo>
                        <a:pt x="7082" y="1503"/>
                      </a:lnTo>
                      <a:lnTo>
                        <a:pt x="7133" y="1474"/>
                      </a:lnTo>
                      <a:lnTo>
                        <a:pt x="7184" y="1444"/>
                      </a:lnTo>
                      <a:lnTo>
                        <a:pt x="7233" y="1414"/>
                      </a:lnTo>
                      <a:lnTo>
                        <a:pt x="7282" y="1384"/>
                      </a:lnTo>
                      <a:lnTo>
                        <a:pt x="7329" y="1354"/>
                      </a:lnTo>
                      <a:lnTo>
                        <a:pt x="7376" y="1323"/>
                      </a:lnTo>
                      <a:lnTo>
                        <a:pt x="7421" y="1292"/>
                      </a:lnTo>
                      <a:lnTo>
                        <a:pt x="7465" y="1261"/>
                      </a:lnTo>
                      <a:lnTo>
                        <a:pt x="7509" y="1230"/>
                      </a:lnTo>
                      <a:lnTo>
                        <a:pt x="7551" y="1199"/>
                      </a:lnTo>
                      <a:lnTo>
                        <a:pt x="7592" y="1167"/>
                      </a:lnTo>
                      <a:lnTo>
                        <a:pt x="7632" y="1134"/>
                      </a:lnTo>
                      <a:lnTo>
                        <a:pt x="7670" y="1102"/>
                      </a:lnTo>
                      <a:lnTo>
                        <a:pt x="7709" y="1070"/>
                      </a:lnTo>
                      <a:lnTo>
                        <a:pt x="7746" y="1037"/>
                      </a:lnTo>
                      <a:lnTo>
                        <a:pt x="7782" y="1004"/>
                      </a:lnTo>
                      <a:lnTo>
                        <a:pt x="7816" y="971"/>
                      </a:lnTo>
                      <a:lnTo>
                        <a:pt x="7850" y="938"/>
                      </a:lnTo>
                      <a:lnTo>
                        <a:pt x="7882" y="905"/>
                      </a:lnTo>
                      <a:lnTo>
                        <a:pt x="7914" y="870"/>
                      </a:lnTo>
                      <a:lnTo>
                        <a:pt x="7944" y="837"/>
                      </a:lnTo>
                      <a:lnTo>
                        <a:pt x="7972" y="802"/>
                      </a:lnTo>
                      <a:lnTo>
                        <a:pt x="8000" y="768"/>
                      </a:lnTo>
                      <a:lnTo>
                        <a:pt x="8027" y="734"/>
                      </a:lnTo>
                      <a:lnTo>
                        <a:pt x="8052" y="699"/>
                      </a:lnTo>
                      <a:lnTo>
                        <a:pt x="8076" y="663"/>
                      </a:lnTo>
                      <a:lnTo>
                        <a:pt x="8099" y="628"/>
                      </a:lnTo>
                      <a:lnTo>
                        <a:pt x="8121" y="593"/>
                      </a:lnTo>
                      <a:lnTo>
                        <a:pt x="8141" y="558"/>
                      </a:lnTo>
                      <a:lnTo>
                        <a:pt x="8161" y="522"/>
                      </a:lnTo>
                      <a:lnTo>
                        <a:pt x="8180" y="485"/>
                      </a:lnTo>
                      <a:lnTo>
                        <a:pt x="8196" y="449"/>
                      </a:lnTo>
                      <a:lnTo>
                        <a:pt x="8212" y="413"/>
                      </a:lnTo>
                      <a:lnTo>
                        <a:pt x="8226" y="376"/>
                      </a:lnTo>
                      <a:lnTo>
                        <a:pt x="8238" y="340"/>
                      </a:lnTo>
                      <a:lnTo>
                        <a:pt x="8251" y="302"/>
                      </a:lnTo>
                      <a:lnTo>
                        <a:pt x="8261" y="265"/>
                      </a:lnTo>
                      <a:lnTo>
                        <a:pt x="8269" y="228"/>
                      </a:lnTo>
                      <a:lnTo>
                        <a:pt x="8277" y="190"/>
                      </a:lnTo>
                      <a:lnTo>
                        <a:pt x="8284" y="152"/>
                      </a:lnTo>
                      <a:lnTo>
                        <a:pt x="8289" y="115"/>
                      </a:lnTo>
                      <a:lnTo>
                        <a:pt x="8292" y="77"/>
                      </a:lnTo>
                      <a:lnTo>
                        <a:pt x="8294" y="38"/>
                      </a:lnTo>
                      <a:lnTo>
                        <a:pt x="8295" y="0"/>
                      </a:lnTo>
                      <a:lnTo>
                        <a:pt x="8195" y="0"/>
                      </a:lnTo>
                      <a:lnTo>
                        <a:pt x="8194" y="35"/>
                      </a:lnTo>
                      <a:lnTo>
                        <a:pt x="8192" y="69"/>
                      </a:lnTo>
                      <a:lnTo>
                        <a:pt x="8189" y="104"/>
                      </a:lnTo>
                      <a:lnTo>
                        <a:pt x="8185" y="138"/>
                      </a:lnTo>
                      <a:lnTo>
                        <a:pt x="8180" y="172"/>
                      </a:lnTo>
                      <a:lnTo>
                        <a:pt x="8172" y="206"/>
                      </a:lnTo>
                      <a:lnTo>
                        <a:pt x="8164" y="240"/>
                      </a:lnTo>
                      <a:lnTo>
                        <a:pt x="8155" y="274"/>
                      </a:lnTo>
                      <a:lnTo>
                        <a:pt x="8145" y="307"/>
                      </a:lnTo>
                      <a:lnTo>
                        <a:pt x="8132" y="342"/>
                      </a:lnTo>
                      <a:lnTo>
                        <a:pt x="8119" y="375"/>
                      </a:lnTo>
                      <a:lnTo>
                        <a:pt x="8105" y="409"/>
                      </a:lnTo>
                      <a:lnTo>
                        <a:pt x="8089" y="442"/>
                      </a:lnTo>
                      <a:lnTo>
                        <a:pt x="8072" y="475"/>
                      </a:lnTo>
                      <a:lnTo>
                        <a:pt x="8055" y="508"/>
                      </a:lnTo>
                      <a:lnTo>
                        <a:pt x="8035" y="541"/>
                      </a:lnTo>
                      <a:lnTo>
                        <a:pt x="8016" y="574"/>
                      </a:lnTo>
                      <a:lnTo>
                        <a:pt x="7993" y="608"/>
                      </a:lnTo>
                      <a:lnTo>
                        <a:pt x="7970" y="641"/>
                      </a:lnTo>
                      <a:lnTo>
                        <a:pt x="7947" y="673"/>
                      </a:lnTo>
                      <a:lnTo>
                        <a:pt x="7922" y="706"/>
                      </a:lnTo>
                      <a:lnTo>
                        <a:pt x="7895" y="739"/>
                      </a:lnTo>
                      <a:lnTo>
                        <a:pt x="7868" y="771"/>
                      </a:lnTo>
                      <a:lnTo>
                        <a:pt x="7839" y="803"/>
                      </a:lnTo>
                      <a:lnTo>
                        <a:pt x="7810" y="835"/>
                      </a:lnTo>
                      <a:lnTo>
                        <a:pt x="7779" y="867"/>
                      </a:lnTo>
                      <a:lnTo>
                        <a:pt x="7747" y="899"/>
                      </a:lnTo>
                      <a:lnTo>
                        <a:pt x="7714" y="931"/>
                      </a:lnTo>
                      <a:lnTo>
                        <a:pt x="7679" y="963"/>
                      </a:lnTo>
                      <a:lnTo>
                        <a:pt x="7644" y="994"/>
                      </a:lnTo>
                      <a:lnTo>
                        <a:pt x="7607" y="1026"/>
                      </a:lnTo>
                      <a:lnTo>
                        <a:pt x="7569" y="1057"/>
                      </a:lnTo>
                      <a:lnTo>
                        <a:pt x="7530" y="1088"/>
                      </a:lnTo>
                      <a:lnTo>
                        <a:pt x="7490" y="1118"/>
                      </a:lnTo>
                      <a:lnTo>
                        <a:pt x="7450" y="1149"/>
                      </a:lnTo>
                      <a:lnTo>
                        <a:pt x="7408" y="1179"/>
                      </a:lnTo>
                      <a:lnTo>
                        <a:pt x="7364" y="1210"/>
                      </a:lnTo>
                      <a:lnTo>
                        <a:pt x="7320" y="1240"/>
                      </a:lnTo>
                      <a:lnTo>
                        <a:pt x="7275" y="1270"/>
                      </a:lnTo>
                      <a:lnTo>
                        <a:pt x="7228" y="1299"/>
                      </a:lnTo>
                      <a:lnTo>
                        <a:pt x="7182" y="1329"/>
                      </a:lnTo>
                      <a:lnTo>
                        <a:pt x="7133" y="1358"/>
                      </a:lnTo>
                      <a:lnTo>
                        <a:pt x="7084" y="1387"/>
                      </a:lnTo>
                      <a:lnTo>
                        <a:pt x="7033" y="1416"/>
                      </a:lnTo>
                      <a:lnTo>
                        <a:pt x="6982" y="1444"/>
                      </a:lnTo>
                      <a:lnTo>
                        <a:pt x="6929" y="1473"/>
                      </a:lnTo>
                      <a:lnTo>
                        <a:pt x="6877" y="1501"/>
                      </a:lnTo>
                      <a:lnTo>
                        <a:pt x="6822" y="1529"/>
                      </a:lnTo>
                      <a:lnTo>
                        <a:pt x="6766" y="1557"/>
                      </a:lnTo>
                      <a:lnTo>
                        <a:pt x="6711" y="1584"/>
                      </a:lnTo>
                      <a:lnTo>
                        <a:pt x="6653" y="1612"/>
                      </a:lnTo>
                      <a:lnTo>
                        <a:pt x="6595" y="1638"/>
                      </a:lnTo>
                      <a:lnTo>
                        <a:pt x="6537" y="1665"/>
                      </a:lnTo>
                      <a:lnTo>
                        <a:pt x="6476" y="1691"/>
                      </a:lnTo>
                      <a:lnTo>
                        <a:pt x="6415" y="1718"/>
                      </a:lnTo>
                      <a:lnTo>
                        <a:pt x="6354" y="1744"/>
                      </a:lnTo>
                      <a:lnTo>
                        <a:pt x="6290" y="1770"/>
                      </a:lnTo>
                      <a:lnTo>
                        <a:pt x="6227" y="1795"/>
                      </a:lnTo>
                      <a:lnTo>
                        <a:pt x="6163" y="1821"/>
                      </a:lnTo>
                      <a:lnTo>
                        <a:pt x="6098" y="1845"/>
                      </a:lnTo>
                      <a:lnTo>
                        <a:pt x="6032" y="1870"/>
                      </a:lnTo>
                      <a:lnTo>
                        <a:pt x="5965" y="1895"/>
                      </a:lnTo>
                      <a:lnTo>
                        <a:pt x="5897" y="1919"/>
                      </a:lnTo>
                      <a:lnTo>
                        <a:pt x="5828" y="1943"/>
                      </a:lnTo>
                      <a:lnTo>
                        <a:pt x="5757" y="1967"/>
                      </a:lnTo>
                      <a:lnTo>
                        <a:pt x="5687" y="1989"/>
                      </a:lnTo>
                      <a:lnTo>
                        <a:pt x="5616" y="2013"/>
                      </a:lnTo>
                      <a:lnTo>
                        <a:pt x="5544" y="2036"/>
                      </a:lnTo>
                      <a:lnTo>
                        <a:pt x="5471" y="2058"/>
                      </a:lnTo>
                      <a:lnTo>
                        <a:pt x="5398" y="2080"/>
                      </a:lnTo>
                      <a:lnTo>
                        <a:pt x="5324" y="2102"/>
                      </a:lnTo>
                      <a:lnTo>
                        <a:pt x="5248" y="2124"/>
                      </a:lnTo>
                      <a:lnTo>
                        <a:pt x="5096" y="2165"/>
                      </a:lnTo>
                      <a:lnTo>
                        <a:pt x="4940" y="2207"/>
                      </a:lnTo>
                      <a:lnTo>
                        <a:pt x="4781" y="2247"/>
                      </a:lnTo>
                      <a:lnTo>
                        <a:pt x="4620" y="2285"/>
                      </a:lnTo>
                      <a:lnTo>
                        <a:pt x="4455" y="2323"/>
                      </a:lnTo>
                      <a:lnTo>
                        <a:pt x="4288" y="2358"/>
                      </a:lnTo>
                      <a:lnTo>
                        <a:pt x="4119" y="2392"/>
                      </a:lnTo>
                      <a:lnTo>
                        <a:pt x="3945" y="2426"/>
                      </a:lnTo>
                      <a:lnTo>
                        <a:pt x="3771" y="2457"/>
                      </a:lnTo>
                      <a:lnTo>
                        <a:pt x="3593" y="2487"/>
                      </a:lnTo>
                      <a:lnTo>
                        <a:pt x="3414" y="2516"/>
                      </a:lnTo>
                      <a:lnTo>
                        <a:pt x="3231" y="2544"/>
                      </a:lnTo>
                      <a:lnTo>
                        <a:pt x="3047" y="2570"/>
                      </a:lnTo>
                      <a:lnTo>
                        <a:pt x="2860" y="2594"/>
                      </a:lnTo>
                      <a:lnTo>
                        <a:pt x="2672" y="2617"/>
                      </a:lnTo>
                      <a:lnTo>
                        <a:pt x="2481" y="2638"/>
                      </a:lnTo>
                      <a:lnTo>
                        <a:pt x="2287" y="2658"/>
                      </a:lnTo>
                      <a:lnTo>
                        <a:pt x="2092" y="2676"/>
                      </a:lnTo>
                      <a:lnTo>
                        <a:pt x="1895" y="2692"/>
                      </a:lnTo>
                      <a:lnTo>
                        <a:pt x="1698" y="2708"/>
                      </a:lnTo>
                      <a:lnTo>
                        <a:pt x="1497" y="2721"/>
                      </a:lnTo>
                      <a:lnTo>
                        <a:pt x="1295" y="2733"/>
                      </a:lnTo>
                      <a:lnTo>
                        <a:pt x="1090" y="2742"/>
                      </a:lnTo>
                      <a:lnTo>
                        <a:pt x="885" y="2750"/>
                      </a:lnTo>
                      <a:lnTo>
                        <a:pt x="678" y="2756"/>
                      </a:lnTo>
                      <a:lnTo>
                        <a:pt x="470" y="2761"/>
                      </a:lnTo>
                      <a:lnTo>
                        <a:pt x="261" y="2764"/>
                      </a:lnTo>
                      <a:lnTo>
                        <a:pt x="50" y="2765"/>
                      </a:lnTo>
                      <a:lnTo>
                        <a:pt x="50" y="2765"/>
                      </a:lnTo>
                      <a:lnTo>
                        <a:pt x="50" y="2765"/>
                      </a:lnTo>
                      <a:lnTo>
                        <a:pt x="43" y="2765"/>
                      </a:lnTo>
                      <a:lnTo>
                        <a:pt x="38" y="2766"/>
                      </a:lnTo>
                      <a:lnTo>
                        <a:pt x="33" y="2767"/>
                      </a:lnTo>
                      <a:lnTo>
                        <a:pt x="28" y="2769"/>
                      </a:lnTo>
                      <a:lnTo>
                        <a:pt x="23" y="2771"/>
                      </a:lnTo>
                      <a:lnTo>
                        <a:pt x="19" y="2774"/>
                      </a:lnTo>
                      <a:lnTo>
                        <a:pt x="15" y="2777"/>
                      </a:lnTo>
                      <a:lnTo>
                        <a:pt x="12" y="2780"/>
                      </a:lnTo>
                      <a:lnTo>
                        <a:pt x="6" y="2787"/>
                      </a:lnTo>
                      <a:lnTo>
                        <a:pt x="3" y="2797"/>
                      </a:lnTo>
                      <a:lnTo>
                        <a:pt x="0" y="2805"/>
                      </a:lnTo>
                      <a:lnTo>
                        <a:pt x="0" y="2814"/>
                      </a:lnTo>
                      <a:lnTo>
                        <a:pt x="0" y="2825"/>
                      </a:lnTo>
                      <a:lnTo>
                        <a:pt x="3" y="2833"/>
                      </a:lnTo>
                      <a:lnTo>
                        <a:pt x="6" y="2842"/>
                      </a:lnTo>
                      <a:lnTo>
                        <a:pt x="12" y="2849"/>
                      </a:lnTo>
                      <a:lnTo>
                        <a:pt x="15" y="2853"/>
                      </a:lnTo>
                      <a:lnTo>
                        <a:pt x="19" y="2856"/>
                      </a:lnTo>
                      <a:lnTo>
                        <a:pt x="23" y="2859"/>
                      </a:lnTo>
                      <a:lnTo>
                        <a:pt x="28" y="2861"/>
                      </a:lnTo>
                      <a:lnTo>
                        <a:pt x="33" y="2863"/>
                      </a:lnTo>
                      <a:lnTo>
                        <a:pt x="38" y="2864"/>
                      </a:lnTo>
                      <a:lnTo>
                        <a:pt x="43" y="2865"/>
                      </a:lnTo>
                      <a:lnTo>
                        <a:pt x="50"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29" name="Freeform 220"/>
                <p:cNvSpPr>
                  <a:spLocks/>
                </p:cNvSpPr>
                <p:nvPr>
                  <p:custDataLst>
                    <p:tags r:id="rId80"/>
                  </p:custDataLst>
                </p:nvPr>
              </p:nvSpPr>
              <p:spPr bwMode="auto">
                <a:xfrm>
                  <a:off x="369" y="3627"/>
                  <a:ext cx="359" cy="117"/>
                </a:xfrm>
                <a:custGeom>
                  <a:avLst/>
                  <a:gdLst>
                    <a:gd name="T0" fmla="*/ 3 w 8246"/>
                    <a:gd name="T1" fmla="*/ 127 h 2915"/>
                    <a:gd name="T2" fmla="*/ 25 w 8246"/>
                    <a:gd name="T3" fmla="*/ 278 h 2915"/>
                    <a:gd name="T4" fmla="*/ 69 w 8246"/>
                    <a:gd name="T5" fmla="*/ 426 h 2915"/>
                    <a:gd name="T6" fmla="*/ 134 w 8246"/>
                    <a:gd name="T7" fmla="*/ 572 h 2915"/>
                    <a:gd name="T8" fmla="*/ 219 w 8246"/>
                    <a:gd name="T9" fmla="*/ 713 h 2915"/>
                    <a:gd name="T10" fmla="*/ 323 w 8246"/>
                    <a:gd name="T11" fmla="*/ 852 h 2915"/>
                    <a:gd name="T12" fmla="*/ 445 w 8246"/>
                    <a:gd name="T13" fmla="*/ 988 h 2915"/>
                    <a:gd name="T14" fmla="*/ 586 w 8246"/>
                    <a:gd name="T15" fmla="*/ 1120 h 2915"/>
                    <a:gd name="T16" fmla="*/ 744 w 8246"/>
                    <a:gd name="T17" fmla="*/ 1249 h 2915"/>
                    <a:gd name="T18" fmla="*/ 919 w 8246"/>
                    <a:gd name="T19" fmla="*/ 1373 h 2915"/>
                    <a:gd name="T20" fmla="*/ 1111 w 8246"/>
                    <a:gd name="T21" fmla="*/ 1494 h 2915"/>
                    <a:gd name="T22" fmla="*/ 1318 w 8246"/>
                    <a:gd name="T23" fmla="*/ 1611 h 2915"/>
                    <a:gd name="T24" fmla="*/ 1541 w 8246"/>
                    <a:gd name="T25" fmla="*/ 1725 h 2915"/>
                    <a:gd name="T26" fmla="*/ 1779 w 8246"/>
                    <a:gd name="T27" fmla="*/ 1833 h 2915"/>
                    <a:gd name="T28" fmla="*/ 2030 w 8246"/>
                    <a:gd name="T29" fmla="*/ 1939 h 2915"/>
                    <a:gd name="T30" fmla="*/ 2297 w 8246"/>
                    <a:gd name="T31" fmla="*/ 2039 h 2915"/>
                    <a:gd name="T32" fmla="*/ 2577 w 8246"/>
                    <a:gd name="T33" fmla="*/ 2135 h 2915"/>
                    <a:gd name="T34" fmla="*/ 2869 w 8246"/>
                    <a:gd name="T35" fmla="*/ 2227 h 2915"/>
                    <a:gd name="T36" fmla="*/ 3331 w 8246"/>
                    <a:gd name="T37" fmla="*/ 2354 h 2915"/>
                    <a:gd name="T38" fmla="*/ 3987 w 8246"/>
                    <a:gd name="T39" fmla="*/ 2506 h 2915"/>
                    <a:gd name="T40" fmla="*/ 4686 w 8246"/>
                    <a:gd name="T41" fmla="*/ 2637 h 2915"/>
                    <a:gd name="T42" fmla="*/ 5422 w 8246"/>
                    <a:gd name="T43" fmla="*/ 2744 h 2915"/>
                    <a:gd name="T44" fmla="*/ 6193 w 8246"/>
                    <a:gd name="T45" fmla="*/ 2826 h 2915"/>
                    <a:gd name="T46" fmla="*/ 6995 w 8246"/>
                    <a:gd name="T47" fmla="*/ 2882 h 2915"/>
                    <a:gd name="T48" fmla="*/ 7823 w 8246"/>
                    <a:gd name="T49" fmla="*/ 2911 h 2915"/>
                    <a:gd name="T50" fmla="*/ 8034 w 8246"/>
                    <a:gd name="T51" fmla="*/ 2814 h 2915"/>
                    <a:gd name="T52" fmla="*/ 7205 w 8246"/>
                    <a:gd name="T53" fmla="*/ 2792 h 2915"/>
                    <a:gd name="T54" fmla="*/ 6400 w 8246"/>
                    <a:gd name="T55" fmla="*/ 2742 h 2915"/>
                    <a:gd name="T56" fmla="*/ 5623 w 8246"/>
                    <a:gd name="T57" fmla="*/ 2667 h 2915"/>
                    <a:gd name="T58" fmla="*/ 4881 w 8246"/>
                    <a:gd name="T59" fmla="*/ 2566 h 2915"/>
                    <a:gd name="T60" fmla="*/ 4176 w 8246"/>
                    <a:gd name="T61" fmla="*/ 2442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2 h 2915"/>
                    <a:gd name="T76" fmla="*/ 1418 w 8246"/>
                    <a:gd name="T77" fmla="*/ 1551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8 h 2915"/>
                    <a:gd name="T94" fmla="*/ 175 w 8246"/>
                    <a:gd name="T95" fmla="*/ 425 h 2915"/>
                    <a:gd name="T96" fmla="*/ 131 w 8246"/>
                    <a:gd name="T97" fmla="*/ 290 h 2915"/>
                    <a:gd name="T98" fmla="*/ 106 w 8246"/>
                    <a:gd name="T99" fmla="*/ 154 h 2915"/>
                    <a:gd name="T100" fmla="*/ 100 w 8246"/>
                    <a:gd name="T101" fmla="*/ 50 h 2915"/>
                    <a:gd name="T102" fmla="*/ 98 w 8246"/>
                    <a:gd name="T103" fmla="*/ 33 h 2915"/>
                    <a:gd name="T104" fmla="*/ 88 w 8246"/>
                    <a:gd name="T105" fmla="*/ 16 h 2915"/>
                    <a:gd name="T106" fmla="*/ 60 w 8246"/>
                    <a:gd name="T107" fmla="*/ 0 h 2915"/>
                    <a:gd name="T108" fmla="*/ 23 w 8246"/>
                    <a:gd name="T109" fmla="*/ 8 h 2915"/>
                    <a:gd name="T110" fmla="*/ 6 w 8246"/>
                    <a:gd name="T111" fmla="*/ 24 h 2915"/>
                    <a:gd name="T112" fmla="*/ 0 w 8246"/>
                    <a:gd name="T113" fmla="*/ 44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0"/>
                      </a:moveTo>
                      <a:lnTo>
                        <a:pt x="0" y="50"/>
                      </a:lnTo>
                      <a:lnTo>
                        <a:pt x="1" y="88"/>
                      </a:lnTo>
                      <a:lnTo>
                        <a:pt x="3" y="127"/>
                      </a:lnTo>
                      <a:lnTo>
                        <a:pt x="6" y="165"/>
                      </a:lnTo>
                      <a:lnTo>
                        <a:pt x="11" y="202"/>
                      </a:lnTo>
                      <a:lnTo>
                        <a:pt x="18" y="240"/>
                      </a:lnTo>
                      <a:lnTo>
                        <a:pt x="25" y="278"/>
                      </a:lnTo>
                      <a:lnTo>
                        <a:pt x="34" y="315"/>
                      </a:lnTo>
                      <a:lnTo>
                        <a:pt x="44" y="352"/>
                      </a:lnTo>
                      <a:lnTo>
                        <a:pt x="56" y="390"/>
                      </a:lnTo>
                      <a:lnTo>
                        <a:pt x="69" y="426"/>
                      </a:lnTo>
                      <a:lnTo>
                        <a:pt x="83" y="463"/>
                      </a:lnTo>
                      <a:lnTo>
                        <a:pt x="99" y="499"/>
                      </a:lnTo>
                      <a:lnTo>
                        <a:pt x="115" y="535"/>
                      </a:lnTo>
                      <a:lnTo>
                        <a:pt x="134" y="572"/>
                      </a:lnTo>
                      <a:lnTo>
                        <a:pt x="154" y="608"/>
                      </a:lnTo>
                      <a:lnTo>
                        <a:pt x="174" y="643"/>
                      </a:lnTo>
                      <a:lnTo>
                        <a:pt x="196" y="678"/>
                      </a:lnTo>
                      <a:lnTo>
                        <a:pt x="219" y="713"/>
                      </a:lnTo>
                      <a:lnTo>
                        <a:pt x="243" y="749"/>
                      </a:lnTo>
                      <a:lnTo>
                        <a:pt x="268" y="784"/>
                      </a:lnTo>
                      <a:lnTo>
                        <a:pt x="295" y="818"/>
                      </a:lnTo>
                      <a:lnTo>
                        <a:pt x="323" y="852"/>
                      </a:lnTo>
                      <a:lnTo>
                        <a:pt x="351" y="887"/>
                      </a:lnTo>
                      <a:lnTo>
                        <a:pt x="381" y="920"/>
                      </a:lnTo>
                      <a:lnTo>
                        <a:pt x="413" y="955"/>
                      </a:lnTo>
                      <a:lnTo>
                        <a:pt x="445" y="988"/>
                      </a:lnTo>
                      <a:lnTo>
                        <a:pt x="479" y="1021"/>
                      </a:lnTo>
                      <a:lnTo>
                        <a:pt x="513" y="1054"/>
                      </a:lnTo>
                      <a:lnTo>
                        <a:pt x="549" y="1087"/>
                      </a:lnTo>
                      <a:lnTo>
                        <a:pt x="586" y="1120"/>
                      </a:lnTo>
                      <a:lnTo>
                        <a:pt x="624" y="1152"/>
                      </a:lnTo>
                      <a:lnTo>
                        <a:pt x="663" y="1184"/>
                      </a:lnTo>
                      <a:lnTo>
                        <a:pt x="703" y="1217"/>
                      </a:lnTo>
                      <a:lnTo>
                        <a:pt x="744" y="1249"/>
                      </a:lnTo>
                      <a:lnTo>
                        <a:pt x="786" y="1280"/>
                      </a:lnTo>
                      <a:lnTo>
                        <a:pt x="830" y="1311"/>
                      </a:lnTo>
                      <a:lnTo>
                        <a:pt x="874" y="1342"/>
                      </a:lnTo>
                      <a:lnTo>
                        <a:pt x="919" y="1373"/>
                      </a:lnTo>
                      <a:lnTo>
                        <a:pt x="966" y="1404"/>
                      </a:lnTo>
                      <a:lnTo>
                        <a:pt x="1013" y="1434"/>
                      </a:lnTo>
                      <a:lnTo>
                        <a:pt x="1062" y="1464"/>
                      </a:lnTo>
                      <a:lnTo>
                        <a:pt x="1111" y="1494"/>
                      </a:lnTo>
                      <a:lnTo>
                        <a:pt x="1162" y="1524"/>
                      </a:lnTo>
                      <a:lnTo>
                        <a:pt x="1212" y="1553"/>
                      </a:lnTo>
                      <a:lnTo>
                        <a:pt x="1265" y="1582"/>
                      </a:lnTo>
                      <a:lnTo>
                        <a:pt x="1318" y="1611"/>
                      </a:lnTo>
                      <a:lnTo>
                        <a:pt x="1373" y="1640"/>
                      </a:lnTo>
                      <a:lnTo>
                        <a:pt x="1428" y="1669"/>
                      </a:lnTo>
                      <a:lnTo>
                        <a:pt x="1484" y="1697"/>
                      </a:lnTo>
                      <a:lnTo>
                        <a:pt x="1541" y="1725"/>
                      </a:lnTo>
                      <a:lnTo>
                        <a:pt x="1600" y="1752"/>
                      </a:lnTo>
                      <a:lnTo>
                        <a:pt x="1658" y="1780"/>
                      </a:lnTo>
                      <a:lnTo>
                        <a:pt x="1718" y="1806"/>
                      </a:lnTo>
                      <a:lnTo>
                        <a:pt x="1779" y="1833"/>
                      </a:lnTo>
                      <a:lnTo>
                        <a:pt x="1841" y="1860"/>
                      </a:lnTo>
                      <a:lnTo>
                        <a:pt x="1904" y="1886"/>
                      </a:lnTo>
                      <a:lnTo>
                        <a:pt x="1967" y="1913"/>
                      </a:lnTo>
                      <a:lnTo>
                        <a:pt x="2030" y="1939"/>
                      </a:lnTo>
                      <a:lnTo>
                        <a:pt x="2096" y="1964"/>
                      </a:lnTo>
                      <a:lnTo>
                        <a:pt x="2162" y="1990"/>
                      </a:lnTo>
                      <a:lnTo>
                        <a:pt x="2229" y="2015"/>
                      </a:lnTo>
                      <a:lnTo>
                        <a:pt x="2297" y="2039"/>
                      </a:lnTo>
                      <a:lnTo>
                        <a:pt x="2365" y="2063"/>
                      </a:lnTo>
                      <a:lnTo>
                        <a:pt x="2436" y="2088"/>
                      </a:lnTo>
                      <a:lnTo>
                        <a:pt x="2506" y="2112"/>
                      </a:lnTo>
                      <a:lnTo>
                        <a:pt x="2577" y="2135"/>
                      </a:lnTo>
                      <a:lnTo>
                        <a:pt x="2649" y="2158"/>
                      </a:lnTo>
                      <a:lnTo>
                        <a:pt x="2721" y="2181"/>
                      </a:lnTo>
                      <a:lnTo>
                        <a:pt x="2794" y="2204"/>
                      </a:lnTo>
                      <a:lnTo>
                        <a:pt x="2869" y="2227"/>
                      </a:lnTo>
                      <a:lnTo>
                        <a:pt x="2944" y="2248"/>
                      </a:lnTo>
                      <a:lnTo>
                        <a:pt x="3020" y="2270"/>
                      </a:lnTo>
                      <a:lnTo>
                        <a:pt x="3173" y="2313"/>
                      </a:lnTo>
                      <a:lnTo>
                        <a:pt x="3331" y="2354"/>
                      </a:lnTo>
                      <a:lnTo>
                        <a:pt x="3491" y="2394"/>
                      </a:lnTo>
                      <a:lnTo>
                        <a:pt x="3653" y="2433"/>
                      </a:lnTo>
                      <a:lnTo>
                        <a:pt x="3819" y="2470"/>
                      </a:lnTo>
                      <a:lnTo>
                        <a:pt x="3987" y="2506"/>
                      </a:lnTo>
                      <a:lnTo>
                        <a:pt x="4158" y="2541"/>
                      </a:lnTo>
                      <a:lnTo>
                        <a:pt x="4331" y="2574"/>
                      </a:lnTo>
                      <a:lnTo>
                        <a:pt x="4507" y="2607"/>
                      </a:lnTo>
                      <a:lnTo>
                        <a:pt x="4686" y="2637"/>
                      </a:lnTo>
                      <a:lnTo>
                        <a:pt x="4866" y="2666"/>
                      </a:lnTo>
                      <a:lnTo>
                        <a:pt x="5049" y="2694"/>
                      </a:lnTo>
                      <a:lnTo>
                        <a:pt x="5235" y="2719"/>
                      </a:lnTo>
                      <a:lnTo>
                        <a:pt x="5422" y="2744"/>
                      </a:lnTo>
                      <a:lnTo>
                        <a:pt x="5612" y="2767"/>
                      </a:lnTo>
                      <a:lnTo>
                        <a:pt x="5804" y="2788"/>
                      </a:lnTo>
                      <a:lnTo>
                        <a:pt x="5998" y="2807"/>
                      </a:lnTo>
                      <a:lnTo>
                        <a:pt x="6193" y="2826"/>
                      </a:lnTo>
                      <a:lnTo>
                        <a:pt x="6391" y="2843"/>
                      </a:lnTo>
                      <a:lnTo>
                        <a:pt x="6591" y="2858"/>
                      </a:lnTo>
                      <a:lnTo>
                        <a:pt x="6792" y="2870"/>
                      </a:lnTo>
                      <a:lnTo>
                        <a:pt x="6995" y="2882"/>
                      </a:lnTo>
                      <a:lnTo>
                        <a:pt x="7200" y="2892"/>
                      </a:lnTo>
                      <a:lnTo>
                        <a:pt x="7407" y="2901"/>
                      </a:lnTo>
                      <a:lnTo>
                        <a:pt x="7614" y="2907"/>
                      </a:lnTo>
                      <a:lnTo>
                        <a:pt x="7823" y="2911"/>
                      </a:lnTo>
                      <a:lnTo>
                        <a:pt x="8034" y="2914"/>
                      </a:lnTo>
                      <a:lnTo>
                        <a:pt x="8246" y="2915"/>
                      </a:lnTo>
                      <a:lnTo>
                        <a:pt x="8246" y="2815"/>
                      </a:lnTo>
                      <a:lnTo>
                        <a:pt x="8034" y="2814"/>
                      </a:lnTo>
                      <a:lnTo>
                        <a:pt x="7825" y="2811"/>
                      </a:lnTo>
                      <a:lnTo>
                        <a:pt x="7617" y="2806"/>
                      </a:lnTo>
                      <a:lnTo>
                        <a:pt x="7410" y="2800"/>
                      </a:lnTo>
                      <a:lnTo>
                        <a:pt x="7205" y="2792"/>
                      </a:lnTo>
                      <a:lnTo>
                        <a:pt x="7000" y="2783"/>
                      </a:lnTo>
                      <a:lnTo>
                        <a:pt x="6798" y="2771"/>
                      </a:lnTo>
                      <a:lnTo>
                        <a:pt x="6597" y="2758"/>
                      </a:lnTo>
                      <a:lnTo>
                        <a:pt x="6400" y="2742"/>
                      </a:lnTo>
                      <a:lnTo>
                        <a:pt x="6203" y="2726"/>
                      </a:lnTo>
                      <a:lnTo>
                        <a:pt x="6008" y="2708"/>
                      </a:lnTo>
                      <a:lnTo>
                        <a:pt x="5814" y="2688"/>
                      </a:lnTo>
                      <a:lnTo>
                        <a:pt x="5623" y="2667"/>
                      </a:lnTo>
                      <a:lnTo>
                        <a:pt x="5435" y="2644"/>
                      </a:lnTo>
                      <a:lnTo>
                        <a:pt x="5248" y="2620"/>
                      </a:lnTo>
                      <a:lnTo>
                        <a:pt x="5064" y="2594"/>
                      </a:lnTo>
                      <a:lnTo>
                        <a:pt x="4881" y="2566"/>
                      </a:lnTo>
                      <a:lnTo>
                        <a:pt x="4702" y="2537"/>
                      </a:lnTo>
                      <a:lnTo>
                        <a:pt x="4524" y="2507"/>
                      </a:lnTo>
                      <a:lnTo>
                        <a:pt x="4350" y="2476"/>
                      </a:lnTo>
                      <a:lnTo>
                        <a:pt x="4176" y="2442"/>
                      </a:lnTo>
                      <a:lnTo>
                        <a:pt x="4007" y="2408"/>
                      </a:lnTo>
                      <a:lnTo>
                        <a:pt x="3839" y="2373"/>
                      </a:lnTo>
                      <a:lnTo>
                        <a:pt x="3675" y="2335"/>
                      </a:lnTo>
                      <a:lnTo>
                        <a:pt x="3514" y="2297"/>
                      </a:lnTo>
                      <a:lnTo>
                        <a:pt x="3355" y="2257"/>
                      </a:lnTo>
                      <a:lnTo>
                        <a:pt x="3199" y="2215"/>
                      </a:lnTo>
                      <a:lnTo>
                        <a:pt x="3047" y="2174"/>
                      </a:lnTo>
                      <a:lnTo>
                        <a:pt x="2971" y="2152"/>
                      </a:lnTo>
                      <a:lnTo>
                        <a:pt x="2897" y="2130"/>
                      </a:lnTo>
                      <a:lnTo>
                        <a:pt x="2824" y="2108"/>
                      </a:lnTo>
                      <a:lnTo>
                        <a:pt x="2751" y="2086"/>
                      </a:lnTo>
                      <a:lnTo>
                        <a:pt x="2679" y="2063"/>
                      </a:lnTo>
                      <a:lnTo>
                        <a:pt x="2608" y="2039"/>
                      </a:lnTo>
                      <a:lnTo>
                        <a:pt x="2538" y="2017"/>
                      </a:lnTo>
                      <a:lnTo>
                        <a:pt x="2467" y="1993"/>
                      </a:lnTo>
                      <a:lnTo>
                        <a:pt x="2398" y="1969"/>
                      </a:lnTo>
                      <a:lnTo>
                        <a:pt x="2330" y="1945"/>
                      </a:lnTo>
                      <a:lnTo>
                        <a:pt x="2263" y="1920"/>
                      </a:lnTo>
                      <a:lnTo>
                        <a:pt x="2197" y="1895"/>
                      </a:lnTo>
                      <a:lnTo>
                        <a:pt x="2132" y="1871"/>
                      </a:lnTo>
                      <a:lnTo>
                        <a:pt x="2068" y="1845"/>
                      </a:lnTo>
                      <a:lnTo>
                        <a:pt x="2004" y="1820"/>
                      </a:lnTo>
                      <a:lnTo>
                        <a:pt x="1941" y="1794"/>
                      </a:lnTo>
                      <a:lnTo>
                        <a:pt x="1880" y="1768"/>
                      </a:lnTo>
                      <a:lnTo>
                        <a:pt x="1819" y="1741"/>
                      </a:lnTo>
                      <a:lnTo>
                        <a:pt x="1758" y="1715"/>
                      </a:lnTo>
                      <a:lnTo>
                        <a:pt x="1700" y="1688"/>
                      </a:lnTo>
                      <a:lnTo>
                        <a:pt x="1642" y="1662"/>
                      </a:lnTo>
                      <a:lnTo>
                        <a:pt x="1584" y="1634"/>
                      </a:lnTo>
                      <a:lnTo>
                        <a:pt x="1529" y="1607"/>
                      </a:lnTo>
                      <a:lnTo>
                        <a:pt x="1473" y="1579"/>
                      </a:lnTo>
                      <a:lnTo>
                        <a:pt x="1418" y="1551"/>
                      </a:lnTo>
                      <a:lnTo>
                        <a:pt x="1366" y="1523"/>
                      </a:lnTo>
                      <a:lnTo>
                        <a:pt x="1313" y="1494"/>
                      </a:lnTo>
                      <a:lnTo>
                        <a:pt x="1262" y="1466"/>
                      </a:lnTo>
                      <a:lnTo>
                        <a:pt x="1211" y="1437"/>
                      </a:lnTo>
                      <a:lnTo>
                        <a:pt x="1162" y="1408"/>
                      </a:lnTo>
                      <a:lnTo>
                        <a:pt x="1113" y="1379"/>
                      </a:lnTo>
                      <a:lnTo>
                        <a:pt x="1066" y="1349"/>
                      </a:lnTo>
                      <a:lnTo>
                        <a:pt x="1020" y="1320"/>
                      </a:lnTo>
                      <a:lnTo>
                        <a:pt x="975" y="1290"/>
                      </a:lnTo>
                      <a:lnTo>
                        <a:pt x="931" y="1260"/>
                      </a:lnTo>
                      <a:lnTo>
                        <a:pt x="887" y="1229"/>
                      </a:lnTo>
                      <a:lnTo>
                        <a:pt x="845" y="1199"/>
                      </a:lnTo>
                      <a:lnTo>
                        <a:pt x="804" y="1168"/>
                      </a:lnTo>
                      <a:lnTo>
                        <a:pt x="765" y="1138"/>
                      </a:lnTo>
                      <a:lnTo>
                        <a:pt x="726" y="1107"/>
                      </a:lnTo>
                      <a:lnTo>
                        <a:pt x="688" y="1076"/>
                      </a:lnTo>
                      <a:lnTo>
                        <a:pt x="651" y="1044"/>
                      </a:lnTo>
                      <a:lnTo>
                        <a:pt x="616" y="1013"/>
                      </a:lnTo>
                      <a:lnTo>
                        <a:pt x="581" y="981"/>
                      </a:lnTo>
                      <a:lnTo>
                        <a:pt x="548" y="949"/>
                      </a:lnTo>
                      <a:lnTo>
                        <a:pt x="516" y="917"/>
                      </a:lnTo>
                      <a:lnTo>
                        <a:pt x="485" y="885"/>
                      </a:lnTo>
                      <a:lnTo>
                        <a:pt x="456" y="853"/>
                      </a:lnTo>
                      <a:lnTo>
                        <a:pt x="427" y="821"/>
                      </a:lnTo>
                      <a:lnTo>
                        <a:pt x="400" y="789"/>
                      </a:lnTo>
                      <a:lnTo>
                        <a:pt x="373" y="756"/>
                      </a:lnTo>
                      <a:lnTo>
                        <a:pt x="348" y="724"/>
                      </a:lnTo>
                      <a:lnTo>
                        <a:pt x="324" y="691"/>
                      </a:lnTo>
                      <a:lnTo>
                        <a:pt x="301" y="658"/>
                      </a:lnTo>
                      <a:lnTo>
                        <a:pt x="280" y="624"/>
                      </a:lnTo>
                      <a:lnTo>
                        <a:pt x="260" y="591"/>
                      </a:lnTo>
                      <a:lnTo>
                        <a:pt x="240" y="558"/>
                      </a:lnTo>
                      <a:lnTo>
                        <a:pt x="223" y="525"/>
                      </a:lnTo>
                      <a:lnTo>
                        <a:pt x="205" y="492"/>
                      </a:lnTo>
                      <a:lnTo>
                        <a:pt x="190" y="459"/>
                      </a:lnTo>
                      <a:lnTo>
                        <a:pt x="175" y="425"/>
                      </a:lnTo>
                      <a:lnTo>
                        <a:pt x="163" y="392"/>
                      </a:lnTo>
                      <a:lnTo>
                        <a:pt x="150" y="357"/>
                      </a:lnTo>
                      <a:lnTo>
                        <a:pt x="140" y="324"/>
                      </a:lnTo>
                      <a:lnTo>
                        <a:pt x="131" y="290"/>
                      </a:lnTo>
                      <a:lnTo>
                        <a:pt x="123" y="256"/>
                      </a:lnTo>
                      <a:lnTo>
                        <a:pt x="115" y="222"/>
                      </a:lnTo>
                      <a:lnTo>
                        <a:pt x="110" y="188"/>
                      </a:lnTo>
                      <a:lnTo>
                        <a:pt x="106" y="154"/>
                      </a:lnTo>
                      <a:lnTo>
                        <a:pt x="102" y="119"/>
                      </a:lnTo>
                      <a:lnTo>
                        <a:pt x="101" y="85"/>
                      </a:lnTo>
                      <a:lnTo>
                        <a:pt x="100" y="50"/>
                      </a:lnTo>
                      <a:lnTo>
                        <a:pt x="100" y="50"/>
                      </a:lnTo>
                      <a:lnTo>
                        <a:pt x="100" y="50"/>
                      </a:lnTo>
                      <a:lnTo>
                        <a:pt x="100" y="44"/>
                      </a:lnTo>
                      <a:lnTo>
                        <a:pt x="99" y="39"/>
                      </a:lnTo>
                      <a:lnTo>
                        <a:pt x="98" y="33"/>
                      </a:lnTo>
                      <a:lnTo>
                        <a:pt x="96" y="28"/>
                      </a:lnTo>
                      <a:lnTo>
                        <a:pt x="94" y="24"/>
                      </a:lnTo>
                      <a:lnTo>
                        <a:pt x="91" y="20"/>
                      </a:lnTo>
                      <a:lnTo>
                        <a:pt x="88" y="16"/>
                      </a:lnTo>
                      <a:lnTo>
                        <a:pt x="85" y="13"/>
                      </a:lnTo>
                      <a:lnTo>
                        <a:pt x="77" y="8"/>
                      </a:lnTo>
                      <a:lnTo>
                        <a:pt x="68" y="3"/>
                      </a:lnTo>
                      <a:lnTo>
                        <a:pt x="60" y="0"/>
                      </a:lnTo>
                      <a:lnTo>
                        <a:pt x="51" y="0"/>
                      </a:lnTo>
                      <a:lnTo>
                        <a:pt x="40" y="0"/>
                      </a:lnTo>
                      <a:lnTo>
                        <a:pt x="32" y="3"/>
                      </a:lnTo>
                      <a:lnTo>
                        <a:pt x="23" y="8"/>
                      </a:lnTo>
                      <a:lnTo>
                        <a:pt x="15" y="13"/>
                      </a:lnTo>
                      <a:lnTo>
                        <a:pt x="12" y="16"/>
                      </a:lnTo>
                      <a:lnTo>
                        <a:pt x="9" y="20"/>
                      </a:lnTo>
                      <a:lnTo>
                        <a:pt x="6" y="24"/>
                      </a:lnTo>
                      <a:lnTo>
                        <a:pt x="4" y="28"/>
                      </a:lnTo>
                      <a:lnTo>
                        <a:pt x="2" y="33"/>
                      </a:lnTo>
                      <a:lnTo>
                        <a:pt x="1" y="39"/>
                      </a:lnTo>
                      <a:lnTo>
                        <a:pt x="0" y="44"/>
                      </a:lnTo>
                      <a:lnTo>
                        <a:pt x="0" y="5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30" name="Freeform 221"/>
                <p:cNvSpPr>
                  <a:spLocks/>
                </p:cNvSpPr>
                <p:nvPr>
                  <p:custDataLst>
                    <p:tags r:id="rId81"/>
                  </p:custDataLst>
                </p:nvPr>
              </p:nvSpPr>
              <p:spPr bwMode="auto">
                <a:xfrm>
                  <a:off x="369" y="3515"/>
                  <a:ext cx="361" cy="114"/>
                </a:xfrm>
                <a:custGeom>
                  <a:avLst/>
                  <a:gdLst>
                    <a:gd name="T0" fmla="*/ 7823 w 8296"/>
                    <a:gd name="T1" fmla="*/ 3 h 2864"/>
                    <a:gd name="T2" fmla="*/ 6995 w 8296"/>
                    <a:gd name="T3" fmla="*/ 32 h 2864"/>
                    <a:gd name="T4" fmla="*/ 6193 w 8296"/>
                    <a:gd name="T5" fmla="*/ 88 h 2864"/>
                    <a:gd name="T6" fmla="*/ 5422 w 8296"/>
                    <a:gd name="T7" fmla="*/ 171 h 2864"/>
                    <a:gd name="T8" fmla="*/ 4686 w 8296"/>
                    <a:gd name="T9" fmla="*/ 279 h 2864"/>
                    <a:gd name="T10" fmla="*/ 3987 w 8296"/>
                    <a:gd name="T11" fmla="*/ 409 h 2864"/>
                    <a:gd name="T12" fmla="*/ 3331 w 8296"/>
                    <a:gd name="T13" fmla="*/ 561 h 2864"/>
                    <a:gd name="T14" fmla="*/ 2721 w 8296"/>
                    <a:gd name="T15" fmla="*/ 734 h 2864"/>
                    <a:gd name="T16" fmla="*/ 2436 w 8296"/>
                    <a:gd name="T17" fmla="*/ 827 h 2864"/>
                    <a:gd name="T18" fmla="*/ 2162 w 8296"/>
                    <a:gd name="T19" fmla="*/ 925 h 2864"/>
                    <a:gd name="T20" fmla="*/ 1904 w 8296"/>
                    <a:gd name="T21" fmla="*/ 1028 h 2864"/>
                    <a:gd name="T22" fmla="*/ 1658 w 8296"/>
                    <a:gd name="T23" fmla="*/ 1136 h 2864"/>
                    <a:gd name="T24" fmla="*/ 1428 w 8296"/>
                    <a:gd name="T25" fmla="*/ 1246 h 2864"/>
                    <a:gd name="T26" fmla="*/ 1212 w 8296"/>
                    <a:gd name="T27" fmla="*/ 1361 h 2864"/>
                    <a:gd name="T28" fmla="*/ 1013 w 8296"/>
                    <a:gd name="T29" fmla="*/ 1481 h 2864"/>
                    <a:gd name="T30" fmla="*/ 830 w 8296"/>
                    <a:gd name="T31" fmla="*/ 1603 h 2864"/>
                    <a:gd name="T32" fmla="*/ 663 w 8296"/>
                    <a:gd name="T33" fmla="*/ 1730 h 2864"/>
                    <a:gd name="T34" fmla="*/ 513 w 8296"/>
                    <a:gd name="T35" fmla="*/ 1860 h 2864"/>
                    <a:gd name="T36" fmla="*/ 381 w 8296"/>
                    <a:gd name="T37" fmla="*/ 1994 h 2864"/>
                    <a:gd name="T38" fmla="*/ 268 w 8296"/>
                    <a:gd name="T39" fmla="*/ 2131 h 2864"/>
                    <a:gd name="T40" fmla="*/ 174 w 8296"/>
                    <a:gd name="T41" fmla="*/ 2272 h 2864"/>
                    <a:gd name="T42" fmla="*/ 99 w 8296"/>
                    <a:gd name="T43" fmla="*/ 2416 h 2864"/>
                    <a:gd name="T44" fmla="*/ 44 w 8296"/>
                    <a:gd name="T45" fmla="*/ 2563 h 2864"/>
                    <a:gd name="T46" fmla="*/ 11 w 8296"/>
                    <a:gd name="T47" fmla="*/ 2712 h 2864"/>
                    <a:gd name="T48" fmla="*/ 0 w 8296"/>
                    <a:gd name="T49" fmla="*/ 2864 h 2864"/>
                    <a:gd name="T50" fmla="*/ 106 w 8296"/>
                    <a:gd name="T51" fmla="*/ 2762 h 2864"/>
                    <a:gd name="T52" fmla="*/ 131 w 8296"/>
                    <a:gd name="T53" fmla="*/ 2625 h 2864"/>
                    <a:gd name="T54" fmla="*/ 175 w 8296"/>
                    <a:gd name="T55" fmla="*/ 2490 h 2864"/>
                    <a:gd name="T56" fmla="*/ 240 w 8296"/>
                    <a:gd name="T57" fmla="*/ 2356 h 2864"/>
                    <a:gd name="T58" fmla="*/ 324 w 8296"/>
                    <a:gd name="T59" fmla="*/ 2224 h 2864"/>
                    <a:gd name="T60" fmla="*/ 427 w 8296"/>
                    <a:gd name="T61" fmla="*/ 2094 h 2864"/>
                    <a:gd name="T62" fmla="*/ 548 w 8296"/>
                    <a:gd name="T63" fmla="*/ 1966 h 2864"/>
                    <a:gd name="T64" fmla="*/ 688 w 8296"/>
                    <a:gd name="T65" fmla="*/ 1839 h 2864"/>
                    <a:gd name="T66" fmla="*/ 845 w 8296"/>
                    <a:gd name="T67" fmla="*/ 1716 h 2864"/>
                    <a:gd name="T68" fmla="*/ 1020 w 8296"/>
                    <a:gd name="T69" fmla="*/ 1595 h 2864"/>
                    <a:gd name="T70" fmla="*/ 1211 w 8296"/>
                    <a:gd name="T71" fmla="*/ 1478 h 2864"/>
                    <a:gd name="T72" fmla="*/ 1418 w 8296"/>
                    <a:gd name="T73" fmla="*/ 1364 h 2864"/>
                    <a:gd name="T74" fmla="*/ 1642 w 8296"/>
                    <a:gd name="T75" fmla="*/ 1254 h 2864"/>
                    <a:gd name="T76" fmla="*/ 1880 w 8296"/>
                    <a:gd name="T77" fmla="*/ 1147 h 2864"/>
                    <a:gd name="T78" fmla="*/ 2132 w 8296"/>
                    <a:gd name="T79" fmla="*/ 1044 h 2864"/>
                    <a:gd name="T80" fmla="*/ 2398 w 8296"/>
                    <a:gd name="T81" fmla="*/ 946 h 2864"/>
                    <a:gd name="T82" fmla="*/ 2679 w 8296"/>
                    <a:gd name="T83" fmla="*/ 852 h 2864"/>
                    <a:gd name="T84" fmla="*/ 3199 w 8296"/>
                    <a:gd name="T85" fmla="*/ 699 h 2864"/>
                    <a:gd name="T86" fmla="*/ 3839 w 8296"/>
                    <a:gd name="T87" fmla="*/ 542 h 2864"/>
                    <a:gd name="T88" fmla="*/ 4524 w 8296"/>
                    <a:gd name="T89" fmla="*/ 408 h 2864"/>
                    <a:gd name="T90" fmla="*/ 5248 w 8296"/>
                    <a:gd name="T91" fmla="*/ 295 h 2864"/>
                    <a:gd name="T92" fmla="*/ 6008 w 8296"/>
                    <a:gd name="T93" fmla="*/ 207 h 2864"/>
                    <a:gd name="T94" fmla="*/ 6798 w 8296"/>
                    <a:gd name="T95" fmla="*/ 144 h 2864"/>
                    <a:gd name="T96" fmla="*/ 7617 w 8296"/>
                    <a:gd name="T97" fmla="*/ 108 h 2864"/>
                    <a:gd name="T98" fmla="*/ 8246 w 8296"/>
                    <a:gd name="T99" fmla="*/ 100 h 2864"/>
                    <a:gd name="T100" fmla="*/ 8263 w 8296"/>
                    <a:gd name="T101" fmla="*/ 97 h 2864"/>
                    <a:gd name="T102" fmla="*/ 8280 w 8296"/>
                    <a:gd name="T103" fmla="*/ 88 h 2864"/>
                    <a:gd name="T104" fmla="*/ 8295 w 8296"/>
                    <a:gd name="T105" fmla="*/ 59 h 2864"/>
                    <a:gd name="T106" fmla="*/ 8289 w 8296"/>
                    <a:gd name="T107" fmla="*/ 23 h 2864"/>
                    <a:gd name="T108" fmla="*/ 8272 w 8296"/>
                    <a:gd name="T109" fmla="*/ 6 h 2864"/>
                    <a:gd name="T110" fmla="*/ 8252 w 8296"/>
                    <a:gd name="T111" fmla="*/ 0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4">
                      <a:moveTo>
                        <a:pt x="8246" y="0"/>
                      </a:moveTo>
                      <a:lnTo>
                        <a:pt x="8246" y="0"/>
                      </a:lnTo>
                      <a:lnTo>
                        <a:pt x="8034" y="0"/>
                      </a:lnTo>
                      <a:lnTo>
                        <a:pt x="7823" y="3"/>
                      </a:lnTo>
                      <a:lnTo>
                        <a:pt x="7614" y="8"/>
                      </a:lnTo>
                      <a:lnTo>
                        <a:pt x="7407" y="15"/>
                      </a:lnTo>
                      <a:lnTo>
                        <a:pt x="7200" y="23"/>
                      </a:lnTo>
                      <a:lnTo>
                        <a:pt x="6995" y="32"/>
                      </a:lnTo>
                      <a:lnTo>
                        <a:pt x="6792" y="44"/>
                      </a:lnTo>
                      <a:lnTo>
                        <a:pt x="6591" y="57"/>
                      </a:lnTo>
                      <a:lnTo>
                        <a:pt x="6391" y="72"/>
                      </a:lnTo>
                      <a:lnTo>
                        <a:pt x="6193" y="88"/>
                      </a:lnTo>
                      <a:lnTo>
                        <a:pt x="5998" y="107"/>
                      </a:lnTo>
                      <a:lnTo>
                        <a:pt x="5804" y="126"/>
                      </a:lnTo>
                      <a:lnTo>
                        <a:pt x="5612" y="148"/>
                      </a:lnTo>
                      <a:lnTo>
                        <a:pt x="5422" y="171"/>
                      </a:lnTo>
                      <a:lnTo>
                        <a:pt x="5235" y="196"/>
                      </a:lnTo>
                      <a:lnTo>
                        <a:pt x="5049" y="222"/>
                      </a:lnTo>
                      <a:lnTo>
                        <a:pt x="4866" y="250"/>
                      </a:lnTo>
                      <a:lnTo>
                        <a:pt x="4686" y="279"/>
                      </a:lnTo>
                      <a:lnTo>
                        <a:pt x="4507" y="309"/>
                      </a:lnTo>
                      <a:lnTo>
                        <a:pt x="4331" y="341"/>
                      </a:lnTo>
                      <a:lnTo>
                        <a:pt x="4158" y="374"/>
                      </a:lnTo>
                      <a:lnTo>
                        <a:pt x="3987" y="409"/>
                      </a:lnTo>
                      <a:lnTo>
                        <a:pt x="3819" y="444"/>
                      </a:lnTo>
                      <a:lnTo>
                        <a:pt x="3653" y="482"/>
                      </a:lnTo>
                      <a:lnTo>
                        <a:pt x="3491" y="521"/>
                      </a:lnTo>
                      <a:lnTo>
                        <a:pt x="3331" y="561"/>
                      </a:lnTo>
                      <a:lnTo>
                        <a:pt x="3173" y="602"/>
                      </a:lnTo>
                      <a:lnTo>
                        <a:pt x="3020" y="645"/>
                      </a:lnTo>
                      <a:lnTo>
                        <a:pt x="2869" y="688"/>
                      </a:lnTo>
                      <a:lnTo>
                        <a:pt x="2721" y="734"/>
                      </a:lnTo>
                      <a:lnTo>
                        <a:pt x="2649" y="757"/>
                      </a:lnTo>
                      <a:lnTo>
                        <a:pt x="2577" y="779"/>
                      </a:lnTo>
                      <a:lnTo>
                        <a:pt x="2506" y="803"/>
                      </a:lnTo>
                      <a:lnTo>
                        <a:pt x="2436" y="827"/>
                      </a:lnTo>
                      <a:lnTo>
                        <a:pt x="2365" y="851"/>
                      </a:lnTo>
                      <a:lnTo>
                        <a:pt x="2297" y="876"/>
                      </a:lnTo>
                      <a:lnTo>
                        <a:pt x="2229" y="901"/>
                      </a:lnTo>
                      <a:lnTo>
                        <a:pt x="2162" y="925"/>
                      </a:lnTo>
                      <a:lnTo>
                        <a:pt x="2096" y="950"/>
                      </a:lnTo>
                      <a:lnTo>
                        <a:pt x="2030" y="976"/>
                      </a:lnTo>
                      <a:lnTo>
                        <a:pt x="1967" y="1002"/>
                      </a:lnTo>
                      <a:lnTo>
                        <a:pt x="1904" y="1028"/>
                      </a:lnTo>
                      <a:lnTo>
                        <a:pt x="1841" y="1055"/>
                      </a:lnTo>
                      <a:lnTo>
                        <a:pt x="1779" y="1081"/>
                      </a:lnTo>
                      <a:lnTo>
                        <a:pt x="1718" y="1108"/>
                      </a:lnTo>
                      <a:lnTo>
                        <a:pt x="1658" y="1136"/>
                      </a:lnTo>
                      <a:lnTo>
                        <a:pt x="1600" y="1162"/>
                      </a:lnTo>
                      <a:lnTo>
                        <a:pt x="1541" y="1190"/>
                      </a:lnTo>
                      <a:lnTo>
                        <a:pt x="1484" y="1218"/>
                      </a:lnTo>
                      <a:lnTo>
                        <a:pt x="1428" y="1246"/>
                      </a:lnTo>
                      <a:lnTo>
                        <a:pt x="1373" y="1275"/>
                      </a:lnTo>
                      <a:lnTo>
                        <a:pt x="1318" y="1303"/>
                      </a:lnTo>
                      <a:lnTo>
                        <a:pt x="1265" y="1332"/>
                      </a:lnTo>
                      <a:lnTo>
                        <a:pt x="1212" y="1361"/>
                      </a:lnTo>
                      <a:lnTo>
                        <a:pt x="1162" y="1391"/>
                      </a:lnTo>
                      <a:lnTo>
                        <a:pt x="1111" y="1420"/>
                      </a:lnTo>
                      <a:lnTo>
                        <a:pt x="1062" y="1450"/>
                      </a:lnTo>
                      <a:lnTo>
                        <a:pt x="1013" y="1481"/>
                      </a:lnTo>
                      <a:lnTo>
                        <a:pt x="966" y="1511"/>
                      </a:lnTo>
                      <a:lnTo>
                        <a:pt x="919" y="1542"/>
                      </a:lnTo>
                      <a:lnTo>
                        <a:pt x="874" y="1572"/>
                      </a:lnTo>
                      <a:lnTo>
                        <a:pt x="830" y="1603"/>
                      </a:lnTo>
                      <a:lnTo>
                        <a:pt x="786" y="1635"/>
                      </a:lnTo>
                      <a:lnTo>
                        <a:pt x="744" y="1667"/>
                      </a:lnTo>
                      <a:lnTo>
                        <a:pt x="703" y="1699"/>
                      </a:lnTo>
                      <a:lnTo>
                        <a:pt x="663" y="1730"/>
                      </a:lnTo>
                      <a:lnTo>
                        <a:pt x="624" y="1763"/>
                      </a:lnTo>
                      <a:lnTo>
                        <a:pt x="586" y="1795"/>
                      </a:lnTo>
                      <a:lnTo>
                        <a:pt x="549" y="1828"/>
                      </a:lnTo>
                      <a:lnTo>
                        <a:pt x="513" y="1860"/>
                      </a:lnTo>
                      <a:lnTo>
                        <a:pt x="479" y="1893"/>
                      </a:lnTo>
                      <a:lnTo>
                        <a:pt x="445" y="1926"/>
                      </a:lnTo>
                      <a:lnTo>
                        <a:pt x="413" y="1960"/>
                      </a:lnTo>
                      <a:lnTo>
                        <a:pt x="381" y="1994"/>
                      </a:lnTo>
                      <a:lnTo>
                        <a:pt x="351" y="2028"/>
                      </a:lnTo>
                      <a:lnTo>
                        <a:pt x="323" y="2062"/>
                      </a:lnTo>
                      <a:lnTo>
                        <a:pt x="295" y="2097"/>
                      </a:lnTo>
                      <a:lnTo>
                        <a:pt x="268" y="2131"/>
                      </a:lnTo>
                      <a:lnTo>
                        <a:pt x="243" y="2166"/>
                      </a:lnTo>
                      <a:lnTo>
                        <a:pt x="219" y="2201"/>
                      </a:lnTo>
                      <a:lnTo>
                        <a:pt x="196" y="2236"/>
                      </a:lnTo>
                      <a:lnTo>
                        <a:pt x="174" y="2272"/>
                      </a:lnTo>
                      <a:lnTo>
                        <a:pt x="154" y="2307"/>
                      </a:lnTo>
                      <a:lnTo>
                        <a:pt x="134" y="2343"/>
                      </a:lnTo>
                      <a:lnTo>
                        <a:pt x="115" y="2380"/>
                      </a:lnTo>
                      <a:lnTo>
                        <a:pt x="99" y="2416"/>
                      </a:lnTo>
                      <a:lnTo>
                        <a:pt x="83" y="2452"/>
                      </a:lnTo>
                      <a:lnTo>
                        <a:pt x="69" y="2488"/>
                      </a:lnTo>
                      <a:lnTo>
                        <a:pt x="56" y="2526"/>
                      </a:lnTo>
                      <a:lnTo>
                        <a:pt x="44" y="2563"/>
                      </a:lnTo>
                      <a:lnTo>
                        <a:pt x="34" y="2600"/>
                      </a:lnTo>
                      <a:lnTo>
                        <a:pt x="25" y="2637"/>
                      </a:lnTo>
                      <a:lnTo>
                        <a:pt x="18" y="2675"/>
                      </a:lnTo>
                      <a:lnTo>
                        <a:pt x="11" y="2712"/>
                      </a:lnTo>
                      <a:lnTo>
                        <a:pt x="6" y="2750"/>
                      </a:lnTo>
                      <a:lnTo>
                        <a:pt x="3" y="2788"/>
                      </a:lnTo>
                      <a:lnTo>
                        <a:pt x="1" y="2826"/>
                      </a:lnTo>
                      <a:lnTo>
                        <a:pt x="0" y="2864"/>
                      </a:lnTo>
                      <a:lnTo>
                        <a:pt x="100" y="2864"/>
                      </a:lnTo>
                      <a:lnTo>
                        <a:pt x="101" y="2830"/>
                      </a:lnTo>
                      <a:lnTo>
                        <a:pt x="102" y="2796"/>
                      </a:lnTo>
                      <a:lnTo>
                        <a:pt x="106" y="2762"/>
                      </a:lnTo>
                      <a:lnTo>
                        <a:pt x="110" y="2726"/>
                      </a:lnTo>
                      <a:lnTo>
                        <a:pt x="115" y="2693"/>
                      </a:lnTo>
                      <a:lnTo>
                        <a:pt x="123" y="2659"/>
                      </a:lnTo>
                      <a:lnTo>
                        <a:pt x="131" y="2625"/>
                      </a:lnTo>
                      <a:lnTo>
                        <a:pt x="140" y="2591"/>
                      </a:lnTo>
                      <a:lnTo>
                        <a:pt x="150" y="2558"/>
                      </a:lnTo>
                      <a:lnTo>
                        <a:pt x="163" y="2524"/>
                      </a:lnTo>
                      <a:lnTo>
                        <a:pt x="175" y="2490"/>
                      </a:lnTo>
                      <a:lnTo>
                        <a:pt x="190" y="2456"/>
                      </a:lnTo>
                      <a:lnTo>
                        <a:pt x="205" y="2423"/>
                      </a:lnTo>
                      <a:lnTo>
                        <a:pt x="223" y="2390"/>
                      </a:lnTo>
                      <a:lnTo>
                        <a:pt x="240" y="2356"/>
                      </a:lnTo>
                      <a:lnTo>
                        <a:pt x="260" y="2323"/>
                      </a:lnTo>
                      <a:lnTo>
                        <a:pt x="279" y="2290"/>
                      </a:lnTo>
                      <a:lnTo>
                        <a:pt x="301" y="2258"/>
                      </a:lnTo>
                      <a:lnTo>
                        <a:pt x="324" y="2224"/>
                      </a:lnTo>
                      <a:lnTo>
                        <a:pt x="348" y="2191"/>
                      </a:lnTo>
                      <a:lnTo>
                        <a:pt x="373" y="2159"/>
                      </a:lnTo>
                      <a:lnTo>
                        <a:pt x="400" y="2126"/>
                      </a:lnTo>
                      <a:lnTo>
                        <a:pt x="427" y="2094"/>
                      </a:lnTo>
                      <a:lnTo>
                        <a:pt x="456" y="2062"/>
                      </a:lnTo>
                      <a:lnTo>
                        <a:pt x="485" y="2030"/>
                      </a:lnTo>
                      <a:lnTo>
                        <a:pt x="516" y="1998"/>
                      </a:lnTo>
                      <a:lnTo>
                        <a:pt x="548" y="1966"/>
                      </a:lnTo>
                      <a:lnTo>
                        <a:pt x="581" y="1934"/>
                      </a:lnTo>
                      <a:lnTo>
                        <a:pt x="616" y="1902"/>
                      </a:lnTo>
                      <a:lnTo>
                        <a:pt x="651" y="1870"/>
                      </a:lnTo>
                      <a:lnTo>
                        <a:pt x="688" y="1839"/>
                      </a:lnTo>
                      <a:lnTo>
                        <a:pt x="726" y="1808"/>
                      </a:lnTo>
                      <a:lnTo>
                        <a:pt x="765" y="1777"/>
                      </a:lnTo>
                      <a:lnTo>
                        <a:pt x="804" y="1746"/>
                      </a:lnTo>
                      <a:lnTo>
                        <a:pt x="845" y="1716"/>
                      </a:lnTo>
                      <a:lnTo>
                        <a:pt x="887" y="1685"/>
                      </a:lnTo>
                      <a:lnTo>
                        <a:pt x="931" y="1655"/>
                      </a:lnTo>
                      <a:lnTo>
                        <a:pt x="975" y="1625"/>
                      </a:lnTo>
                      <a:lnTo>
                        <a:pt x="1020" y="1595"/>
                      </a:lnTo>
                      <a:lnTo>
                        <a:pt x="1066" y="1565"/>
                      </a:lnTo>
                      <a:lnTo>
                        <a:pt x="1113" y="1536"/>
                      </a:lnTo>
                      <a:lnTo>
                        <a:pt x="1162" y="1507"/>
                      </a:lnTo>
                      <a:lnTo>
                        <a:pt x="1211" y="1478"/>
                      </a:lnTo>
                      <a:lnTo>
                        <a:pt x="1262" y="1449"/>
                      </a:lnTo>
                      <a:lnTo>
                        <a:pt x="1313" y="1420"/>
                      </a:lnTo>
                      <a:lnTo>
                        <a:pt x="1366" y="1392"/>
                      </a:lnTo>
                      <a:lnTo>
                        <a:pt x="1418" y="1364"/>
                      </a:lnTo>
                      <a:lnTo>
                        <a:pt x="1473" y="1336"/>
                      </a:lnTo>
                      <a:lnTo>
                        <a:pt x="1529" y="1308"/>
                      </a:lnTo>
                      <a:lnTo>
                        <a:pt x="1584" y="1280"/>
                      </a:lnTo>
                      <a:lnTo>
                        <a:pt x="1642" y="1254"/>
                      </a:lnTo>
                      <a:lnTo>
                        <a:pt x="1700" y="1227"/>
                      </a:lnTo>
                      <a:lnTo>
                        <a:pt x="1758" y="1200"/>
                      </a:lnTo>
                      <a:lnTo>
                        <a:pt x="1819" y="1173"/>
                      </a:lnTo>
                      <a:lnTo>
                        <a:pt x="1880" y="1147"/>
                      </a:lnTo>
                      <a:lnTo>
                        <a:pt x="1941" y="1121"/>
                      </a:lnTo>
                      <a:lnTo>
                        <a:pt x="2004" y="1095"/>
                      </a:lnTo>
                      <a:lnTo>
                        <a:pt x="2068" y="1069"/>
                      </a:lnTo>
                      <a:lnTo>
                        <a:pt x="2132" y="1044"/>
                      </a:lnTo>
                      <a:lnTo>
                        <a:pt x="2197" y="1020"/>
                      </a:lnTo>
                      <a:lnTo>
                        <a:pt x="2263" y="995"/>
                      </a:lnTo>
                      <a:lnTo>
                        <a:pt x="2330" y="970"/>
                      </a:lnTo>
                      <a:lnTo>
                        <a:pt x="2398" y="946"/>
                      </a:lnTo>
                      <a:lnTo>
                        <a:pt x="2467" y="922"/>
                      </a:lnTo>
                      <a:lnTo>
                        <a:pt x="2538" y="899"/>
                      </a:lnTo>
                      <a:lnTo>
                        <a:pt x="2608" y="875"/>
                      </a:lnTo>
                      <a:lnTo>
                        <a:pt x="2679" y="852"/>
                      </a:lnTo>
                      <a:lnTo>
                        <a:pt x="2751" y="829"/>
                      </a:lnTo>
                      <a:lnTo>
                        <a:pt x="2897" y="785"/>
                      </a:lnTo>
                      <a:lnTo>
                        <a:pt x="3047" y="741"/>
                      </a:lnTo>
                      <a:lnTo>
                        <a:pt x="3199" y="699"/>
                      </a:lnTo>
                      <a:lnTo>
                        <a:pt x="3355" y="658"/>
                      </a:lnTo>
                      <a:lnTo>
                        <a:pt x="3514" y="618"/>
                      </a:lnTo>
                      <a:lnTo>
                        <a:pt x="3675" y="580"/>
                      </a:lnTo>
                      <a:lnTo>
                        <a:pt x="3839" y="542"/>
                      </a:lnTo>
                      <a:lnTo>
                        <a:pt x="4007" y="506"/>
                      </a:lnTo>
                      <a:lnTo>
                        <a:pt x="4176" y="472"/>
                      </a:lnTo>
                      <a:lnTo>
                        <a:pt x="4350" y="439"/>
                      </a:lnTo>
                      <a:lnTo>
                        <a:pt x="4524" y="408"/>
                      </a:lnTo>
                      <a:lnTo>
                        <a:pt x="4702" y="377"/>
                      </a:lnTo>
                      <a:lnTo>
                        <a:pt x="4881" y="348"/>
                      </a:lnTo>
                      <a:lnTo>
                        <a:pt x="5064" y="321"/>
                      </a:lnTo>
                      <a:lnTo>
                        <a:pt x="5248" y="295"/>
                      </a:lnTo>
                      <a:lnTo>
                        <a:pt x="5435" y="270"/>
                      </a:lnTo>
                      <a:lnTo>
                        <a:pt x="5623" y="247"/>
                      </a:lnTo>
                      <a:lnTo>
                        <a:pt x="5814" y="227"/>
                      </a:lnTo>
                      <a:lnTo>
                        <a:pt x="6008" y="207"/>
                      </a:lnTo>
                      <a:lnTo>
                        <a:pt x="6203" y="188"/>
                      </a:lnTo>
                      <a:lnTo>
                        <a:pt x="6400" y="172"/>
                      </a:lnTo>
                      <a:lnTo>
                        <a:pt x="6597" y="157"/>
                      </a:lnTo>
                      <a:lnTo>
                        <a:pt x="6798" y="144"/>
                      </a:lnTo>
                      <a:lnTo>
                        <a:pt x="7000" y="133"/>
                      </a:lnTo>
                      <a:lnTo>
                        <a:pt x="7205" y="122"/>
                      </a:lnTo>
                      <a:lnTo>
                        <a:pt x="7410" y="115"/>
                      </a:lnTo>
                      <a:lnTo>
                        <a:pt x="7617" y="108"/>
                      </a:lnTo>
                      <a:lnTo>
                        <a:pt x="7825" y="104"/>
                      </a:lnTo>
                      <a:lnTo>
                        <a:pt x="8034" y="102"/>
                      </a:lnTo>
                      <a:lnTo>
                        <a:pt x="8246" y="100"/>
                      </a:lnTo>
                      <a:lnTo>
                        <a:pt x="8246" y="100"/>
                      </a:lnTo>
                      <a:lnTo>
                        <a:pt x="8246" y="100"/>
                      </a:lnTo>
                      <a:lnTo>
                        <a:pt x="8252" y="99"/>
                      </a:lnTo>
                      <a:lnTo>
                        <a:pt x="8257" y="99"/>
                      </a:lnTo>
                      <a:lnTo>
                        <a:pt x="8263" y="97"/>
                      </a:lnTo>
                      <a:lnTo>
                        <a:pt x="8267" y="96"/>
                      </a:lnTo>
                      <a:lnTo>
                        <a:pt x="8272" y="93"/>
                      </a:lnTo>
                      <a:lnTo>
                        <a:pt x="8276" y="91"/>
                      </a:lnTo>
                      <a:lnTo>
                        <a:pt x="8280" y="88"/>
                      </a:lnTo>
                      <a:lnTo>
                        <a:pt x="8284" y="84"/>
                      </a:lnTo>
                      <a:lnTo>
                        <a:pt x="8289" y="77"/>
                      </a:lnTo>
                      <a:lnTo>
                        <a:pt x="8293" y="68"/>
                      </a:lnTo>
                      <a:lnTo>
                        <a:pt x="8295" y="59"/>
                      </a:lnTo>
                      <a:lnTo>
                        <a:pt x="8296" y="50"/>
                      </a:lnTo>
                      <a:lnTo>
                        <a:pt x="8295" y="40"/>
                      </a:lnTo>
                      <a:lnTo>
                        <a:pt x="8293" y="31"/>
                      </a:lnTo>
                      <a:lnTo>
                        <a:pt x="8289" y="23"/>
                      </a:lnTo>
                      <a:lnTo>
                        <a:pt x="8284" y="16"/>
                      </a:lnTo>
                      <a:lnTo>
                        <a:pt x="8280" y="13"/>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31" name="Freeform 222"/>
                <p:cNvSpPr>
                  <a:spLocks/>
                </p:cNvSpPr>
                <p:nvPr>
                  <p:custDataLst>
                    <p:tags r:id="rId82"/>
                  </p:custDataLst>
                </p:nvPr>
              </p:nvSpPr>
              <p:spPr bwMode="auto">
                <a:xfrm>
                  <a:off x="728" y="3515"/>
                  <a:ext cx="358" cy="114"/>
                </a:xfrm>
                <a:custGeom>
                  <a:avLst/>
                  <a:gdLst>
                    <a:gd name="T0" fmla="*/ 8239 w 8245"/>
                    <a:gd name="T1" fmla="*/ 2750 h 2864"/>
                    <a:gd name="T2" fmla="*/ 8211 w 8245"/>
                    <a:gd name="T3" fmla="*/ 2600 h 2864"/>
                    <a:gd name="T4" fmla="*/ 8162 w 8245"/>
                    <a:gd name="T5" fmla="*/ 2452 h 2864"/>
                    <a:gd name="T6" fmla="*/ 8091 w 8245"/>
                    <a:gd name="T7" fmla="*/ 2307 h 2864"/>
                    <a:gd name="T8" fmla="*/ 8002 w 8245"/>
                    <a:gd name="T9" fmla="*/ 2166 h 2864"/>
                    <a:gd name="T10" fmla="*/ 7894 w 8245"/>
                    <a:gd name="T11" fmla="*/ 2028 h 2864"/>
                    <a:gd name="T12" fmla="*/ 7766 w 8245"/>
                    <a:gd name="T13" fmla="*/ 1893 h 2864"/>
                    <a:gd name="T14" fmla="*/ 7620 w 8245"/>
                    <a:gd name="T15" fmla="*/ 1763 h 2864"/>
                    <a:gd name="T16" fmla="*/ 7459 w 8245"/>
                    <a:gd name="T17" fmla="*/ 1635 h 2864"/>
                    <a:gd name="T18" fmla="*/ 7279 w 8245"/>
                    <a:gd name="T19" fmla="*/ 1511 h 2864"/>
                    <a:gd name="T20" fmla="*/ 7083 w 8245"/>
                    <a:gd name="T21" fmla="*/ 1391 h 2864"/>
                    <a:gd name="T22" fmla="*/ 6872 w 8245"/>
                    <a:gd name="T23" fmla="*/ 1275 h 2864"/>
                    <a:gd name="T24" fmla="*/ 6645 w 8245"/>
                    <a:gd name="T25" fmla="*/ 1162 h 2864"/>
                    <a:gd name="T26" fmla="*/ 6404 w 8245"/>
                    <a:gd name="T27" fmla="*/ 1055 h 2864"/>
                    <a:gd name="T28" fmla="*/ 6149 w 8245"/>
                    <a:gd name="T29" fmla="*/ 950 h 2864"/>
                    <a:gd name="T30" fmla="*/ 5880 w 8245"/>
                    <a:gd name="T31" fmla="*/ 851 h 2864"/>
                    <a:gd name="T32" fmla="*/ 5596 w 8245"/>
                    <a:gd name="T33" fmla="*/ 757 h 2864"/>
                    <a:gd name="T34" fmla="*/ 5072 w 8245"/>
                    <a:gd name="T35" fmla="*/ 602 h 2864"/>
                    <a:gd name="T36" fmla="*/ 4426 w 8245"/>
                    <a:gd name="T37" fmla="*/ 444 h 2864"/>
                    <a:gd name="T38" fmla="*/ 3738 w 8245"/>
                    <a:gd name="T39" fmla="*/ 309 h 2864"/>
                    <a:gd name="T40" fmla="*/ 3010 w 8245"/>
                    <a:gd name="T41" fmla="*/ 196 h 2864"/>
                    <a:gd name="T42" fmla="*/ 2246 w 8245"/>
                    <a:gd name="T43" fmla="*/ 107 h 2864"/>
                    <a:gd name="T44" fmla="*/ 1453 w 8245"/>
                    <a:gd name="T45" fmla="*/ 44 h 2864"/>
                    <a:gd name="T46" fmla="*/ 631 w 8245"/>
                    <a:gd name="T47" fmla="*/ 8 h 2864"/>
                    <a:gd name="T48" fmla="*/ 0 w 8245"/>
                    <a:gd name="T49" fmla="*/ 100 h 2864"/>
                    <a:gd name="T50" fmla="*/ 835 w 8245"/>
                    <a:gd name="T51" fmla="*/ 115 h 2864"/>
                    <a:gd name="T52" fmla="*/ 1648 w 8245"/>
                    <a:gd name="T53" fmla="*/ 157 h 2864"/>
                    <a:gd name="T54" fmla="*/ 2431 w 8245"/>
                    <a:gd name="T55" fmla="*/ 227 h 2864"/>
                    <a:gd name="T56" fmla="*/ 3181 w 8245"/>
                    <a:gd name="T57" fmla="*/ 321 h 2864"/>
                    <a:gd name="T58" fmla="*/ 3895 w 8245"/>
                    <a:gd name="T59" fmla="*/ 439 h 2864"/>
                    <a:gd name="T60" fmla="*/ 4570 w 8245"/>
                    <a:gd name="T61" fmla="*/ 580 h 2864"/>
                    <a:gd name="T62" fmla="*/ 5198 w 8245"/>
                    <a:gd name="T63" fmla="*/ 741 h 2864"/>
                    <a:gd name="T64" fmla="*/ 5637 w 8245"/>
                    <a:gd name="T65" fmla="*/ 875 h 2864"/>
                    <a:gd name="T66" fmla="*/ 5915 w 8245"/>
                    <a:gd name="T67" fmla="*/ 970 h 2864"/>
                    <a:gd name="T68" fmla="*/ 6177 w 8245"/>
                    <a:gd name="T69" fmla="*/ 1069 h 2864"/>
                    <a:gd name="T70" fmla="*/ 6426 w 8245"/>
                    <a:gd name="T71" fmla="*/ 1173 h 2864"/>
                    <a:gd name="T72" fmla="*/ 6661 w 8245"/>
                    <a:gd name="T73" fmla="*/ 1280 h 2864"/>
                    <a:gd name="T74" fmla="*/ 6879 w 8245"/>
                    <a:gd name="T75" fmla="*/ 1392 h 2864"/>
                    <a:gd name="T76" fmla="*/ 7083 w 8245"/>
                    <a:gd name="T77" fmla="*/ 1507 h 2864"/>
                    <a:gd name="T78" fmla="*/ 7270 w 8245"/>
                    <a:gd name="T79" fmla="*/ 1625 h 2864"/>
                    <a:gd name="T80" fmla="*/ 7440 w 8245"/>
                    <a:gd name="T81" fmla="*/ 1746 h 2864"/>
                    <a:gd name="T82" fmla="*/ 7594 w 8245"/>
                    <a:gd name="T83" fmla="*/ 1870 h 2864"/>
                    <a:gd name="T84" fmla="*/ 7729 w 8245"/>
                    <a:gd name="T85" fmla="*/ 1998 h 2864"/>
                    <a:gd name="T86" fmla="*/ 7845 w 8245"/>
                    <a:gd name="T87" fmla="*/ 2126 h 2864"/>
                    <a:gd name="T88" fmla="*/ 7943 w 8245"/>
                    <a:gd name="T89" fmla="*/ 2258 h 2864"/>
                    <a:gd name="T90" fmla="*/ 8022 w 8245"/>
                    <a:gd name="T91" fmla="*/ 2390 h 2864"/>
                    <a:gd name="T92" fmla="*/ 8082 w 8245"/>
                    <a:gd name="T93" fmla="*/ 2524 h 2864"/>
                    <a:gd name="T94" fmla="*/ 8122 w 8245"/>
                    <a:gd name="T95" fmla="*/ 2659 h 2864"/>
                    <a:gd name="T96" fmla="*/ 8142 w 8245"/>
                    <a:gd name="T97" fmla="*/ 2796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4">
                      <a:moveTo>
                        <a:pt x="8245" y="2864"/>
                      </a:moveTo>
                      <a:lnTo>
                        <a:pt x="8244" y="2826"/>
                      </a:lnTo>
                      <a:lnTo>
                        <a:pt x="8242" y="2788"/>
                      </a:lnTo>
                      <a:lnTo>
                        <a:pt x="8239" y="2750"/>
                      </a:lnTo>
                      <a:lnTo>
                        <a:pt x="8234" y="2712"/>
                      </a:lnTo>
                      <a:lnTo>
                        <a:pt x="8227" y="2675"/>
                      </a:lnTo>
                      <a:lnTo>
                        <a:pt x="8219" y="2637"/>
                      </a:lnTo>
                      <a:lnTo>
                        <a:pt x="8211" y="2600"/>
                      </a:lnTo>
                      <a:lnTo>
                        <a:pt x="8201" y="2563"/>
                      </a:lnTo>
                      <a:lnTo>
                        <a:pt x="8188" y="2526"/>
                      </a:lnTo>
                      <a:lnTo>
                        <a:pt x="8176" y="2488"/>
                      </a:lnTo>
                      <a:lnTo>
                        <a:pt x="8162" y="2452"/>
                      </a:lnTo>
                      <a:lnTo>
                        <a:pt x="8146" y="2416"/>
                      </a:lnTo>
                      <a:lnTo>
                        <a:pt x="8130" y="2380"/>
                      </a:lnTo>
                      <a:lnTo>
                        <a:pt x="8111" y="2343"/>
                      </a:lnTo>
                      <a:lnTo>
                        <a:pt x="8091" y="2307"/>
                      </a:lnTo>
                      <a:lnTo>
                        <a:pt x="8071" y="2272"/>
                      </a:lnTo>
                      <a:lnTo>
                        <a:pt x="8049" y="2236"/>
                      </a:lnTo>
                      <a:lnTo>
                        <a:pt x="8026" y="2201"/>
                      </a:lnTo>
                      <a:lnTo>
                        <a:pt x="8002" y="2166"/>
                      </a:lnTo>
                      <a:lnTo>
                        <a:pt x="7977" y="2131"/>
                      </a:lnTo>
                      <a:lnTo>
                        <a:pt x="7950" y="2096"/>
                      </a:lnTo>
                      <a:lnTo>
                        <a:pt x="7922" y="2062"/>
                      </a:lnTo>
                      <a:lnTo>
                        <a:pt x="7894" y="2028"/>
                      </a:lnTo>
                      <a:lnTo>
                        <a:pt x="7864" y="1994"/>
                      </a:lnTo>
                      <a:lnTo>
                        <a:pt x="7832" y="1960"/>
                      </a:lnTo>
                      <a:lnTo>
                        <a:pt x="7800" y="1926"/>
                      </a:lnTo>
                      <a:lnTo>
                        <a:pt x="7766" y="1893"/>
                      </a:lnTo>
                      <a:lnTo>
                        <a:pt x="7732" y="1860"/>
                      </a:lnTo>
                      <a:lnTo>
                        <a:pt x="7696" y="1828"/>
                      </a:lnTo>
                      <a:lnTo>
                        <a:pt x="7659" y="1795"/>
                      </a:lnTo>
                      <a:lnTo>
                        <a:pt x="7620" y="1763"/>
                      </a:lnTo>
                      <a:lnTo>
                        <a:pt x="7582" y="1730"/>
                      </a:lnTo>
                      <a:lnTo>
                        <a:pt x="7542" y="1699"/>
                      </a:lnTo>
                      <a:lnTo>
                        <a:pt x="7501" y="1667"/>
                      </a:lnTo>
                      <a:lnTo>
                        <a:pt x="7459" y="1635"/>
                      </a:lnTo>
                      <a:lnTo>
                        <a:pt x="7415" y="1603"/>
                      </a:lnTo>
                      <a:lnTo>
                        <a:pt x="7371" y="1572"/>
                      </a:lnTo>
                      <a:lnTo>
                        <a:pt x="7326" y="1542"/>
                      </a:lnTo>
                      <a:lnTo>
                        <a:pt x="7279" y="1511"/>
                      </a:lnTo>
                      <a:lnTo>
                        <a:pt x="7232" y="1481"/>
                      </a:lnTo>
                      <a:lnTo>
                        <a:pt x="7183" y="1450"/>
                      </a:lnTo>
                      <a:lnTo>
                        <a:pt x="7134" y="1420"/>
                      </a:lnTo>
                      <a:lnTo>
                        <a:pt x="7083" y="1391"/>
                      </a:lnTo>
                      <a:lnTo>
                        <a:pt x="7032" y="1361"/>
                      </a:lnTo>
                      <a:lnTo>
                        <a:pt x="6980" y="1332"/>
                      </a:lnTo>
                      <a:lnTo>
                        <a:pt x="6927" y="1303"/>
                      </a:lnTo>
                      <a:lnTo>
                        <a:pt x="6872" y="1275"/>
                      </a:lnTo>
                      <a:lnTo>
                        <a:pt x="6817" y="1246"/>
                      </a:lnTo>
                      <a:lnTo>
                        <a:pt x="6761" y="1218"/>
                      </a:lnTo>
                      <a:lnTo>
                        <a:pt x="6704" y="1190"/>
                      </a:lnTo>
                      <a:lnTo>
                        <a:pt x="6645" y="1162"/>
                      </a:lnTo>
                      <a:lnTo>
                        <a:pt x="6587" y="1136"/>
                      </a:lnTo>
                      <a:lnTo>
                        <a:pt x="6527" y="1108"/>
                      </a:lnTo>
                      <a:lnTo>
                        <a:pt x="6466" y="1081"/>
                      </a:lnTo>
                      <a:lnTo>
                        <a:pt x="6404" y="1055"/>
                      </a:lnTo>
                      <a:lnTo>
                        <a:pt x="6341" y="1028"/>
                      </a:lnTo>
                      <a:lnTo>
                        <a:pt x="6278" y="1002"/>
                      </a:lnTo>
                      <a:lnTo>
                        <a:pt x="6214" y="976"/>
                      </a:lnTo>
                      <a:lnTo>
                        <a:pt x="6149" y="950"/>
                      </a:lnTo>
                      <a:lnTo>
                        <a:pt x="6083" y="925"/>
                      </a:lnTo>
                      <a:lnTo>
                        <a:pt x="6016" y="901"/>
                      </a:lnTo>
                      <a:lnTo>
                        <a:pt x="5948" y="876"/>
                      </a:lnTo>
                      <a:lnTo>
                        <a:pt x="5880" y="851"/>
                      </a:lnTo>
                      <a:lnTo>
                        <a:pt x="5809" y="827"/>
                      </a:lnTo>
                      <a:lnTo>
                        <a:pt x="5739" y="803"/>
                      </a:lnTo>
                      <a:lnTo>
                        <a:pt x="5668" y="779"/>
                      </a:lnTo>
                      <a:lnTo>
                        <a:pt x="5596" y="757"/>
                      </a:lnTo>
                      <a:lnTo>
                        <a:pt x="5524" y="734"/>
                      </a:lnTo>
                      <a:lnTo>
                        <a:pt x="5376" y="688"/>
                      </a:lnTo>
                      <a:lnTo>
                        <a:pt x="5225" y="645"/>
                      </a:lnTo>
                      <a:lnTo>
                        <a:pt x="5072" y="602"/>
                      </a:lnTo>
                      <a:lnTo>
                        <a:pt x="4914" y="561"/>
                      </a:lnTo>
                      <a:lnTo>
                        <a:pt x="4754" y="521"/>
                      </a:lnTo>
                      <a:lnTo>
                        <a:pt x="4592" y="482"/>
                      </a:lnTo>
                      <a:lnTo>
                        <a:pt x="4426" y="444"/>
                      </a:lnTo>
                      <a:lnTo>
                        <a:pt x="4258" y="409"/>
                      </a:lnTo>
                      <a:lnTo>
                        <a:pt x="4087" y="374"/>
                      </a:lnTo>
                      <a:lnTo>
                        <a:pt x="3914" y="341"/>
                      </a:lnTo>
                      <a:lnTo>
                        <a:pt x="3738" y="309"/>
                      </a:lnTo>
                      <a:lnTo>
                        <a:pt x="3559" y="279"/>
                      </a:lnTo>
                      <a:lnTo>
                        <a:pt x="3379" y="250"/>
                      </a:lnTo>
                      <a:lnTo>
                        <a:pt x="3196" y="222"/>
                      </a:lnTo>
                      <a:lnTo>
                        <a:pt x="3010" y="196"/>
                      </a:lnTo>
                      <a:lnTo>
                        <a:pt x="2823" y="171"/>
                      </a:lnTo>
                      <a:lnTo>
                        <a:pt x="2633" y="148"/>
                      </a:lnTo>
                      <a:lnTo>
                        <a:pt x="2441" y="126"/>
                      </a:lnTo>
                      <a:lnTo>
                        <a:pt x="2246" y="107"/>
                      </a:lnTo>
                      <a:lnTo>
                        <a:pt x="2052" y="88"/>
                      </a:lnTo>
                      <a:lnTo>
                        <a:pt x="1854" y="72"/>
                      </a:lnTo>
                      <a:lnTo>
                        <a:pt x="1654" y="57"/>
                      </a:lnTo>
                      <a:lnTo>
                        <a:pt x="1453" y="44"/>
                      </a:lnTo>
                      <a:lnTo>
                        <a:pt x="1250" y="32"/>
                      </a:lnTo>
                      <a:lnTo>
                        <a:pt x="1045" y="23"/>
                      </a:lnTo>
                      <a:lnTo>
                        <a:pt x="838" y="15"/>
                      </a:lnTo>
                      <a:lnTo>
                        <a:pt x="631" y="8"/>
                      </a:lnTo>
                      <a:lnTo>
                        <a:pt x="422" y="3"/>
                      </a:lnTo>
                      <a:lnTo>
                        <a:pt x="212" y="0"/>
                      </a:lnTo>
                      <a:lnTo>
                        <a:pt x="0" y="0"/>
                      </a:lnTo>
                      <a:lnTo>
                        <a:pt x="0" y="100"/>
                      </a:lnTo>
                      <a:lnTo>
                        <a:pt x="211" y="102"/>
                      </a:lnTo>
                      <a:lnTo>
                        <a:pt x="420" y="104"/>
                      </a:lnTo>
                      <a:lnTo>
                        <a:pt x="628" y="108"/>
                      </a:lnTo>
                      <a:lnTo>
                        <a:pt x="835" y="115"/>
                      </a:lnTo>
                      <a:lnTo>
                        <a:pt x="1040" y="122"/>
                      </a:lnTo>
                      <a:lnTo>
                        <a:pt x="1245" y="133"/>
                      </a:lnTo>
                      <a:lnTo>
                        <a:pt x="1447" y="144"/>
                      </a:lnTo>
                      <a:lnTo>
                        <a:pt x="1648" y="157"/>
                      </a:lnTo>
                      <a:lnTo>
                        <a:pt x="1845" y="172"/>
                      </a:lnTo>
                      <a:lnTo>
                        <a:pt x="2042" y="188"/>
                      </a:lnTo>
                      <a:lnTo>
                        <a:pt x="2237" y="207"/>
                      </a:lnTo>
                      <a:lnTo>
                        <a:pt x="2431" y="227"/>
                      </a:lnTo>
                      <a:lnTo>
                        <a:pt x="2622" y="247"/>
                      </a:lnTo>
                      <a:lnTo>
                        <a:pt x="2810" y="270"/>
                      </a:lnTo>
                      <a:lnTo>
                        <a:pt x="2997" y="295"/>
                      </a:lnTo>
                      <a:lnTo>
                        <a:pt x="3181" y="321"/>
                      </a:lnTo>
                      <a:lnTo>
                        <a:pt x="3364" y="348"/>
                      </a:lnTo>
                      <a:lnTo>
                        <a:pt x="3543" y="377"/>
                      </a:lnTo>
                      <a:lnTo>
                        <a:pt x="3721" y="408"/>
                      </a:lnTo>
                      <a:lnTo>
                        <a:pt x="3895" y="439"/>
                      </a:lnTo>
                      <a:lnTo>
                        <a:pt x="4069" y="472"/>
                      </a:lnTo>
                      <a:lnTo>
                        <a:pt x="4238" y="506"/>
                      </a:lnTo>
                      <a:lnTo>
                        <a:pt x="4405" y="542"/>
                      </a:lnTo>
                      <a:lnTo>
                        <a:pt x="4570" y="580"/>
                      </a:lnTo>
                      <a:lnTo>
                        <a:pt x="4731" y="618"/>
                      </a:lnTo>
                      <a:lnTo>
                        <a:pt x="4890" y="658"/>
                      </a:lnTo>
                      <a:lnTo>
                        <a:pt x="5046" y="699"/>
                      </a:lnTo>
                      <a:lnTo>
                        <a:pt x="5198" y="741"/>
                      </a:lnTo>
                      <a:lnTo>
                        <a:pt x="5348" y="785"/>
                      </a:lnTo>
                      <a:lnTo>
                        <a:pt x="5494" y="829"/>
                      </a:lnTo>
                      <a:lnTo>
                        <a:pt x="5566" y="852"/>
                      </a:lnTo>
                      <a:lnTo>
                        <a:pt x="5637" y="875"/>
                      </a:lnTo>
                      <a:lnTo>
                        <a:pt x="5707" y="899"/>
                      </a:lnTo>
                      <a:lnTo>
                        <a:pt x="5778" y="922"/>
                      </a:lnTo>
                      <a:lnTo>
                        <a:pt x="5847" y="946"/>
                      </a:lnTo>
                      <a:lnTo>
                        <a:pt x="5915" y="970"/>
                      </a:lnTo>
                      <a:lnTo>
                        <a:pt x="5982" y="995"/>
                      </a:lnTo>
                      <a:lnTo>
                        <a:pt x="6048" y="1020"/>
                      </a:lnTo>
                      <a:lnTo>
                        <a:pt x="6113" y="1044"/>
                      </a:lnTo>
                      <a:lnTo>
                        <a:pt x="6177" y="1069"/>
                      </a:lnTo>
                      <a:lnTo>
                        <a:pt x="6241" y="1095"/>
                      </a:lnTo>
                      <a:lnTo>
                        <a:pt x="6304" y="1121"/>
                      </a:lnTo>
                      <a:lnTo>
                        <a:pt x="6365" y="1147"/>
                      </a:lnTo>
                      <a:lnTo>
                        <a:pt x="6426" y="1173"/>
                      </a:lnTo>
                      <a:lnTo>
                        <a:pt x="6487" y="1200"/>
                      </a:lnTo>
                      <a:lnTo>
                        <a:pt x="6545" y="1227"/>
                      </a:lnTo>
                      <a:lnTo>
                        <a:pt x="6603" y="1254"/>
                      </a:lnTo>
                      <a:lnTo>
                        <a:pt x="6661" y="1280"/>
                      </a:lnTo>
                      <a:lnTo>
                        <a:pt x="6716" y="1308"/>
                      </a:lnTo>
                      <a:lnTo>
                        <a:pt x="6772" y="1336"/>
                      </a:lnTo>
                      <a:lnTo>
                        <a:pt x="6827" y="1364"/>
                      </a:lnTo>
                      <a:lnTo>
                        <a:pt x="6879" y="1392"/>
                      </a:lnTo>
                      <a:lnTo>
                        <a:pt x="6932" y="1420"/>
                      </a:lnTo>
                      <a:lnTo>
                        <a:pt x="6983" y="1449"/>
                      </a:lnTo>
                      <a:lnTo>
                        <a:pt x="7034" y="1478"/>
                      </a:lnTo>
                      <a:lnTo>
                        <a:pt x="7083" y="1507"/>
                      </a:lnTo>
                      <a:lnTo>
                        <a:pt x="7132" y="1536"/>
                      </a:lnTo>
                      <a:lnTo>
                        <a:pt x="7178" y="1565"/>
                      </a:lnTo>
                      <a:lnTo>
                        <a:pt x="7225" y="1595"/>
                      </a:lnTo>
                      <a:lnTo>
                        <a:pt x="7270" y="1625"/>
                      </a:lnTo>
                      <a:lnTo>
                        <a:pt x="7314" y="1655"/>
                      </a:lnTo>
                      <a:lnTo>
                        <a:pt x="7358" y="1685"/>
                      </a:lnTo>
                      <a:lnTo>
                        <a:pt x="7400" y="1716"/>
                      </a:lnTo>
                      <a:lnTo>
                        <a:pt x="7440" y="1746"/>
                      </a:lnTo>
                      <a:lnTo>
                        <a:pt x="7480" y="1777"/>
                      </a:lnTo>
                      <a:lnTo>
                        <a:pt x="7519" y="1808"/>
                      </a:lnTo>
                      <a:lnTo>
                        <a:pt x="7557" y="1839"/>
                      </a:lnTo>
                      <a:lnTo>
                        <a:pt x="7594" y="1870"/>
                      </a:lnTo>
                      <a:lnTo>
                        <a:pt x="7629" y="1902"/>
                      </a:lnTo>
                      <a:lnTo>
                        <a:pt x="7664" y="1934"/>
                      </a:lnTo>
                      <a:lnTo>
                        <a:pt x="7697" y="1966"/>
                      </a:lnTo>
                      <a:lnTo>
                        <a:pt x="7729" y="1998"/>
                      </a:lnTo>
                      <a:lnTo>
                        <a:pt x="7760" y="2030"/>
                      </a:lnTo>
                      <a:lnTo>
                        <a:pt x="7789" y="2062"/>
                      </a:lnTo>
                      <a:lnTo>
                        <a:pt x="7818" y="2094"/>
                      </a:lnTo>
                      <a:lnTo>
                        <a:pt x="7845" y="2126"/>
                      </a:lnTo>
                      <a:lnTo>
                        <a:pt x="7872" y="2159"/>
                      </a:lnTo>
                      <a:lnTo>
                        <a:pt x="7897" y="2191"/>
                      </a:lnTo>
                      <a:lnTo>
                        <a:pt x="7920" y="2224"/>
                      </a:lnTo>
                      <a:lnTo>
                        <a:pt x="7943" y="2258"/>
                      </a:lnTo>
                      <a:lnTo>
                        <a:pt x="7966" y="2290"/>
                      </a:lnTo>
                      <a:lnTo>
                        <a:pt x="7985" y="2323"/>
                      </a:lnTo>
                      <a:lnTo>
                        <a:pt x="8005" y="2356"/>
                      </a:lnTo>
                      <a:lnTo>
                        <a:pt x="8022" y="2390"/>
                      </a:lnTo>
                      <a:lnTo>
                        <a:pt x="8039" y="2423"/>
                      </a:lnTo>
                      <a:lnTo>
                        <a:pt x="8055" y="2456"/>
                      </a:lnTo>
                      <a:lnTo>
                        <a:pt x="8069" y="2489"/>
                      </a:lnTo>
                      <a:lnTo>
                        <a:pt x="8082" y="2524"/>
                      </a:lnTo>
                      <a:lnTo>
                        <a:pt x="8095" y="2558"/>
                      </a:lnTo>
                      <a:lnTo>
                        <a:pt x="8105" y="2591"/>
                      </a:lnTo>
                      <a:lnTo>
                        <a:pt x="8114" y="2625"/>
                      </a:lnTo>
                      <a:lnTo>
                        <a:pt x="8122" y="2659"/>
                      </a:lnTo>
                      <a:lnTo>
                        <a:pt x="8130" y="2693"/>
                      </a:lnTo>
                      <a:lnTo>
                        <a:pt x="8135" y="2726"/>
                      </a:lnTo>
                      <a:lnTo>
                        <a:pt x="8139" y="2762"/>
                      </a:lnTo>
                      <a:lnTo>
                        <a:pt x="8142" y="2796"/>
                      </a:lnTo>
                      <a:lnTo>
                        <a:pt x="8144" y="2830"/>
                      </a:lnTo>
                      <a:lnTo>
                        <a:pt x="8145" y="2864"/>
                      </a:lnTo>
                      <a:lnTo>
                        <a:pt x="8245"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32" name="Freeform 223"/>
                <p:cNvSpPr>
                  <a:spLocks/>
                </p:cNvSpPr>
                <p:nvPr>
                  <p:custDataLst>
                    <p:tags r:id="rId83"/>
                  </p:custDataLst>
                </p:nvPr>
              </p:nvSpPr>
              <p:spPr bwMode="auto">
                <a:xfrm>
                  <a:off x="370" y="3472"/>
                  <a:ext cx="714" cy="160"/>
                </a:xfrm>
                <a:custGeom>
                  <a:avLst/>
                  <a:gdLst>
                    <a:gd name="T0" fmla="*/ 0 w 16419"/>
                    <a:gd name="T1" fmla="*/ 0 h 4020"/>
                    <a:gd name="T2" fmla="*/ 0 w 16419"/>
                    <a:gd name="T3" fmla="*/ 4020 h 4020"/>
                    <a:gd name="T4" fmla="*/ 16415 w 16419"/>
                    <a:gd name="T5" fmla="*/ 4020 h 4020"/>
                    <a:gd name="T6" fmla="*/ 16419 w 16419"/>
                    <a:gd name="T7" fmla="*/ 2 h 4020"/>
                    <a:gd name="T8" fmla="*/ 0 w 16419"/>
                    <a:gd name="T9" fmla="*/ 0 h 4020"/>
                  </a:gdLst>
                  <a:ahLst/>
                  <a:cxnLst>
                    <a:cxn ang="0">
                      <a:pos x="T0" y="T1"/>
                    </a:cxn>
                    <a:cxn ang="0">
                      <a:pos x="T2" y="T3"/>
                    </a:cxn>
                    <a:cxn ang="0">
                      <a:pos x="T4" y="T5"/>
                    </a:cxn>
                    <a:cxn ang="0">
                      <a:pos x="T6" y="T7"/>
                    </a:cxn>
                    <a:cxn ang="0">
                      <a:pos x="T8" y="T9"/>
                    </a:cxn>
                  </a:cxnLst>
                  <a:rect l="0" t="0" r="r" b="b"/>
                  <a:pathLst>
                    <a:path w="16419" h="4020">
                      <a:moveTo>
                        <a:pt x="0" y="0"/>
                      </a:moveTo>
                      <a:lnTo>
                        <a:pt x="0" y="4020"/>
                      </a:lnTo>
                      <a:lnTo>
                        <a:pt x="16415" y="4020"/>
                      </a:lnTo>
                      <a:lnTo>
                        <a:pt x="16419" y="2"/>
                      </a:lnTo>
                      <a:lnTo>
                        <a:pt x="0" y="0"/>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33" name="Freeform 224"/>
                <p:cNvSpPr>
                  <a:spLocks/>
                </p:cNvSpPr>
                <p:nvPr>
                  <p:custDataLst>
                    <p:tags r:id="rId84"/>
                  </p:custDataLst>
                </p:nvPr>
              </p:nvSpPr>
              <p:spPr bwMode="auto">
                <a:xfrm>
                  <a:off x="371" y="3356"/>
                  <a:ext cx="713" cy="225"/>
                </a:xfrm>
                <a:custGeom>
                  <a:avLst/>
                  <a:gdLst>
                    <a:gd name="T0" fmla="*/ 16347 w 16389"/>
                    <a:gd name="T1" fmla="*/ 3102 h 5628"/>
                    <a:gd name="T2" fmla="*/ 16132 w 16389"/>
                    <a:gd name="T3" fmla="*/ 3517 h 5628"/>
                    <a:gd name="T4" fmla="*/ 15745 w 16389"/>
                    <a:gd name="T5" fmla="*/ 3909 h 5628"/>
                    <a:gd name="T6" fmla="*/ 15203 w 16389"/>
                    <a:gd name="T7" fmla="*/ 4272 h 5628"/>
                    <a:gd name="T8" fmla="*/ 14518 w 16389"/>
                    <a:gd name="T9" fmla="*/ 4604 h 5628"/>
                    <a:gd name="T10" fmla="*/ 13704 w 16389"/>
                    <a:gd name="T11" fmla="*/ 4896 h 5628"/>
                    <a:gd name="T12" fmla="*/ 12776 w 16389"/>
                    <a:gd name="T13" fmla="*/ 5147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7 h 5628"/>
                    <a:gd name="T30" fmla="*/ 2685 w 16389"/>
                    <a:gd name="T31" fmla="*/ 4896 h 5628"/>
                    <a:gd name="T32" fmla="*/ 1871 w 16389"/>
                    <a:gd name="T33" fmla="*/ 4604 h 5628"/>
                    <a:gd name="T34" fmla="*/ 1186 w 16389"/>
                    <a:gd name="T35" fmla="*/ 4272 h 5628"/>
                    <a:gd name="T36" fmla="*/ 644 w 16389"/>
                    <a:gd name="T37" fmla="*/ 3909 h 5628"/>
                    <a:gd name="T38" fmla="*/ 257 w 16389"/>
                    <a:gd name="T39" fmla="*/ 3517 h 5628"/>
                    <a:gd name="T40" fmla="*/ 42 w 16389"/>
                    <a:gd name="T41" fmla="*/ 3102 h 5628"/>
                    <a:gd name="T42" fmla="*/ 10 w 16389"/>
                    <a:gd name="T43" fmla="*/ 2669 h 5628"/>
                    <a:gd name="T44" fmla="*/ 165 w 16389"/>
                    <a:gd name="T45" fmla="*/ 2247 h 5628"/>
                    <a:gd name="T46" fmla="*/ 496 w 16389"/>
                    <a:gd name="T47" fmla="*/ 1846 h 5628"/>
                    <a:gd name="T48" fmla="*/ 989 w 16389"/>
                    <a:gd name="T49" fmla="*/ 1473 h 5628"/>
                    <a:gd name="T50" fmla="*/ 1628 w 16389"/>
                    <a:gd name="T51" fmla="*/ 1130 h 5628"/>
                    <a:gd name="T52" fmla="*/ 2400 w 16389"/>
                    <a:gd name="T53" fmla="*/ 824 h 5628"/>
                    <a:gd name="T54" fmla="*/ 3292 w 16389"/>
                    <a:gd name="T55" fmla="*/ 559 h 5628"/>
                    <a:gd name="T56" fmla="*/ 4289 w 16389"/>
                    <a:gd name="T57" fmla="*/ 339 h 5628"/>
                    <a:gd name="T58" fmla="*/ 5378 w 16389"/>
                    <a:gd name="T59" fmla="*/ 170 h 5628"/>
                    <a:gd name="T60" fmla="*/ 6543 w 16389"/>
                    <a:gd name="T61" fmla="*/ 57 h 5628"/>
                    <a:gd name="T62" fmla="*/ 7773 w 16389"/>
                    <a:gd name="T63" fmla="*/ 3 h 5628"/>
                    <a:gd name="T64" fmla="*/ 9032 w 16389"/>
                    <a:gd name="T65" fmla="*/ 14 h 5628"/>
                    <a:gd name="T66" fmla="*/ 10241 w 16389"/>
                    <a:gd name="T67" fmla="*/ 88 h 5628"/>
                    <a:gd name="T68" fmla="*/ 11383 w 16389"/>
                    <a:gd name="T69" fmla="*/ 220 h 5628"/>
                    <a:gd name="T70" fmla="*/ 12443 w 16389"/>
                    <a:gd name="T71" fmla="*/ 406 h 5628"/>
                    <a:gd name="T72" fmla="*/ 13407 w 16389"/>
                    <a:gd name="T73" fmla="*/ 642 h 5628"/>
                    <a:gd name="T74" fmla="*/ 14260 w 16389"/>
                    <a:gd name="T75" fmla="*/ 922 h 5628"/>
                    <a:gd name="T76" fmla="*/ 14990 w 16389"/>
                    <a:gd name="T77" fmla="*/ 1241 h 5628"/>
                    <a:gd name="T78" fmla="*/ 15581 w 16389"/>
                    <a:gd name="T79" fmla="*/ 1594 h 5628"/>
                    <a:gd name="T80" fmla="*/ 16022 w 16389"/>
                    <a:gd name="T81" fmla="*/ 1977 h 5628"/>
                    <a:gd name="T82" fmla="*/ 16296 w 16389"/>
                    <a:gd name="T83" fmla="*/ 2385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2"/>
                      </a:lnTo>
                      <a:lnTo>
                        <a:pt x="16224" y="3381"/>
                      </a:lnTo>
                      <a:lnTo>
                        <a:pt x="16132" y="3517"/>
                      </a:lnTo>
                      <a:lnTo>
                        <a:pt x="16022" y="3650"/>
                      </a:lnTo>
                      <a:lnTo>
                        <a:pt x="15893" y="3781"/>
                      </a:lnTo>
                      <a:lnTo>
                        <a:pt x="15745" y="3909"/>
                      </a:lnTo>
                      <a:lnTo>
                        <a:pt x="15581" y="4033"/>
                      </a:lnTo>
                      <a:lnTo>
                        <a:pt x="15400" y="4155"/>
                      </a:lnTo>
                      <a:lnTo>
                        <a:pt x="15203" y="4272"/>
                      </a:lnTo>
                      <a:lnTo>
                        <a:pt x="14990" y="4387"/>
                      </a:lnTo>
                      <a:lnTo>
                        <a:pt x="14761" y="4497"/>
                      </a:lnTo>
                      <a:lnTo>
                        <a:pt x="14518" y="4604"/>
                      </a:lnTo>
                      <a:lnTo>
                        <a:pt x="14260" y="4706"/>
                      </a:lnTo>
                      <a:lnTo>
                        <a:pt x="13989" y="4803"/>
                      </a:lnTo>
                      <a:lnTo>
                        <a:pt x="13704" y="4896"/>
                      </a:lnTo>
                      <a:lnTo>
                        <a:pt x="13407" y="4985"/>
                      </a:lnTo>
                      <a:lnTo>
                        <a:pt x="13096" y="5069"/>
                      </a:lnTo>
                      <a:lnTo>
                        <a:pt x="12776" y="5147"/>
                      </a:lnTo>
                      <a:lnTo>
                        <a:pt x="12443" y="5220"/>
                      </a:lnTo>
                      <a:lnTo>
                        <a:pt x="12100" y="5289"/>
                      </a:lnTo>
                      <a:lnTo>
                        <a:pt x="11746" y="5351"/>
                      </a:lnTo>
                      <a:lnTo>
                        <a:pt x="11383" y="5407"/>
                      </a:lnTo>
                      <a:lnTo>
                        <a:pt x="11011" y="5457"/>
                      </a:lnTo>
                      <a:lnTo>
                        <a:pt x="10631" y="5502"/>
                      </a:lnTo>
                      <a:lnTo>
                        <a:pt x="10241" y="5539"/>
                      </a:lnTo>
                      <a:lnTo>
                        <a:pt x="9846" y="5571"/>
                      </a:lnTo>
                      <a:lnTo>
                        <a:pt x="9442" y="5596"/>
                      </a:lnTo>
                      <a:lnTo>
                        <a:pt x="9032" y="5614"/>
                      </a:lnTo>
                      <a:lnTo>
                        <a:pt x="8616" y="5624"/>
                      </a:lnTo>
                      <a:lnTo>
                        <a:pt x="8195" y="5628"/>
                      </a:lnTo>
                      <a:lnTo>
                        <a:pt x="7773" y="5624"/>
                      </a:lnTo>
                      <a:lnTo>
                        <a:pt x="7357" y="5614"/>
                      </a:lnTo>
                      <a:lnTo>
                        <a:pt x="6947" y="5596"/>
                      </a:lnTo>
                      <a:lnTo>
                        <a:pt x="6543" y="5571"/>
                      </a:lnTo>
                      <a:lnTo>
                        <a:pt x="6148" y="5539"/>
                      </a:lnTo>
                      <a:lnTo>
                        <a:pt x="5758" y="5502"/>
                      </a:lnTo>
                      <a:lnTo>
                        <a:pt x="5378" y="5457"/>
                      </a:lnTo>
                      <a:lnTo>
                        <a:pt x="5006" y="5407"/>
                      </a:lnTo>
                      <a:lnTo>
                        <a:pt x="4643" y="5351"/>
                      </a:lnTo>
                      <a:lnTo>
                        <a:pt x="4289" y="5289"/>
                      </a:lnTo>
                      <a:lnTo>
                        <a:pt x="3946" y="5220"/>
                      </a:lnTo>
                      <a:lnTo>
                        <a:pt x="3613" y="5147"/>
                      </a:lnTo>
                      <a:lnTo>
                        <a:pt x="3292" y="5069"/>
                      </a:lnTo>
                      <a:lnTo>
                        <a:pt x="2982" y="4985"/>
                      </a:lnTo>
                      <a:lnTo>
                        <a:pt x="2685" y="4896"/>
                      </a:lnTo>
                      <a:lnTo>
                        <a:pt x="2400" y="4803"/>
                      </a:lnTo>
                      <a:lnTo>
                        <a:pt x="2129" y="4706"/>
                      </a:lnTo>
                      <a:lnTo>
                        <a:pt x="1871" y="4604"/>
                      </a:lnTo>
                      <a:lnTo>
                        <a:pt x="1628" y="4497"/>
                      </a:lnTo>
                      <a:lnTo>
                        <a:pt x="1399" y="4387"/>
                      </a:lnTo>
                      <a:lnTo>
                        <a:pt x="1186" y="4272"/>
                      </a:lnTo>
                      <a:lnTo>
                        <a:pt x="989" y="4155"/>
                      </a:lnTo>
                      <a:lnTo>
                        <a:pt x="808" y="4033"/>
                      </a:lnTo>
                      <a:lnTo>
                        <a:pt x="644" y="3909"/>
                      </a:lnTo>
                      <a:lnTo>
                        <a:pt x="496" y="3781"/>
                      </a:lnTo>
                      <a:lnTo>
                        <a:pt x="367" y="3650"/>
                      </a:lnTo>
                      <a:lnTo>
                        <a:pt x="257" y="3517"/>
                      </a:lnTo>
                      <a:lnTo>
                        <a:pt x="165" y="3381"/>
                      </a:lnTo>
                      <a:lnTo>
                        <a:pt x="93" y="3242"/>
                      </a:lnTo>
                      <a:lnTo>
                        <a:pt x="42" y="3102"/>
                      </a:lnTo>
                      <a:lnTo>
                        <a:pt x="10" y="2959"/>
                      </a:lnTo>
                      <a:lnTo>
                        <a:pt x="0" y="2814"/>
                      </a:lnTo>
                      <a:lnTo>
                        <a:pt x="10" y="2669"/>
                      </a:lnTo>
                      <a:lnTo>
                        <a:pt x="42" y="2526"/>
                      </a:lnTo>
                      <a:lnTo>
                        <a:pt x="93" y="2385"/>
                      </a:lnTo>
                      <a:lnTo>
                        <a:pt x="165" y="2247"/>
                      </a:lnTo>
                      <a:lnTo>
                        <a:pt x="257" y="2111"/>
                      </a:lnTo>
                      <a:lnTo>
                        <a:pt x="367" y="1977"/>
                      </a:lnTo>
                      <a:lnTo>
                        <a:pt x="496" y="1846"/>
                      </a:lnTo>
                      <a:lnTo>
                        <a:pt x="644" y="1719"/>
                      </a:lnTo>
                      <a:lnTo>
                        <a:pt x="808" y="1594"/>
                      </a:lnTo>
                      <a:lnTo>
                        <a:pt x="989" y="1473"/>
                      </a:lnTo>
                      <a:lnTo>
                        <a:pt x="1186" y="1355"/>
                      </a:lnTo>
                      <a:lnTo>
                        <a:pt x="1399" y="1241"/>
                      </a:lnTo>
                      <a:lnTo>
                        <a:pt x="1628" y="1130"/>
                      </a:lnTo>
                      <a:lnTo>
                        <a:pt x="1871" y="1023"/>
                      </a:lnTo>
                      <a:lnTo>
                        <a:pt x="2129" y="922"/>
                      </a:lnTo>
                      <a:lnTo>
                        <a:pt x="2400" y="824"/>
                      </a:lnTo>
                      <a:lnTo>
                        <a:pt x="2685" y="730"/>
                      </a:lnTo>
                      <a:lnTo>
                        <a:pt x="2982" y="642"/>
                      </a:lnTo>
                      <a:lnTo>
                        <a:pt x="3292" y="559"/>
                      </a:lnTo>
                      <a:lnTo>
                        <a:pt x="3613" y="480"/>
                      </a:lnTo>
                      <a:lnTo>
                        <a:pt x="3946" y="406"/>
                      </a:lnTo>
                      <a:lnTo>
                        <a:pt x="4289" y="339"/>
                      </a:lnTo>
                      <a:lnTo>
                        <a:pt x="4643" y="277"/>
                      </a:lnTo>
                      <a:lnTo>
                        <a:pt x="5006" y="220"/>
                      </a:lnTo>
                      <a:lnTo>
                        <a:pt x="5378" y="170"/>
                      </a:lnTo>
                      <a:lnTo>
                        <a:pt x="5758" y="126"/>
                      </a:lnTo>
                      <a:lnTo>
                        <a:pt x="6148" y="88"/>
                      </a:lnTo>
                      <a:lnTo>
                        <a:pt x="6543" y="57"/>
                      </a:lnTo>
                      <a:lnTo>
                        <a:pt x="6947" y="32"/>
                      </a:lnTo>
                      <a:lnTo>
                        <a:pt x="7357" y="14"/>
                      </a:lnTo>
                      <a:lnTo>
                        <a:pt x="7773" y="3"/>
                      </a:lnTo>
                      <a:lnTo>
                        <a:pt x="8195" y="0"/>
                      </a:lnTo>
                      <a:lnTo>
                        <a:pt x="8616" y="3"/>
                      </a:lnTo>
                      <a:lnTo>
                        <a:pt x="9032" y="14"/>
                      </a:lnTo>
                      <a:lnTo>
                        <a:pt x="9442" y="32"/>
                      </a:lnTo>
                      <a:lnTo>
                        <a:pt x="9846" y="57"/>
                      </a:lnTo>
                      <a:lnTo>
                        <a:pt x="10241" y="88"/>
                      </a:lnTo>
                      <a:lnTo>
                        <a:pt x="10631" y="126"/>
                      </a:lnTo>
                      <a:lnTo>
                        <a:pt x="11011" y="170"/>
                      </a:lnTo>
                      <a:lnTo>
                        <a:pt x="11383" y="220"/>
                      </a:lnTo>
                      <a:lnTo>
                        <a:pt x="11746" y="277"/>
                      </a:lnTo>
                      <a:lnTo>
                        <a:pt x="12100" y="339"/>
                      </a:lnTo>
                      <a:lnTo>
                        <a:pt x="12443" y="406"/>
                      </a:lnTo>
                      <a:lnTo>
                        <a:pt x="12776" y="480"/>
                      </a:lnTo>
                      <a:lnTo>
                        <a:pt x="13096" y="559"/>
                      </a:lnTo>
                      <a:lnTo>
                        <a:pt x="13407" y="642"/>
                      </a:lnTo>
                      <a:lnTo>
                        <a:pt x="13704" y="730"/>
                      </a:lnTo>
                      <a:lnTo>
                        <a:pt x="13989" y="824"/>
                      </a:lnTo>
                      <a:lnTo>
                        <a:pt x="14260" y="922"/>
                      </a:lnTo>
                      <a:lnTo>
                        <a:pt x="14518" y="1023"/>
                      </a:lnTo>
                      <a:lnTo>
                        <a:pt x="14761" y="1130"/>
                      </a:lnTo>
                      <a:lnTo>
                        <a:pt x="14990" y="1241"/>
                      </a:lnTo>
                      <a:lnTo>
                        <a:pt x="15203" y="1355"/>
                      </a:lnTo>
                      <a:lnTo>
                        <a:pt x="15400" y="1473"/>
                      </a:lnTo>
                      <a:lnTo>
                        <a:pt x="15581" y="1594"/>
                      </a:lnTo>
                      <a:lnTo>
                        <a:pt x="15745" y="1719"/>
                      </a:lnTo>
                      <a:lnTo>
                        <a:pt x="15893" y="1846"/>
                      </a:lnTo>
                      <a:lnTo>
                        <a:pt x="16022" y="1977"/>
                      </a:lnTo>
                      <a:lnTo>
                        <a:pt x="16132" y="2111"/>
                      </a:lnTo>
                      <a:lnTo>
                        <a:pt x="16224" y="2247"/>
                      </a:lnTo>
                      <a:lnTo>
                        <a:pt x="16296" y="2385"/>
                      </a:lnTo>
                      <a:lnTo>
                        <a:pt x="16347" y="2526"/>
                      </a:lnTo>
                      <a:lnTo>
                        <a:pt x="16379" y="2669"/>
                      </a:lnTo>
                      <a:lnTo>
                        <a:pt x="16389" y="2814"/>
                      </a:lnTo>
                      <a:close/>
                    </a:path>
                  </a:pathLst>
                </a:custGeom>
                <a:solidFill>
                  <a:srgbClr val="B8CAD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34" name="Freeform 225"/>
                <p:cNvSpPr>
                  <a:spLocks/>
                </p:cNvSpPr>
                <p:nvPr>
                  <p:custDataLst>
                    <p:tags r:id="rId85"/>
                  </p:custDataLst>
                </p:nvPr>
              </p:nvSpPr>
              <p:spPr bwMode="auto">
                <a:xfrm>
                  <a:off x="725" y="3469"/>
                  <a:ext cx="361" cy="114"/>
                </a:xfrm>
                <a:custGeom>
                  <a:avLst/>
                  <a:gdLst>
                    <a:gd name="T0" fmla="*/ 472 w 8295"/>
                    <a:gd name="T1" fmla="*/ 2861 h 2864"/>
                    <a:gd name="T2" fmla="*/ 1300 w 8295"/>
                    <a:gd name="T3" fmla="*/ 2832 h 2864"/>
                    <a:gd name="T4" fmla="*/ 2102 w 8295"/>
                    <a:gd name="T5" fmla="*/ 2776 h 2864"/>
                    <a:gd name="T6" fmla="*/ 2873 w 8295"/>
                    <a:gd name="T7" fmla="*/ 2693 h 2864"/>
                    <a:gd name="T8" fmla="*/ 3609 w 8295"/>
                    <a:gd name="T9" fmla="*/ 2587 h 2864"/>
                    <a:gd name="T10" fmla="*/ 4308 w 8295"/>
                    <a:gd name="T11" fmla="*/ 2456 h 2864"/>
                    <a:gd name="T12" fmla="*/ 4964 w 8295"/>
                    <a:gd name="T13" fmla="*/ 2304 h 2864"/>
                    <a:gd name="T14" fmla="*/ 5426 w 8295"/>
                    <a:gd name="T15" fmla="*/ 2176 h 2864"/>
                    <a:gd name="T16" fmla="*/ 5718 w 8295"/>
                    <a:gd name="T17" fmla="*/ 2085 h 2864"/>
                    <a:gd name="T18" fmla="*/ 5998 w 8295"/>
                    <a:gd name="T19" fmla="*/ 1988 h 2864"/>
                    <a:gd name="T20" fmla="*/ 6264 w 8295"/>
                    <a:gd name="T21" fmla="*/ 1888 h 2864"/>
                    <a:gd name="T22" fmla="*/ 6516 w 8295"/>
                    <a:gd name="T23" fmla="*/ 1783 h 2864"/>
                    <a:gd name="T24" fmla="*/ 6754 w 8295"/>
                    <a:gd name="T25" fmla="*/ 1674 h 2864"/>
                    <a:gd name="T26" fmla="*/ 6977 w 8295"/>
                    <a:gd name="T27" fmla="*/ 1561 h 2864"/>
                    <a:gd name="T28" fmla="*/ 7184 w 8295"/>
                    <a:gd name="T29" fmla="*/ 1444 h 2864"/>
                    <a:gd name="T30" fmla="*/ 7376 w 8295"/>
                    <a:gd name="T31" fmla="*/ 1323 h 2864"/>
                    <a:gd name="T32" fmla="*/ 7551 w 8295"/>
                    <a:gd name="T33" fmla="*/ 1198 h 2864"/>
                    <a:gd name="T34" fmla="*/ 7709 w 8295"/>
                    <a:gd name="T35" fmla="*/ 1069 h 2864"/>
                    <a:gd name="T36" fmla="*/ 7850 w 8295"/>
                    <a:gd name="T37" fmla="*/ 938 h 2864"/>
                    <a:gd name="T38" fmla="*/ 7972 w 8295"/>
                    <a:gd name="T39" fmla="*/ 802 h 2864"/>
                    <a:gd name="T40" fmla="*/ 8076 w 8295"/>
                    <a:gd name="T41" fmla="*/ 663 h 2864"/>
                    <a:gd name="T42" fmla="*/ 8161 w 8295"/>
                    <a:gd name="T43" fmla="*/ 521 h 2864"/>
                    <a:gd name="T44" fmla="*/ 8226 w 8295"/>
                    <a:gd name="T45" fmla="*/ 376 h 2864"/>
                    <a:gd name="T46" fmla="*/ 8269 w 8295"/>
                    <a:gd name="T47" fmla="*/ 227 h 2864"/>
                    <a:gd name="T48" fmla="*/ 8292 w 8295"/>
                    <a:gd name="T49" fmla="*/ 76 h 2864"/>
                    <a:gd name="T50" fmla="*/ 8194 w 8295"/>
                    <a:gd name="T51" fmla="*/ 34 h 2864"/>
                    <a:gd name="T52" fmla="*/ 8180 w 8295"/>
                    <a:gd name="T53" fmla="*/ 172 h 2864"/>
                    <a:gd name="T54" fmla="*/ 8145 w 8295"/>
                    <a:gd name="T55" fmla="*/ 307 h 2864"/>
                    <a:gd name="T56" fmla="*/ 8089 w 8295"/>
                    <a:gd name="T57" fmla="*/ 441 h 2864"/>
                    <a:gd name="T58" fmla="*/ 8016 w 8295"/>
                    <a:gd name="T59" fmla="*/ 574 h 2864"/>
                    <a:gd name="T60" fmla="*/ 7922 w 8295"/>
                    <a:gd name="T61" fmla="*/ 706 h 2864"/>
                    <a:gd name="T62" fmla="*/ 7810 w 8295"/>
                    <a:gd name="T63" fmla="*/ 835 h 2864"/>
                    <a:gd name="T64" fmla="*/ 7679 w 8295"/>
                    <a:gd name="T65" fmla="*/ 963 h 2864"/>
                    <a:gd name="T66" fmla="*/ 7530 w 8295"/>
                    <a:gd name="T67" fmla="*/ 1087 h 2864"/>
                    <a:gd name="T68" fmla="*/ 7364 w 8295"/>
                    <a:gd name="T69" fmla="*/ 1209 h 2864"/>
                    <a:gd name="T70" fmla="*/ 7182 w 8295"/>
                    <a:gd name="T71" fmla="*/ 1328 h 2864"/>
                    <a:gd name="T72" fmla="*/ 6982 w 8295"/>
                    <a:gd name="T73" fmla="*/ 1444 h 2864"/>
                    <a:gd name="T74" fmla="*/ 6766 w 8295"/>
                    <a:gd name="T75" fmla="*/ 1556 h 2864"/>
                    <a:gd name="T76" fmla="*/ 6537 w 8295"/>
                    <a:gd name="T77" fmla="*/ 1664 h 2864"/>
                    <a:gd name="T78" fmla="*/ 6290 w 8295"/>
                    <a:gd name="T79" fmla="*/ 1769 h 2864"/>
                    <a:gd name="T80" fmla="*/ 6032 w 8295"/>
                    <a:gd name="T81" fmla="*/ 1869 h 2864"/>
                    <a:gd name="T82" fmla="*/ 5757 w 8295"/>
                    <a:gd name="T83" fmla="*/ 1965 h 2864"/>
                    <a:gd name="T84" fmla="*/ 5471 w 8295"/>
                    <a:gd name="T85" fmla="*/ 2058 h 2864"/>
                    <a:gd name="T86" fmla="*/ 5096 w 8295"/>
                    <a:gd name="T87" fmla="*/ 2165 h 2864"/>
                    <a:gd name="T88" fmla="*/ 4455 w 8295"/>
                    <a:gd name="T89" fmla="*/ 2322 h 2864"/>
                    <a:gd name="T90" fmla="*/ 3771 w 8295"/>
                    <a:gd name="T91" fmla="*/ 2457 h 2864"/>
                    <a:gd name="T92" fmla="*/ 3047 w 8295"/>
                    <a:gd name="T93" fmla="*/ 2569 h 2864"/>
                    <a:gd name="T94" fmla="*/ 2287 w 8295"/>
                    <a:gd name="T95" fmla="*/ 2658 h 2864"/>
                    <a:gd name="T96" fmla="*/ 1497 w 8295"/>
                    <a:gd name="T97" fmla="*/ 2720 h 2864"/>
                    <a:gd name="T98" fmla="*/ 678 w 8295"/>
                    <a:gd name="T99" fmla="*/ 2756 h 2864"/>
                    <a:gd name="T100" fmla="*/ 50 w 8295"/>
                    <a:gd name="T101" fmla="*/ 2764 h 2864"/>
                    <a:gd name="T102" fmla="*/ 33 w 8295"/>
                    <a:gd name="T103" fmla="*/ 2767 h 2864"/>
                    <a:gd name="T104" fmla="*/ 15 w 8295"/>
                    <a:gd name="T105" fmla="*/ 2776 h 2864"/>
                    <a:gd name="T106" fmla="*/ 0 w 8295"/>
                    <a:gd name="T107" fmla="*/ 2805 h 2864"/>
                    <a:gd name="T108" fmla="*/ 6 w 8295"/>
                    <a:gd name="T109" fmla="*/ 2841 h 2864"/>
                    <a:gd name="T110" fmla="*/ 23 w 8295"/>
                    <a:gd name="T111" fmla="*/ 2858 h 2864"/>
                    <a:gd name="T112" fmla="*/ 43 w 8295"/>
                    <a:gd name="T113" fmla="*/ 2864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4">
                      <a:moveTo>
                        <a:pt x="50" y="2864"/>
                      </a:moveTo>
                      <a:lnTo>
                        <a:pt x="50" y="2864"/>
                      </a:lnTo>
                      <a:lnTo>
                        <a:pt x="262" y="2864"/>
                      </a:lnTo>
                      <a:lnTo>
                        <a:pt x="472" y="2861"/>
                      </a:lnTo>
                      <a:lnTo>
                        <a:pt x="681" y="2856"/>
                      </a:lnTo>
                      <a:lnTo>
                        <a:pt x="888" y="2849"/>
                      </a:lnTo>
                      <a:lnTo>
                        <a:pt x="1095" y="2841"/>
                      </a:lnTo>
                      <a:lnTo>
                        <a:pt x="1300" y="2832"/>
                      </a:lnTo>
                      <a:lnTo>
                        <a:pt x="1503" y="2820"/>
                      </a:lnTo>
                      <a:lnTo>
                        <a:pt x="1704" y="2807"/>
                      </a:lnTo>
                      <a:lnTo>
                        <a:pt x="1904" y="2792"/>
                      </a:lnTo>
                      <a:lnTo>
                        <a:pt x="2102" y="2776"/>
                      </a:lnTo>
                      <a:lnTo>
                        <a:pt x="2296" y="2757"/>
                      </a:lnTo>
                      <a:lnTo>
                        <a:pt x="2491" y="2738"/>
                      </a:lnTo>
                      <a:lnTo>
                        <a:pt x="2683" y="2716"/>
                      </a:lnTo>
                      <a:lnTo>
                        <a:pt x="2873" y="2693"/>
                      </a:lnTo>
                      <a:lnTo>
                        <a:pt x="3060" y="2668"/>
                      </a:lnTo>
                      <a:lnTo>
                        <a:pt x="3246" y="2642"/>
                      </a:lnTo>
                      <a:lnTo>
                        <a:pt x="3429" y="2615"/>
                      </a:lnTo>
                      <a:lnTo>
                        <a:pt x="3609" y="2587"/>
                      </a:lnTo>
                      <a:lnTo>
                        <a:pt x="3788" y="2555"/>
                      </a:lnTo>
                      <a:lnTo>
                        <a:pt x="3964" y="2523"/>
                      </a:lnTo>
                      <a:lnTo>
                        <a:pt x="4137" y="2490"/>
                      </a:lnTo>
                      <a:lnTo>
                        <a:pt x="4308" y="2456"/>
                      </a:lnTo>
                      <a:lnTo>
                        <a:pt x="4476" y="2420"/>
                      </a:lnTo>
                      <a:lnTo>
                        <a:pt x="4642" y="2383"/>
                      </a:lnTo>
                      <a:lnTo>
                        <a:pt x="4804" y="2343"/>
                      </a:lnTo>
                      <a:lnTo>
                        <a:pt x="4964" y="2304"/>
                      </a:lnTo>
                      <a:lnTo>
                        <a:pt x="5122" y="2263"/>
                      </a:lnTo>
                      <a:lnTo>
                        <a:pt x="5275" y="2219"/>
                      </a:lnTo>
                      <a:lnTo>
                        <a:pt x="5351" y="2197"/>
                      </a:lnTo>
                      <a:lnTo>
                        <a:pt x="5426" y="2176"/>
                      </a:lnTo>
                      <a:lnTo>
                        <a:pt x="5500" y="2153"/>
                      </a:lnTo>
                      <a:lnTo>
                        <a:pt x="5574" y="2131"/>
                      </a:lnTo>
                      <a:lnTo>
                        <a:pt x="5646" y="2107"/>
                      </a:lnTo>
                      <a:lnTo>
                        <a:pt x="5718" y="2085"/>
                      </a:lnTo>
                      <a:lnTo>
                        <a:pt x="5789" y="2061"/>
                      </a:lnTo>
                      <a:lnTo>
                        <a:pt x="5859" y="2037"/>
                      </a:lnTo>
                      <a:lnTo>
                        <a:pt x="5930" y="2013"/>
                      </a:lnTo>
                      <a:lnTo>
                        <a:pt x="5998" y="1988"/>
                      </a:lnTo>
                      <a:lnTo>
                        <a:pt x="6066" y="1963"/>
                      </a:lnTo>
                      <a:lnTo>
                        <a:pt x="6133" y="1939"/>
                      </a:lnTo>
                      <a:lnTo>
                        <a:pt x="6199" y="1914"/>
                      </a:lnTo>
                      <a:lnTo>
                        <a:pt x="6264" y="1888"/>
                      </a:lnTo>
                      <a:lnTo>
                        <a:pt x="6328" y="1862"/>
                      </a:lnTo>
                      <a:lnTo>
                        <a:pt x="6391" y="1836"/>
                      </a:lnTo>
                      <a:lnTo>
                        <a:pt x="6454" y="1809"/>
                      </a:lnTo>
                      <a:lnTo>
                        <a:pt x="6516" y="1783"/>
                      </a:lnTo>
                      <a:lnTo>
                        <a:pt x="6577" y="1756"/>
                      </a:lnTo>
                      <a:lnTo>
                        <a:pt x="6637" y="1728"/>
                      </a:lnTo>
                      <a:lnTo>
                        <a:pt x="6695" y="1702"/>
                      </a:lnTo>
                      <a:lnTo>
                        <a:pt x="6754" y="1674"/>
                      </a:lnTo>
                      <a:lnTo>
                        <a:pt x="6811" y="1646"/>
                      </a:lnTo>
                      <a:lnTo>
                        <a:pt x="6867" y="1618"/>
                      </a:lnTo>
                      <a:lnTo>
                        <a:pt x="6922" y="1590"/>
                      </a:lnTo>
                      <a:lnTo>
                        <a:pt x="6977" y="1561"/>
                      </a:lnTo>
                      <a:lnTo>
                        <a:pt x="7030" y="1532"/>
                      </a:lnTo>
                      <a:lnTo>
                        <a:pt x="7082" y="1503"/>
                      </a:lnTo>
                      <a:lnTo>
                        <a:pt x="7133" y="1473"/>
                      </a:lnTo>
                      <a:lnTo>
                        <a:pt x="7184" y="1444"/>
                      </a:lnTo>
                      <a:lnTo>
                        <a:pt x="7233" y="1414"/>
                      </a:lnTo>
                      <a:lnTo>
                        <a:pt x="7282" y="1384"/>
                      </a:lnTo>
                      <a:lnTo>
                        <a:pt x="7329" y="1353"/>
                      </a:lnTo>
                      <a:lnTo>
                        <a:pt x="7376" y="1323"/>
                      </a:lnTo>
                      <a:lnTo>
                        <a:pt x="7421" y="1292"/>
                      </a:lnTo>
                      <a:lnTo>
                        <a:pt x="7465" y="1261"/>
                      </a:lnTo>
                      <a:lnTo>
                        <a:pt x="7509" y="1230"/>
                      </a:lnTo>
                      <a:lnTo>
                        <a:pt x="7551" y="1198"/>
                      </a:lnTo>
                      <a:lnTo>
                        <a:pt x="7592" y="1165"/>
                      </a:lnTo>
                      <a:lnTo>
                        <a:pt x="7632" y="1134"/>
                      </a:lnTo>
                      <a:lnTo>
                        <a:pt x="7670" y="1102"/>
                      </a:lnTo>
                      <a:lnTo>
                        <a:pt x="7709" y="1069"/>
                      </a:lnTo>
                      <a:lnTo>
                        <a:pt x="7746" y="1037"/>
                      </a:lnTo>
                      <a:lnTo>
                        <a:pt x="7782" y="1004"/>
                      </a:lnTo>
                      <a:lnTo>
                        <a:pt x="7816" y="971"/>
                      </a:lnTo>
                      <a:lnTo>
                        <a:pt x="7850" y="938"/>
                      </a:lnTo>
                      <a:lnTo>
                        <a:pt x="7882" y="904"/>
                      </a:lnTo>
                      <a:lnTo>
                        <a:pt x="7914" y="870"/>
                      </a:lnTo>
                      <a:lnTo>
                        <a:pt x="7944" y="836"/>
                      </a:lnTo>
                      <a:lnTo>
                        <a:pt x="7972" y="802"/>
                      </a:lnTo>
                      <a:lnTo>
                        <a:pt x="8000" y="768"/>
                      </a:lnTo>
                      <a:lnTo>
                        <a:pt x="8027" y="733"/>
                      </a:lnTo>
                      <a:lnTo>
                        <a:pt x="8052" y="699"/>
                      </a:lnTo>
                      <a:lnTo>
                        <a:pt x="8076" y="663"/>
                      </a:lnTo>
                      <a:lnTo>
                        <a:pt x="8099" y="628"/>
                      </a:lnTo>
                      <a:lnTo>
                        <a:pt x="8121" y="592"/>
                      </a:lnTo>
                      <a:lnTo>
                        <a:pt x="8141" y="557"/>
                      </a:lnTo>
                      <a:lnTo>
                        <a:pt x="8161" y="521"/>
                      </a:lnTo>
                      <a:lnTo>
                        <a:pt x="8180" y="484"/>
                      </a:lnTo>
                      <a:lnTo>
                        <a:pt x="8196" y="448"/>
                      </a:lnTo>
                      <a:lnTo>
                        <a:pt x="8212" y="412"/>
                      </a:lnTo>
                      <a:lnTo>
                        <a:pt x="8226" y="376"/>
                      </a:lnTo>
                      <a:lnTo>
                        <a:pt x="8238" y="338"/>
                      </a:lnTo>
                      <a:lnTo>
                        <a:pt x="8251" y="301"/>
                      </a:lnTo>
                      <a:lnTo>
                        <a:pt x="8261" y="265"/>
                      </a:lnTo>
                      <a:lnTo>
                        <a:pt x="8269" y="227"/>
                      </a:lnTo>
                      <a:lnTo>
                        <a:pt x="8277" y="189"/>
                      </a:lnTo>
                      <a:lnTo>
                        <a:pt x="8284" y="152"/>
                      </a:lnTo>
                      <a:lnTo>
                        <a:pt x="8289" y="114"/>
                      </a:lnTo>
                      <a:lnTo>
                        <a:pt x="8292" y="76"/>
                      </a:lnTo>
                      <a:lnTo>
                        <a:pt x="8294" y="38"/>
                      </a:lnTo>
                      <a:lnTo>
                        <a:pt x="8295" y="0"/>
                      </a:lnTo>
                      <a:lnTo>
                        <a:pt x="8195" y="0"/>
                      </a:lnTo>
                      <a:lnTo>
                        <a:pt x="8194" y="34"/>
                      </a:lnTo>
                      <a:lnTo>
                        <a:pt x="8192" y="69"/>
                      </a:lnTo>
                      <a:lnTo>
                        <a:pt x="8189" y="103"/>
                      </a:lnTo>
                      <a:lnTo>
                        <a:pt x="8185" y="138"/>
                      </a:lnTo>
                      <a:lnTo>
                        <a:pt x="8180" y="172"/>
                      </a:lnTo>
                      <a:lnTo>
                        <a:pt x="8172" y="205"/>
                      </a:lnTo>
                      <a:lnTo>
                        <a:pt x="8164" y="239"/>
                      </a:lnTo>
                      <a:lnTo>
                        <a:pt x="8155" y="273"/>
                      </a:lnTo>
                      <a:lnTo>
                        <a:pt x="8145" y="307"/>
                      </a:lnTo>
                      <a:lnTo>
                        <a:pt x="8132" y="340"/>
                      </a:lnTo>
                      <a:lnTo>
                        <a:pt x="8119" y="375"/>
                      </a:lnTo>
                      <a:lnTo>
                        <a:pt x="8105" y="408"/>
                      </a:lnTo>
                      <a:lnTo>
                        <a:pt x="8089" y="441"/>
                      </a:lnTo>
                      <a:lnTo>
                        <a:pt x="8072" y="475"/>
                      </a:lnTo>
                      <a:lnTo>
                        <a:pt x="8055" y="508"/>
                      </a:lnTo>
                      <a:lnTo>
                        <a:pt x="8035" y="541"/>
                      </a:lnTo>
                      <a:lnTo>
                        <a:pt x="8016" y="574"/>
                      </a:lnTo>
                      <a:lnTo>
                        <a:pt x="7993" y="608"/>
                      </a:lnTo>
                      <a:lnTo>
                        <a:pt x="7970" y="640"/>
                      </a:lnTo>
                      <a:lnTo>
                        <a:pt x="7947" y="673"/>
                      </a:lnTo>
                      <a:lnTo>
                        <a:pt x="7922" y="706"/>
                      </a:lnTo>
                      <a:lnTo>
                        <a:pt x="7895" y="738"/>
                      </a:lnTo>
                      <a:lnTo>
                        <a:pt x="7868" y="770"/>
                      </a:lnTo>
                      <a:lnTo>
                        <a:pt x="7839" y="803"/>
                      </a:lnTo>
                      <a:lnTo>
                        <a:pt x="7810" y="835"/>
                      </a:lnTo>
                      <a:lnTo>
                        <a:pt x="7779" y="867"/>
                      </a:lnTo>
                      <a:lnTo>
                        <a:pt x="7747" y="898"/>
                      </a:lnTo>
                      <a:lnTo>
                        <a:pt x="7714" y="930"/>
                      </a:lnTo>
                      <a:lnTo>
                        <a:pt x="7679" y="963"/>
                      </a:lnTo>
                      <a:lnTo>
                        <a:pt x="7644" y="994"/>
                      </a:lnTo>
                      <a:lnTo>
                        <a:pt x="7607" y="1025"/>
                      </a:lnTo>
                      <a:lnTo>
                        <a:pt x="7569" y="1056"/>
                      </a:lnTo>
                      <a:lnTo>
                        <a:pt x="7530" y="1087"/>
                      </a:lnTo>
                      <a:lnTo>
                        <a:pt x="7490" y="1118"/>
                      </a:lnTo>
                      <a:lnTo>
                        <a:pt x="7450" y="1148"/>
                      </a:lnTo>
                      <a:lnTo>
                        <a:pt x="7408" y="1179"/>
                      </a:lnTo>
                      <a:lnTo>
                        <a:pt x="7364" y="1209"/>
                      </a:lnTo>
                      <a:lnTo>
                        <a:pt x="7320" y="1239"/>
                      </a:lnTo>
                      <a:lnTo>
                        <a:pt x="7275" y="1269"/>
                      </a:lnTo>
                      <a:lnTo>
                        <a:pt x="7228" y="1299"/>
                      </a:lnTo>
                      <a:lnTo>
                        <a:pt x="7182" y="1328"/>
                      </a:lnTo>
                      <a:lnTo>
                        <a:pt x="7133" y="1357"/>
                      </a:lnTo>
                      <a:lnTo>
                        <a:pt x="7084" y="1386"/>
                      </a:lnTo>
                      <a:lnTo>
                        <a:pt x="7033" y="1415"/>
                      </a:lnTo>
                      <a:lnTo>
                        <a:pt x="6982" y="1444"/>
                      </a:lnTo>
                      <a:lnTo>
                        <a:pt x="6929" y="1472"/>
                      </a:lnTo>
                      <a:lnTo>
                        <a:pt x="6877" y="1501"/>
                      </a:lnTo>
                      <a:lnTo>
                        <a:pt x="6822" y="1529"/>
                      </a:lnTo>
                      <a:lnTo>
                        <a:pt x="6766" y="1556"/>
                      </a:lnTo>
                      <a:lnTo>
                        <a:pt x="6711" y="1584"/>
                      </a:lnTo>
                      <a:lnTo>
                        <a:pt x="6653" y="1610"/>
                      </a:lnTo>
                      <a:lnTo>
                        <a:pt x="6595" y="1637"/>
                      </a:lnTo>
                      <a:lnTo>
                        <a:pt x="6537" y="1664"/>
                      </a:lnTo>
                      <a:lnTo>
                        <a:pt x="6476" y="1691"/>
                      </a:lnTo>
                      <a:lnTo>
                        <a:pt x="6415" y="1717"/>
                      </a:lnTo>
                      <a:lnTo>
                        <a:pt x="6354" y="1743"/>
                      </a:lnTo>
                      <a:lnTo>
                        <a:pt x="6290" y="1769"/>
                      </a:lnTo>
                      <a:lnTo>
                        <a:pt x="6227" y="1795"/>
                      </a:lnTo>
                      <a:lnTo>
                        <a:pt x="6163" y="1820"/>
                      </a:lnTo>
                      <a:lnTo>
                        <a:pt x="6098" y="1845"/>
                      </a:lnTo>
                      <a:lnTo>
                        <a:pt x="6032" y="1869"/>
                      </a:lnTo>
                      <a:lnTo>
                        <a:pt x="5965" y="1894"/>
                      </a:lnTo>
                      <a:lnTo>
                        <a:pt x="5897" y="1918"/>
                      </a:lnTo>
                      <a:lnTo>
                        <a:pt x="5828" y="1942"/>
                      </a:lnTo>
                      <a:lnTo>
                        <a:pt x="5757" y="1965"/>
                      </a:lnTo>
                      <a:lnTo>
                        <a:pt x="5687" y="1989"/>
                      </a:lnTo>
                      <a:lnTo>
                        <a:pt x="5616" y="2012"/>
                      </a:lnTo>
                      <a:lnTo>
                        <a:pt x="5544" y="2035"/>
                      </a:lnTo>
                      <a:lnTo>
                        <a:pt x="5471" y="2058"/>
                      </a:lnTo>
                      <a:lnTo>
                        <a:pt x="5398" y="2079"/>
                      </a:lnTo>
                      <a:lnTo>
                        <a:pt x="5324" y="2101"/>
                      </a:lnTo>
                      <a:lnTo>
                        <a:pt x="5248" y="2123"/>
                      </a:lnTo>
                      <a:lnTo>
                        <a:pt x="5096" y="2165"/>
                      </a:lnTo>
                      <a:lnTo>
                        <a:pt x="4940" y="2207"/>
                      </a:lnTo>
                      <a:lnTo>
                        <a:pt x="4781" y="2246"/>
                      </a:lnTo>
                      <a:lnTo>
                        <a:pt x="4620" y="2284"/>
                      </a:lnTo>
                      <a:lnTo>
                        <a:pt x="4455" y="2322"/>
                      </a:lnTo>
                      <a:lnTo>
                        <a:pt x="4288" y="2358"/>
                      </a:lnTo>
                      <a:lnTo>
                        <a:pt x="4119" y="2392"/>
                      </a:lnTo>
                      <a:lnTo>
                        <a:pt x="3945" y="2425"/>
                      </a:lnTo>
                      <a:lnTo>
                        <a:pt x="3771" y="2457"/>
                      </a:lnTo>
                      <a:lnTo>
                        <a:pt x="3593" y="2487"/>
                      </a:lnTo>
                      <a:lnTo>
                        <a:pt x="3414" y="2516"/>
                      </a:lnTo>
                      <a:lnTo>
                        <a:pt x="3231" y="2543"/>
                      </a:lnTo>
                      <a:lnTo>
                        <a:pt x="3047" y="2569"/>
                      </a:lnTo>
                      <a:lnTo>
                        <a:pt x="2860" y="2594"/>
                      </a:lnTo>
                      <a:lnTo>
                        <a:pt x="2672" y="2617"/>
                      </a:lnTo>
                      <a:lnTo>
                        <a:pt x="2481" y="2637"/>
                      </a:lnTo>
                      <a:lnTo>
                        <a:pt x="2287" y="2658"/>
                      </a:lnTo>
                      <a:lnTo>
                        <a:pt x="2092" y="2676"/>
                      </a:lnTo>
                      <a:lnTo>
                        <a:pt x="1895" y="2692"/>
                      </a:lnTo>
                      <a:lnTo>
                        <a:pt x="1698" y="2707"/>
                      </a:lnTo>
                      <a:lnTo>
                        <a:pt x="1497" y="2720"/>
                      </a:lnTo>
                      <a:lnTo>
                        <a:pt x="1295" y="2731"/>
                      </a:lnTo>
                      <a:lnTo>
                        <a:pt x="1090" y="2742"/>
                      </a:lnTo>
                      <a:lnTo>
                        <a:pt x="885" y="2750"/>
                      </a:lnTo>
                      <a:lnTo>
                        <a:pt x="678" y="2756"/>
                      </a:lnTo>
                      <a:lnTo>
                        <a:pt x="470" y="2760"/>
                      </a:lnTo>
                      <a:lnTo>
                        <a:pt x="261" y="2762"/>
                      </a:lnTo>
                      <a:lnTo>
                        <a:pt x="50" y="2764"/>
                      </a:lnTo>
                      <a:lnTo>
                        <a:pt x="50" y="2764"/>
                      </a:lnTo>
                      <a:lnTo>
                        <a:pt x="50" y="2764"/>
                      </a:lnTo>
                      <a:lnTo>
                        <a:pt x="43" y="2765"/>
                      </a:lnTo>
                      <a:lnTo>
                        <a:pt x="38" y="2765"/>
                      </a:lnTo>
                      <a:lnTo>
                        <a:pt x="33" y="2767"/>
                      </a:lnTo>
                      <a:lnTo>
                        <a:pt x="28" y="2769"/>
                      </a:lnTo>
                      <a:lnTo>
                        <a:pt x="23" y="2771"/>
                      </a:lnTo>
                      <a:lnTo>
                        <a:pt x="19" y="2773"/>
                      </a:lnTo>
                      <a:lnTo>
                        <a:pt x="15" y="2776"/>
                      </a:lnTo>
                      <a:lnTo>
                        <a:pt x="12" y="2780"/>
                      </a:lnTo>
                      <a:lnTo>
                        <a:pt x="6" y="2787"/>
                      </a:lnTo>
                      <a:lnTo>
                        <a:pt x="3" y="2796"/>
                      </a:lnTo>
                      <a:lnTo>
                        <a:pt x="0" y="2805"/>
                      </a:lnTo>
                      <a:lnTo>
                        <a:pt x="0" y="2814"/>
                      </a:lnTo>
                      <a:lnTo>
                        <a:pt x="0" y="2824"/>
                      </a:lnTo>
                      <a:lnTo>
                        <a:pt x="3" y="2833"/>
                      </a:lnTo>
                      <a:lnTo>
                        <a:pt x="6" y="2841"/>
                      </a:lnTo>
                      <a:lnTo>
                        <a:pt x="12" y="2848"/>
                      </a:lnTo>
                      <a:lnTo>
                        <a:pt x="15" y="2853"/>
                      </a:lnTo>
                      <a:lnTo>
                        <a:pt x="19" y="2856"/>
                      </a:lnTo>
                      <a:lnTo>
                        <a:pt x="23" y="2858"/>
                      </a:lnTo>
                      <a:lnTo>
                        <a:pt x="28" y="2860"/>
                      </a:lnTo>
                      <a:lnTo>
                        <a:pt x="33" y="2862"/>
                      </a:lnTo>
                      <a:lnTo>
                        <a:pt x="38" y="2863"/>
                      </a:lnTo>
                      <a:lnTo>
                        <a:pt x="43" y="2864"/>
                      </a:lnTo>
                      <a:lnTo>
                        <a:pt x="50"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35" name="Freeform 226"/>
                <p:cNvSpPr>
                  <a:spLocks/>
                </p:cNvSpPr>
                <p:nvPr>
                  <p:custDataLst>
                    <p:tags r:id="rId86"/>
                  </p:custDataLst>
                </p:nvPr>
              </p:nvSpPr>
              <p:spPr bwMode="auto">
                <a:xfrm>
                  <a:off x="369" y="3467"/>
                  <a:ext cx="359" cy="116"/>
                </a:xfrm>
                <a:custGeom>
                  <a:avLst/>
                  <a:gdLst>
                    <a:gd name="T0" fmla="*/ 3 w 8246"/>
                    <a:gd name="T1" fmla="*/ 127 h 2915"/>
                    <a:gd name="T2" fmla="*/ 25 w 8246"/>
                    <a:gd name="T3" fmla="*/ 278 h 2915"/>
                    <a:gd name="T4" fmla="*/ 69 w 8246"/>
                    <a:gd name="T5" fmla="*/ 427 h 2915"/>
                    <a:gd name="T6" fmla="*/ 134 w 8246"/>
                    <a:gd name="T7" fmla="*/ 572 h 2915"/>
                    <a:gd name="T8" fmla="*/ 219 w 8246"/>
                    <a:gd name="T9" fmla="*/ 714 h 2915"/>
                    <a:gd name="T10" fmla="*/ 323 w 8246"/>
                    <a:gd name="T11" fmla="*/ 853 h 2915"/>
                    <a:gd name="T12" fmla="*/ 445 w 8246"/>
                    <a:gd name="T13" fmla="*/ 989 h 2915"/>
                    <a:gd name="T14" fmla="*/ 586 w 8246"/>
                    <a:gd name="T15" fmla="*/ 1120 h 2915"/>
                    <a:gd name="T16" fmla="*/ 744 w 8246"/>
                    <a:gd name="T17" fmla="*/ 1249 h 2915"/>
                    <a:gd name="T18" fmla="*/ 919 w 8246"/>
                    <a:gd name="T19" fmla="*/ 1374 h 2915"/>
                    <a:gd name="T20" fmla="*/ 1111 w 8246"/>
                    <a:gd name="T21" fmla="*/ 1495 h 2915"/>
                    <a:gd name="T22" fmla="*/ 1318 w 8246"/>
                    <a:gd name="T23" fmla="*/ 1612 h 2915"/>
                    <a:gd name="T24" fmla="*/ 1541 w 8246"/>
                    <a:gd name="T25" fmla="*/ 1725 h 2915"/>
                    <a:gd name="T26" fmla="*/ 1779 w 8246"/>
                    <a:gd name="T27" fmla="*/ 1834 h 2915"/>
                    <a:gd name="T28" fmla="*/ 2030 w 8246"/>
                    <a:gd name="T29" fmla="*/ 1939 h 2915"/>
                    <a:gd name="T30" fmla="*/ 2297 w 8246"/>
                    <a:gd name="T31" fmla="*/ 2039 h 2915"/>
                    <a:gd name="T32" fmla="*/ 2577 w 8246"/>
                    <a:gd name="T33" fmla="*/ 2136 h 2915"/>
                    <a:gd name="T34" fmla="*/ 2869 w 8246"/>
                    <a:gd name="T35" fmla="*/ 2227 h 2915"/>
                    <a:gd name="T36" fmla="*/ 3331 w 8246"/>
                    <a:gd name="T37" fmla="*/ 2355 h 2915"/>
                    <a:gd name="T38" fmla="*/ 3987 w 8246"/>
                    <a:gd name="T39" fmla="*/ 2507 h 2915"/>
                    <a:gd name="T40" fmla="*/ 4686 w 8246"/>
                    <a:gd name="T41" fmla="*/ 2638 h 2915"/>
                    <a:gd name="T42" fmla="*/ 5422 w 8246"/>
                    <a:gd name="T43" fmla="*/ 2744 h 2915"/>
                    <a:gd name="T44" fmla="*/ 6193 w 8246"/>
                    <a:gd name="T45" fmla="*/ 2827 h 2915"/>
                    <a:gd name="T46" fmla="*/ 6995 w 8246"/>
                    <a:gd name="T47" fmla="*/ 2883 h 2915"/>
                    <a:gd name="T48" fmla="*/ 7823 w 8246"/>
                    <a:gd name="T49" fmla="*/ 2912 h 2915"/>
                    <a:gd name="T50" fmla="*/ 8034 w 8246"/>
                    <a:gd name="T51" fmla="*/ 2813 h 2915"/>
                    <a:gd name="T52" fmla="*/ 7205 w 8246"/>
                    <a:gd name="T53" fmla="*/ 2793 h 2915"/>
                    <a:gd name="T54" fmla="*/ 6400 w 8246"/>
                    <a:gd name="T55" fmla="*/ 2743 h 2915"/>
                    <a:gd name="T56" fmla="*/ 5623 w 8246"/>
                    <a:gd name="T57" fmla="*/ 2668 h 2915"/>
                    <a:gd name="T58" fmla="*/ 4881 w 8246"/>
                    <a:gd name="T59" fmla="*/ 2567 h 2915"/>
                    <a:gd name="T60" fmla="*/ 4176 w 8246"/>
                    <a:gd name="T61" fmla="*/ 2443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1 h 2915"/>
                    <a:gd name="T76" fmla="*/ 1418 w 8246"/>
                    <a:gd name="T77" fmla="*/ 1552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9 h 2915"/>
                    <a:gd name="T94" fmla="*/ 175 w 8246"/>
                    <a:gd name="T95" fmla="*/ 426 h 2915"/>
                    <a:gd name="T96" fmla="*/ 131 w 8246"/>
                    <a:gd name="T97" fmla="*/ 290 h 2915"/>
                    <a:gd name="T98" fmla="*/ 106 w 8246"/>
                    <a:gd name="T99" fmla="*/ 154 h 2915"/>
                    <a:gd name="T100" fmla="*/ 100 w 8246"/>
                    <a:gd name="T101" fmla="*/ 51 h 2915"/>
                    <a:gd name="T102" fmla="*/ 98 w 8246"/>
                    <a:gd name="T103" fmla="*/ 33 h 2915"/>
                    <a:gd name="T104" fmla="*/ 88 w 8246"/>
                    <a:gd name="T105" fmla="*/ 17 h 2915"/>
                    <a:gd name="T106" fmla="*/ 60 w 8246"/>
                    <a:gd name="T107" fmla="*/ 1 h 2915"/>
                    <a:gd name="T108" fmla="*/ 23 w 8246"/>
                    <a:gd name="T109" fmla="*/ 7 h 2915"/>
                    <a:gd name="T110" fmla="*/ 6 w 8246"/>
                    <a:gd name="T111" fmla="*/ 24 h 2915"/>
                    <a:gd name="T112" fmla="*/ 0 w 8246"/>
                    <a:gd name="T113" fmla="*/ 45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1"/>
                      </a:moveTo>
                      <a:lnTo>
                        <a:pt x="0" y="51"/>
                      </a:lnTo>
                      <a:lnTo>
                        <a:pt x="1" y="89"/>
                      </a:lnTo>
                      <a:lnTo>
                        <a:pt x="3" y="127"/>
                      </a:lnTo>
                      <a:lnTo>
                        <a:pt x="6" y="165"/>
                      </a:lnTo>
                      <a:lnTo>
                        <a:pt x="11" y="203"/>
                      </a:lnTo>
                      <a:lnTo>
                        <a:pt x="18" y="240"/>
                      </a:lnTo>
                      <a:lnTo>
                        <a:pt x="25" y="278"/>
                      </a:lnTo>
                      <a:lnTo>
                        <a:pt x="34" y="316"/>
                      </a:lnTo>
                      <a:lnTo>
                        <a:pt x="44" y="352"/>
                      </a:lnTo>
                      <a:lnTo>
                        <a:pt x="56" y="389"/>
                      </a:lnTo>
                      <a:lnTo>
                        <a:pt x="69" y="427"/>
                      </a:lnTo>
                      <a:lnTo>
                        <a:pt x="83" y="463"/>
                      </a:lnTo>
                      <a:lnTo>
                        <a:pt x="99" y="499"/>
                      </a:lnTo>
                      <a:lnTo>
                        <a:pt x="115" y="535"/>
                      </a:lnTo>
                      <a:lnTo>
                        <a:pt x="134" y="572"/>
                      </a:lnTo>
                      <a:lnTo>
                        <a:pt x="154" y="608"/>
                      </a:lnTo>
                      <a:lnTo>
                        <a:pt x="174" y="643"/>
                      </a:lnTo>
                      <a:lnTo>
                        <a:pt x="196" y="679"/>
                      </a:lnTo>
                      <a:lnTo>
                        <a:pt x="219" y="714"/>
                      </a:lnTo>
                      <a:lnTo>
                        <a:pt x="243" y="750"/>
                      </a:lnTo>
                      <a:lnTo>
                        <a:pt x="268" y="784"/>
                      </a:lnTo>
                      <a:lnTo>
                        <a:pt x="295" y="819"/>
                      </a:lnTo>
                      <a:lnTo>
                        <a:pt x="323" y="853"/>
                      </a:lnTo>
                      <a:lnTo>
                        <a:pt x="351" y="887"/>
                      </a:lnTo>
                      <a:lnTo>
                        <a:pt x="381" y="921"/>
                      </a:lnTo>
                      <a:lnTo>
                        <a:pt x="413" y="955"/>
                      </a:lnTo>
                      <a:lnTo>
                        <a:pt x="445" y="989"/>
                      </a:lnTo>
                      <a:lnTo>
                        <a:pt x="479" y="1022"/>
                      </a:lnTo>
                      <a:lnTo>
                        <a:pt x="513" y="1055"/>
                      </a:lnTo>
                      <a:lnTo>
                        <a:pt x="549" y="1088"/>
                      </a:lnTo>
                      <a:lnTo>
                        <a:pt x="586" y="1120"/>
                      </a:lnTo>
                      <a:lnTo>
                        <a:pt x="624" y="1153"/>
                      </a:lnTo>
                      <a:lnTo>
                        <a:pt x="663" y="1185"/>
                      </a:lnTo>
                      <a:lnTo>
                        <a:pt x="703" y="1216"/>
                      </a:lnTo>
                      <a:lnTo>
                        <a:pt x="744" y="1249"/>
                      </a:lnTo>
                      <a:lnTo>
                        <a:pt x="786" y="1281"/>
                      </a:lnTo>
                      <a:lnTo>
                        <a:pt x="830" y="1312"/>
                      </a:lnTo>
                      <a:lnTo>
                        <a:pt x="874" y="1343"/>
                      </a:lnTo>
                      <a:lnTo>
                        <a:pt x="919" y="1374"/>
                      </a:lnTo>
                      <a:lnTo>
                        <a:pt x="966" y="1404"/>
                      </a:lnTo>
                      <a:lnTo>
                        <a:pt x="1013" y="1435"/>
                      </a:lnTo>
                      <a:lnTo>
                        <a:pt x="1062" y="1465"/>
                      </a:lnTo>
                      <a:lnTo>
                        <a:pt x="1111" y="1495"/>
                      </a:lnTo>
                      <a:lnTo>
                        <a:pt x="1162" y="1524"/>
                      </a:lnTo>
                      <a:lnTo>
                        <a:pt x="1212" y="1554"/>
                      </a:lnTo>
                      <a:lnTo>
                        <a:pt x="1265" y="1583"/>
                      </a:lnTo>
                      <a:lnTo>
                        <a:pt x="1318" y="1612"/>
                      </a:lnTo>
                      <a:lnTo>
                        <a:pt x="1373" y="1641"/>
                      </a:lnTo>
                      <a:lnTo>
                        <a:pt x="1428" y="1669"/>
                      </a:lnTo>
                      <a:lnTo>
                        <a:pt x="1484" y="1697"/>
                      </a:lnTo>
                      <a:lnTo>
                        <a:pt x="1541" y="1725"/>
                      </a:lnTo>
                      <a:lnTo>
                        <a:pt x="1600" y="1753"/>
                      </a:lnTo>
                      <a:lnTo>
                        <a:pt x="1658" y="1779"/>
                      </a:lnTo>
                      <a:lnTo>
                        <a:pt x="1718" y="1807"/>
                      </a:lnTo>
                      <a:lnTo>
                        <a:pt x="1779" y="1834"/>
                      </a:lnTo>
                      <a:lnTo>
                        <a:pt x="1841" y="1860"/>
                      </a:lnTo>
                      <a:lnTo>
                        <a:pt x="1904" y="1887"/>
                      </a:lnTo>
                      <a:lnTo>
                        <a:pt x="1967" y="1913"/>
                      </a:lnTo>
                      <a:lnTo>
                        <a:pt x="2030" y="1939"/>
                      </a:lnTo>
                      <a:lnTo>
                        <a:pt x="2096" y="1965"/>
                      </a:lnTo>
                      <a:lnTo>
                        <a:pt x="2162" y="1990"/>
                      </a:lnTo>
                      <a:lnTo>
                        <a:pt x="2229" y="2014"/>
                      </a:lnTo>
                      <a:lnTo>
                        <a:pt x="2297" y="2039"/>
                      </a:lnTo>
                      <a:lnTo>
                        <a:pt x="2365" y="2064"/>
                      </a:lnTo>
                      <a:lnTo>
                        <a:pt x="2436" y="2088"/>
                      </a:lnTo>
                      <a:lnTo>
                        <a:pt x="2506" y="2112"/>
                      </a:lnTo>
                      <a:lnTo>
                        <a:pt x="2577" y="2136"/>
                      </a:lnTo>
                      <a:lnTo>
                        <a:pt x="2649" y="2158"/>
                      </a:lnTo>
                      <a:lnTo>
                        <a:pt x="2721" y="2182"/>
                      </a:lnTo>
                      <a:lnTo>
                        <a:pt x="2794" y="2204"/>
                      </a:lnTo>
                      <a:lnTo>
                        <a:pt x="2869" y="2227"/>
                      </a:lnTo>
                      <a:lnTo>
                        <a:pt x="2944" y="2248"/>
                      </a:lnTo>
                      <a:lnTo>
                        <a:pt x="3020" y="2270"/>
                      </a:lnTo>
                      <a:lnTo>
                        <a:pt x="3173" y="2314"/>
                      </a:lnTo>
                      <a:lnTo>
                        <a:pt x="3331" y="2355"/>
                      </a:lnTo>
                      <a:lnTo>
                        <a:pt x="3491" y="2394"/>
                      </a:lnTo>
                      <a:lnTo>
                        <a:pt x="3653" y="2434"/>
                      </a:lnTo>
                      <a:lnTo>
                        <a:pt x="3819" y="2471"/>
                      </a:lnTo>
                      <a:lnTo>
                        <a:pt x="3987" y="2507"/>
                      </a:lnTo>
                      <a:lnTo>
                        <a:pt x="4158" y="2541"/>
                      </a:lnTo>
                      <a:lnTo>
                        <a:pt x="4331" y="2574"/>
                      </a:lnTo>
                      <a:lnTo>
                        <a:pt x="4507" y="2606"/>
                      </a:lnTo>
                      <a:lnTo>
                        <a:pt x="4686" y="2638"/>
                      </a:lnTo>
                      <a:lnTo>
                        <a:pt x="4866" y="2666"/>
                      </a:lnTo>
                      <a:lnTo>
                        <a:pt x="5049" y="2693"/>
                      </a:lnTo>
                      <a:lnTo>
                        <a:pt x="5235" y="2719"/>
                      </a:lnTo>
                      <a:lnTo>
                        <a:pt x="5422" y="2744"/>
                      </a:lnTo>
                      <a:lnTo>
                        <a:pt x="5612" y="2767"/>
                      </a:lnTo>
                      <a:lnTo>
                        <a:pt x="5804" y="2789"/>
                      </a:lnTo>
                      <a:lnTo>
                        <a:pt x="5998" y="2808"/>
                      </a:lnTo>
                      <a:lnTo>
                        <a:pt x="6193" y="2827"/>
                      </a:lnTo>
                      <a:lnTo>
                        <a:pt x="6391" y="2843"/>
                      </a:lnTo>
                      <a:lnTo>
                        <a:pt x="6591" y="2858"/>
                      </a:lnTo>
                      <a:lnTo>
                        <a:pt x="6792" y="2871"/>
                      </a:lnTo>
                      <a:lnTo>
                        <a:pt x="6995" y="2883"/>
                      </a:lnTo>
                      <a:lnTo>
                        <a:pt x="7200" y="2892"/>
                      </a:lnTo>
                      <a:lnTo>
                        <a:pt x="7407" y="2900"/>
                      </a:lnTo>
                      <a:lnTo>
                        <a:pt x="7614" y="2907"/>
                      </a:lnTo>
                      <a:lnTo>
                        <a:pt x="7823" y="2912"/>
                      </a:lnTo>
                      <a:lnTo>
                        <a:pt x="8034" y="2915"/>
                      </a:lnTo>
                      <a:lnTo>
                        <a:pt x="8246" y="2915"/>
                      </a:lnTo>
                      <a:lnTo>
                        <a:pt x="8246" y="2815"/>
                      </a:lnTo>
                      <a:lnTo>
                        <a:pt x="8034" y="2813"/>
                      </a:lnTo>
                      <a:lnTo>
                        <a:pt x="7825" y="2811"/>
                      </a:lnTo>
                      <a:lnTo>
                        <a:pt x="7617" y="2807"/>
                      </a:lnTo>
                      <a:lnTo>
                        <a:pt x="7410" y="2801"/>
                      </a:lnTo>
                      <a:lnTo>
                        <a:pt x="7205" y="2793"/>
                      </a:lnTo>
                      <a:lnTo>
                        <a:pt x="7000" y="2782"/>
                      </a:lnTo>
                      <a:lnTo>
                        <a:pt x="6798" y="2771"/>
                      </a:lnTo>
                      <a:lnTo>
                        <a:pt x="6597" y="2758"/>
                      </a:lnTo>
                      <a:lnTo>
                        <a:pt x="6400" y="2743"/>
                      </a:lnTo>
                      <a:lnTo>
                        <a:pt x="6203" y="2727"/>
                      </a:lnTo>
                      <a:lnTo>
                        <a:pt x="6008" y="2709"/>
                      </a:lnTo>
                      <a:lnTo>
                        <a:pt x="5814" y="2688"/>
                      </a:lnTo>
                      <a:lnTo>
                        <a:pt x="5623" y="2668"/>
                      </a:lnTo>
                      <a:lnTo>
                        <a:pt x="5435" y="2645"/>
                      </a:lnTo>
                      <a:lnTo>
                        <a:pt x="5248" y="2620"/>
                      </a:lnTo>
                      <a:lnTo>
                        <a:pt x="5064" y="2594"/>
                      </a:lnTo>
                      <a:lnTo>
                        <a:pt x="4881" y="2567"/>
                      </a:lnTo>
                      <a:lnTo>
                        <a:pt x="4702" y="2538"/>
                      </a:lnTo>
                      <a:lnTo>
                        <a:pt x="4524" y="2508"/>
                      </a:lnTo>
                      <a:lnTo>
                        <a:pt x="4350" y="2476"/>
                      </a:lnTo>
                      <a:lnTo>
                        <a:pt x="4176" y="2443"/>
                      </a:lnTo>
                      <a:lnTo>
                        <a:pt x="4007" y="2409"/>
                      </a:lnTo>
                      <a:lnTo>
                        <a:pt x="3839" y="2373"/>
                      </a:lnTo>
                      <a:lnTo>
                        <a:pt x="3675" y="2335"/>
                      </a:lnTo>
                      <a:lnTo>
                        <a:pt x="3514" y="2297"/>
                      </a:lnTo>
                      <a:lnTo>
                        <a:pt x="3355" y="2258"/>
                      </a:lnTo>
                      <a:lnTo>
                        <a:pt x="3199" y="2216"/>
                      </a:lnTo>
                      <a:lnTo>
                        <a:pt x="3047" y="2174"/>
                      </a:lnTo>
                      <a:lnTo>
                        <a:pt x="2971" y="2152"/>
                      </a:lnTo>
                      <a:lnTo>
                        <a:pt x="2897" y="2130"/>
                      </a:lnTo>
                      <a:lnTo>
                        <a:pt x="2824" y="2109"/>
                      </a:lnTo>
                      <a:lnTo>
                        <a:pt x="2751" y="2086"/>
                      </a:lnTo>
                      <a:lnTo>
                        <a:pt x="2679" y="2063"/>
                      </a:lnTo>
                      <a:lnTo>
                        <a:pt x="2608" y="2040"/>
                      </a:lnTo>
                      <a:lnTo>
                        <a:pt x="2538" y="2016"/>
                      </a:lnTo>
                      <a:lnTo>
                        <a:pt x="2467" y="1993"/>
                      </a:lnTo>
                      <a:lnTo>
                        <a:pt x="2398" y="1969"/>
                      </a:lnTo>
                      <a:lnTo>
                        <a:pt x="2330" y="1945"/>
                      </a:lnTo>
                      <a:lnTo>
                        <a:pt x="2263" y="1920"/>
                      </a:lnTo>
                      <a:lnTo>
                        <a:pt x="2197" y="1896"/>
                      </a:lnTo>
                      <a:lnTo>
                        <a:pt x="2132" y="1871"/>
                      </a:lnTo>
                      <a:lnTo>
                        <a:pt x="2068" y="1846"/>
                      </a:lnTo>
                      <a:lnTo>
                        <a:pt x="2004" y="1820"/>
                      </a:lnTo>
                      <a:lnTo>
                        <a:pt x="1941" y="1794"/>
                      </a:lnTo>
                      <a:lnTo>
                        <a:pt x="1880" y="1768"/>
                      </a:lnTo>
                      <a:lnTo>
                        <a:pt x="1819" y="1742"/>
                      </a:lnTo>
                      <a:lnTo>
                        <a:pt x="1758" y="1715"/>
                      </a:lnTo>
                      <a:lnTo>
                        <a:pt x="1700" y="1688"/>
                      </a:lnTo>
                      <a:lnTo>
                        <a:pt x="1642" y="1661"/>
                      </a:lnTo>
                      <a:lnTo>
                        <a:pt x="1584" y="1635"/>
                      </a:lnTo>
                      <a:lnTo>
                        <a:pt x="1529" y="1607"/>
                      </a:lnTo>
                      <a:lnTo>
                        <a:pt x="1473" y="1580"/>
                      </a:lnTo>
                      <a:lnTo>
                        <a:pt x="1418" y="1552"/>
                      </a:lnTo>
                      <a:lnTo>
                        <a:pt x="1366" y="1523"/>
                      </a:lnTo>
                      <a:lnTo>
                        <a:pt x="1313" y="1495"/>
                      </a:lnTo>
                      <a:lnTo>
                        <a:pt x="1262" y="1466"/>
                      </a:lnTo>
                      <a:lnTo>
                        <a:pt x="1211" y="1437"/>
                      </a:lnTo>
                      <a:lnTo>
                        <a:pt x="1162" y="1408"/>
                      </a:lnTo>
                      <a:lnTo>
                        <a:pt x="1113" y="1379"/>
                      </a:lnTo>
                      <a:lnTo>
                        <a:pt x="1066" y="1350"/>
                      </a:lnTo>
                      <a:lnTo>
                        <a:pt x="1020" y="1320"/>
                      </a:lnTo>
                      <a:lnTo>
                        <a:pt x="975" y="1290"/>
                      </a:lnTo>
                      <a:lnTo>
                        <a:pt x="931" y="1260"/>
                      </a:lnTo>
                      <a:lnTo>
                        <a:pt x="887" y="1230"/>
                      </a:lnTo>
                      <a:lnTo>
                        <a:pt x="845" y="1199"/>
                      </a:lnTo>
                      <a:lnTo>
                        <a:pt x="804" y="1169"/>
                      </a:lnTo>
                      <a:lnTo>
                        <a:pt x="765" y="1138"/>
                      </a:lnTo>
                      <a:lnTo>
                        <a:pt x="726" y="1107"/>
                      </a:lnTo>
                      <a:lnTo>
                        <a:pt x="688" y="1076"/>
                      </a:lnTo>
                      <a:lnTo>
                        <a:pt x="651" y="1045"/>
                      </a:lnTo>
                      <a:lnTo>
                        <a:pt x="616" y="1014"/>
                      </a:lnTo>
                      <a:lnTo>
                        <a:pt x="581" y="981"/>
                      </a:lnTo>
                      <a:lnTo>
                        <a:pt x="548" y="949"/>
                      </a:lnTo>
                      <a:lnTo>
                        <a:pt x="516" y="918"/>
                      </a:lnTo>
                      <a:lnTo>
                        <a:pt x="485" y="886"/>
                      </a:lnTo>
                      <a:lnTo>
                        <a:pt x="456" y="854"/>
                      </a:lnTo>
                      <a:lnTo>
                        <a:pt x="427" y="821"/>
                      </a:lnTo>
                      <a:lnTo>
                        <a:pt x="400" y="789"/>
                      </a:lnTo>
                      <a:lnTo>
                        <a:pt x="373" y="757"/>
                      </a:lnTo>
                      <a:lnTo>
                        <a:pt x="348" y="724"/>
                      </a:lnTo>
                      <a:lnTo>
                        <a:pt x="324" y="691"/>
                      </a:lnTo>
                      <a:lnTo>
                        <a:pt x="301" y="659"/>
                      </a:lnTo>
                      <a:lnTo>
                        <a:pt x="280" y="625"/>
                      </a:lnTo>
                      <a:lnTo>
                        <a:pt x="260" y="592"/>
                      </a:lnTo>
                      <a:lnTo>
                        <a:pt x="240" y="559"/>
                      </a:lnTo>
                      <a:lnTo>
                        <a:pt x="223" y="526"/>
                      </a:lnTo>
                      <a:lnTo>
                        <a:pt x="205" y="492"/>
                      </a:lnTo>
                      <a:lnTo>
                        <a:pt x="190" y="459"/>
                      </a:lnTo>
                      <a:lnTo>
                        <a:pt x="175" y="426"/>
                      </a:lnTo>
                      <a:lnTo>
                        <a:pt x="163" y="391"/>
                      </a:lnTo>
                      <a:lnTo>
                        <a:pt x="150" y="358"/>
                      </a:lnTo>
                      <a:lnTo>
                        <a:pt x="140" y="324"/>
                      </a:lnTo>
                      <a:lnTo>
                        <a:pt x="131" y="290"/>
                      </a:lnTo>
                      <a:lnTo>
                        <a:pt x="123" y="256"/>
                      </a:lnTo>
                      <a:lnTo>
                        <a:pt x="115" y="223"/>
                      </a:lnTo>
                      <a:lnTo>
                        <a:pt x="110" y="189"/>
                      </a:lnTo>
                      <a:lnTo>
                        <a:pt x="106" y="154"/>
                      </a:lnTo>
                      <a:lnTo>
                        <a:pt x="102" y="120"/>
                      </a:lnTo>
                      <a:lnTo>
                        <a:pt x="101" y="85"/>
                      </a:lnTo>
                      <a:lnTo>
                        <a:pt x="100" y="51"/>
                      </a:lnTo>
                      <a:lnTo>
                        <a:pt x="100" y="51"/>
                      </a:lnTo>
                      <a:lnTo>
                        <a:pt x="100" y="51"/>
                      </a:lnTo>
                      <a:lnTo>
                        <a:pt x="100" y="45"/>
                      </a:lnTo>
                      <a:lnTo>
                        <a:pt x="99" y="39"/>
                      </a:lnTo>
                      <a:lnTo>
                        <a:pt x="98" y="33"/>
                      </a:lnTo>
                      <a:lnTo>
                        <a:pt x="96" y="29"/>
                      </a:lnTo>
                      <a:lnTo>
                        <a:pt x="94" y="24"/>
                      </a:lnTo>
                      <a:lnTo>
                        <a:pt x="91" y="20"/>
                      </a:lnTo>
                      <a:lnTo>
                        <a:pt x="88" y="17"/>
                      </a:lnTo>
                      <a:lnTo>
                        <a:pt x="85" y="13"/>
                      </a:lnTo>
                      <a:lnTo>
                        <a:pt x="77" y="7"/>
                      </a:lnTo>
                      <a:lnTo>
                        <a:pt x="68" y="3"/>
                      </a:lnTo>
                      <a:lnTo>
                        <a:pt x="60" y="1"/>
                      </a:lnTo>
                      <a:lnTo>
                        <a:pt x="51" y="0"/>
                      </a:lnTo>
                      <a:lnTo>
                        <a:pt x="40" y="1"/>
                      </a:lnTo>
                      <a:lnTo>
                        <a:pt x="32" y="3"/>
                      </a:lnTo>
                      <a:lnTo>
                        <a:pt x="23" y="7"/>
                      </a:lnTo>
                      <a:lnTo>
                        <a:pt x="15" y="13"/>
                      </a:lnTo>
                      <a:lnTo>
                        <a:pt x="12" y="17"/>
                      </a:lnTo>
                      <a:lnTo>
                        <a:pt x="9" y="20"/>
                      </a:lnTo>
                      <a:lnTo>
                        <a:pt x="6" y="24"/>
                      </a:lnTo>
                      <a:lnTo>
                        <a:pt x="4" y="29"/>
                      </a:lnTo>
                      <a:lnTo>
                        <a:pt x="2" y="33"/>
                      </a:lnTo>
                      <a:lnTo>
                        <a:pt x="1" y="39"/>
                      </a:lnTo>
                      <a:lnTo>
                        <a:pt x="0" y="45"/>
                      </a:lnTo>
                      <a:lnTo>
                        <a:pt x="0" y="51"/>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36" name="Freeform 227"/>
                <p:cNvSpPr>
                  <a:spLocks/>
                </p:cNvSpPr>
                <p:nvPr>
                  <p:custDataLst>
                    <p:tags r:id="rId87"/>
                  </p:custDataLst>
                </p:nvPr>
              </p:nvSpPr>
              <p:spPr bwMode="auto">
                <a:xfrm>
                  <a:off x="369" y="3354"/>
                  <a:ext cx="361" cy="115"/>
                </a:xfrm>
                <a:custGeom>
                  <a:avLst/>
                  <a:gdLst>
                    <a:gd name="T0" fmla="*/ 7823 w 8296"/>
                    <a:gd name="T1" fmla="*/ 4 h 2865"/>
                    <a:gd name="T2" fmla="*/ 6995 w 8296"/>
                    <a:gd name="T3" fmla="*/ 33 h 2865"/>
                    <a:gd name="T4" fmla="*/ 6193 w 8296"/>
                    <a:gd name="T5" fmla="*/ 89 h 2865"/>
                    <a:gd name="T6" fmla="*/ 5422 w 8296"/>
                    <a:gd name="T7" fmla="*/ 171 h 2865"/>
                    <a:gd name="T8" fmla="*/ 4686 w 8296"/>
                    <a:gd name="T9" fmla="*/ 278 h 2865"/>
                    <a:gd name="T10" fmla="*/ 3987 w 8296"/>
                    <a:gd name="T11" fmla="*/ 409 h 2865"/>
                    <a:gd name="T12" fmla="*/ 3331 w 8296"/>
                    <a:gd name="T13" fmla="*/ 561 h 2865"/>
                    <a:gd name="T14" fmla="*/ 2721 w 8296"/>
                    <a:gd name="T15" fmla="*/ 734 h 2865"/>
                    <a:gd name="T16" fmla="*/ 2436 w 8296"/>
                    <a:gd name="T17" fmla="*/ 827 h 2865"/>
                    <a:gd name="T18" fmla="*/ 2162 w 8296"/>
                    <a:gd name="T19" fmla="*/ 925 h 2865"/>
                    <a:gd name="T20" fmla="*/ 1904 w 8296"/>
                    <a:gd name="T21" fmla="*/ 1029 h 2865"/>
                    <a:gd name="T22" fmla="*/ 1658 w 8296"/>
                    <a:gd name="T23" fmla="*/ 1135 h 2865"/>
                    <a:gd name="T24" fmla="*/ 1428 w 8296"/>
                    <a:gd name="T25" fmla="*/ 1247 h 2865"/>
                    <a:gd name="T26" fmla="*/ 1212 w 8296"/>
                    <a:gd name="T27" fmla="*/ 1362 h 2865"/>
                    <a:gd name="T28" fmla="*/ 1013 w 8296"/>
                    <a:gd name="T29" fmla="*/ 1481 h 2865"/>
                    <a:gd name="T30" fmla="*/ 830 w 8296"/>
                    <a:gd name="T31" fmla="*/ 1604 h 2865"/>
                    <a:gd name="T32" fmla="*/ 663 w 8296"/>
                    <a:gd name="T33" fmla="*/ 1731 h 2865"/>
                    <a:gd name="T34" fmla="*/ 513 w 8296"/>
                    <a:gd name="T35" fmla="*/ 1861 h 2865"/>
                    <a:gd name="T36" fmla="*/ 381 w 8296"/>
                    <a:gd name="T37" fmla="*/ 1995 h 2865"/>
                    <a:gd name="T38" fmla="*/ 268 w 8296"/>
                    <a:gd name="T39" fmla="*/ 2131 h 2865"/>
                    <a:gd name="T40" fmla="*/ 174 w 8296"/>
                    <a:gd name="T41" fmla="*/ 2272 h 2865"/>
                    <a:gd name="T42" fmla="*/ 99 w 8296"/>
                    <a:gd name="T43" fmla="*/ 2416 h 2865"/>
                    <a:gd name="T44" fmla="*/ 44 w 8296"/>
                    <a:gd name="T45" fmla="*/ 2563 h 2865"/>
                    <a:gd name="T46" fmla="*/ 11 w 8296"/>
                    <a:gd name="T47" fmla="*/ 2713 h 2865"/>
                    <a:gd name="T48" fmla="*/ 0 w 8296"/>
                    <a:gd name="T49" fmla="*/ 2865 h 2865"/>
                    <a:gd name="T50" fmla="*/ 106 w 8296"/>
                    <a:gd name="T51" fmla="*/ 2761 h 2865"/>
                    <a:gd name="T52" fmla="*/ 131 w 8296"/>
                    <a:gd name="T53" fmla="*/ 2625 h 2865"/>
                    <a:gd name="T54" fmla="*/ 175 w 8296"/>
                    <a:gd name="T55" fmla="*/ 2490 h 2865"/>
                    <a:gd name="T56" fmla="*/ 240 w 8296"/>
                    <a:gd name="T57" fmla="*/ 2357 h 2865"/>
                    <a:gd name="T58" fmla="*/ 324 w 8296"/>
                    <a:gd name="T59" fmla="*/ 2224 h 2865"/>
                    <a:gd name="T60" fmla="*/ 427 w 8296"/>
                    <a:gd name="T61" fmla="*/ 2094 h 2865"/>
                    <a:gd name="T62" fmla="*/ 548 w 8296"/>
                    <a:gd name="T63" fmla="*/ 1966 h 2865"/>
                    <a:gd name="T64" fmla="*/ 688 w 8296"/>
                    <a:gd name="T65" fmla="*/ 1839 h 2865"/>
                    <a:gd name="T66" fmla="*/ 845 w 8296"/>
                    <a:gd name="T67" fmla="*/ 1716 h 2865"/>
                    <a:gd name="T68" fmla="*/ 1020 w 8296"/>
                    <a:gd name="T69" fmla="*/ 1596 h 2865"/>
                    <a:gd name="T70" fmla="*/ 1211 w 8296"/>
                    <a:gd name="T71" fmla="*/ 1478 h 2865"/>
                    <a:gd name="T72" fmla="*/ 1418 w 8296"/>
                    <a:gd name="T73" fmla="*/ 1364 h 2865"/>
                    <a:gd name="T74" fmla="*/ 1642 w 8296"/>
                    <a:gd name="T75" fmla="*/ 1253 h 2865"/>
                    <a:gd name="T76" fmla="*/ 1880 w 8296"/>
                    <a:gd name="T77" fmla="*/ 1147 h 2865"/>
                    <a:gd name="T78" fmla="*/ 2132 w 8296"/>
                    <a:gd name="T79" fmla="*/ 1044 h 2865"/>
                    <a:gd name="T80" fmla="*/ 2398 w 8296"/>
                    <a:gd name="T81" fmla="*/ 946 h 2865"/>
                    <a:gd name="T82" fmla="*/ 2679 w 8296"/>
                    <a:gd name="T83" fmla="*/ 852 h 2865"/>
                    <a:gd name="T84" fmla="*/ 3199 w 8296"/>
                    <a:gd name="T85" fmla="*/ 700 h 2865"/>
                    <a:gd name="T86" fmla="*/ 3839 w 8296"/>
                    <a:gd name="T87" fmla="*/ 543 h 2865"/>
                    <a:gd name="T88" fmla="*/ 4524 w 8296"/>
                    <a:gd name="T89" fmla="*/ 408 h 2865"/>
                    <a:gd name="T90" fmla="*/ 5248 w 8296"/>
                    <a:gd name="T91" fmla="*/ 295 h 2865"/>
                    <a:gd name="T92" fmla="*/ 6008 w 8296"/>
                    <a:gd name="T93" fmla="*/ 207 h 2865"/>
                    <a:gd name="T94" fmla="*/ 6798 w 8296"/>
                    <a:gd name="T95" fmla="*/ 144 h 2865"/>
                    <a:gd name="T96" fmla="*/ 7617 w 8296"/>
                    <a:gd name="T97" fmla="*/ 109 h 2865"/>
                    <a:gd name="T98" fmla="*/ 8246 w 8296"/>
                    <a:gd name="T99" fmla="*/ 100 h 2865"/>
                    <a:gd name="T100" fmla="*/ 8263 w 8296"/>
                    <a:gd name="T101" fmla="*/ 98 h 2865"/>
                    <a:gd name="T102" fmla="*/ 8280 w 8296"/>
                    <a:gd name="T103" fmla="*/ 88 h 2865"/>
                    <a:gd name="T104" fmla="*/ 8295 w 8296"/>
                    <a:gd name="T105" fmla="*/ 60 h 2865"/>
                    <a:gd name="T106" fmla="*/ 8289 w 8296"/>
                    <a:gd name="T107" fmla="*/ 24 h 2865"/>
                    <a:gd name="T108" fmla="*/ 8272 w 8296"/>
                    <a:gd name="T109" fmla="*/ 6 h 2865"/>
                    <a:gd name="T110" fmla="*/ 8252 w 8296"/>
                    <a:gd name="T111" fmla="*/ 0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5">
                      <a:moveTo>
                        <a:pt x="8246" y="0"/>
                      </a:moveTo>
                      <a:lnTo>
                        <a:pt x="8246" y="0"/>
                      </a:lnTo>
                      <a:lnTo>
                        <a:pt x="8034" y="1"/>
                      </a:lnTo>
                      <a:lnTo>
                        <a:pt x="7823" y="4"/>
                      </a:lnTo>
                      <a:lnTo>
                        <a:pt x="7614" y="8"/>
                      </a:lnTo>
                      <a:lnTo>
                        <a:pt x="7407" y="14"/>
                      </a:lnTo>
                      <a:lnTo>
                        <a:pt x="7200" y="23"/>
                      </a:lnTo>
                      <a:lnTo>
                        <a:pt x="6995" y="33"/>
                      </a:lnTo>
                      <a:lnTo>
                        <a:pt x="6792" y="45"/>
                      </a:lnTo>
                      <a:lnTo>
                        <a:pt x="6591" y="57"/>
                      </a:lnTo>
                      <a:lnTo>
                        <a:pt x="6391" y="72"/>
                      </a:lnTo>
                      <a:lnTo>
                        <a:pt x="6193" y="89"/>
                      </a:lnTo>
                      <a:lnTo>
                        <a:pt x="5998" y="108"/>
                      </a:lnTo>
                      <a:lnTo>
                        <a:pt x="5804" y="127"/>
                      </a:lnTo>
                      <a:lnTo>
                        <a:pt x="5612" y="148"/>
                      </a:lnTo>
                      <a:lnTo>
                        <a:pt x="5422" y="171"/>
                      </a:lnTo>
                      <a:lnTo>
                        <a:pt x="5235" y="196"/>
                      </a:lnTo>
                      <a:lnTo>
                        <a:pt x="5049" y="221"/>
                      </a:lnTo>
                      <a:lnTo>
                        <a:pt x="4866" y="249"/>
                      </a:lnTo>
                      <a:lnTo>
                        <a:pt x="4686" y="278"/>
                      </a:lnTo>
                      <a:lnTo>
                        <a:pt x="4507" y="308"/>
                      </a:lnTo>
                      <a:lnTo>
                        <a:pt x="4331" y="341"/>
                      </a:lnTo>
                      <a:lnTo>
                        <a:pt x="4158" y="374"/>
                      </a:lnTo>
                      <a:lnTo>
                        <a:pt x="3987" y="409"/>
                      </a:lnTo>
                      <a:lnTo>
                        <a:pt x="3819" y="445"/>
                      </a:lnTo>
                      <a:lnTo>
                        <a:pt x="3653" y="482"/>
                      </a:lnTo>
                      <a:lnTo>
                        <a:pt x="3491" y="521"/>
                      </a:lnTo>
                      <a:lnTo>
                        <a:pt x="3331" y="561"/>
                      </a:lnTo>
                      <a:lnTo>
                        <a:pt x="3173" y="602"/>
                      </a:lnTo>
                      <a:lnTo>
                        <a:pt x="3020" y="645"/>
                      </a:lnTo>
                      <a:lnTo>
                        <a:pt x="2869" y="689"/>
                      </a:lnTo>
                      <a:lnTo>
                        <a:pt x="2721" y="734"/>
                      </a:lnTo>
                      <a:lnTo>
                        <a:pt x="2649" y="757"/>
                      </a:lnTo>
                      <a:lnTo>
                        <a:pt x="2577" y="780"/>
                      </a:lnTo>
                      <a:lnTo>
                        <a:pt x="2506" y="803"/>
                      </a:lnTo>
                      <a:lnTo>
                        <a:pt x="2436" y="827"/>
                      </a:lnTo>
                      <a:lnTo>
                        <a:pt x="2365" y="852"/>
                      </a:lnTo>
                      <a:lnTo>
                        <a:pt x="2297" y="876"/>
                      </a:lnTo>
                      <a:lnTo>
                        <a:pt x="2229" y="900"/>
                      </a:lnTo>
                      <a:lnTo>
                        <a:pt x="2162" y="925"/>
                      </a:lnTo>
                      <a:lnTo>
                        <a:pt x="2096" y="951"/>
                      </a:lnTo>
                      <a:lnTo>
                        <a:pt x="2030" y="976"/>
                      </a:lnTo>
                      <a:lnTo>
                        <a:pt x="1967" y="1002"/>
                      </a:lnTo>
                      <a:lnTo>
                        <a:pt x="1904" y="1029"/>
                      </a:lnTo>
                      <a:lnTo>
                        <a:pt x="1841" y="1055"/>
                      </a:lnTo>
                      <a:lnTo>
                        <a:pt x="1779" y="1082"/>
                      </a:lnTo>
                      <a:lnTo>
                        <a:pt x="1718" y="1109"/>
                      </a:lnTo>
                      <a:lnTo>
                        <a:pt x="1658" y="1135"/>
                      </a:lnTo>
                      <a:lnTo>
                        <a:pt x="1600" y="1163"/>
                      </a:lnTo>
                      <a:lnTo>
                        <a:pt x="1541" y="1190"/>
                      </a:lnTo>
                      <a:lnTo>
                        <a:pt x="1484" y="1218"/>
                      </a:lnTo>
                      <a:lnTo>
                        <a:pt x="1428" y="1247"/>
                      </a:lnTo>
                      <a:lnTo>
                        <a:pt x="1373" y="1275"/>
                      </a:lnTo>
                      <a:lnTo>
                        <a:pt x="1318" y="1304"/>
                      </a:lnTo>
                      <a:lnTo>
                        <a:pt x="1265" y="1333"/>
                      </a:lnTo>
                      <a:lnTo>
                        <a:pt x="1212" y="1362"/>
                      </a:lnTo>
                      <a:lnTo>
                        <a:pt x="1162" y="1391"/>
                      </a:lnTo>
                      <a:lnTo>
                        <a:pt x="1111" y="1421"/>
                      </a:lnTo>
                      <a:lnTo>
                        <a:pt x="1062" y="1451"/>
                      </a:lnTo>
                      <a:lnTo>
                        <a:pt x="1013" y="1481"/>
                      </a:lnTo>
                      <a:lnTo>
                        <a:pt x="966" y="1511"/>
                      </a:lnTo>
                      <a:lnTo>
                        <a:pt x="919" y="1542"/>
                      </a:lnTo>
                      <a:lnTo>
                        <a:pt x="874" y="1573"/>
                      </a:lnTo>
                      <a:lnTo>
                        <a:pt x="830" y="1604"/>
                      </a:lnTo>
                      <a:lnTo>
                        <a:pt x="786" y="1635"/>
                      </a:lnTo>
                      <a:lnTo>
                        <a:pt x="744" y="1666"/>
                      </a:lnTo>
                      <a:lnTo>
                        <a:pt x="703" y="1698"/>
                      </a:lnTo>
                      <a:lnTo>
                        <a:pt x="663" y="1731"/>
                      </a:lnTo>
                      <a:lnTo>
                        <a:pt x="624" y="1763"/>
                      </a:lnTo>
                      <a:lnTo>
                        <a:pt x="586" y="1795"/>
                      </a:lnTo>
                      <a:lnTo>
                        <a:pt x="549" y="1828"/>
                      </a:lnTo>
                      <a:lnTo>
                        <a:pt x="513" y="1861"/>
                      </a:lnTo>
                      <a:lnTo>
                        <a:pt x="479" y="1894"/>
                      </a:lnTo>
                      <a:lnTo>
                        <a:pt x="445" y="1927"/>
                      </a:lnTo>
                      <a:lnTo>
                        <a:pt x="413" y="1960"/>
                      </a:lnTo>
                      <a:lnTo>
                        <a:pt x="381" y="1995"/>
                      </a:lnTo>
                      <a:lnTo>
                        <a:pt x="351" y="2029"/>
                      </a:lnTo>
                      <a:lnTo>
                        <a:pt x="323" y="2063"/>
                      </a:lnTo>
                      <a:lnTo>
                        <a:pt x="295" y="2097"/>
                      </a:lnTo>
                      <a:lnTo>
                        <a:pt x="268" y="2131"/>
                      </a:lnTo>
                      <a:lnTo>
                        <a:pt x="243" y="2166"/>
                      </a:lnTo>
                      <a:lnTo>
                        <a:pt x="219" y="2202"/>
                      </a:lnTo>
                      <a:lnTo>
                        <a:pt x="196" y="2237"/>
                      </a:lnTo>
                      <a:lnTo>
                        <a:pt x="174" y="2272"/>
                      </a:lnTo>
                      <a:lnTo>
                        <a:pt x="154" y="2308"/>
                      </a:lnTo>
                      <a:lnTo>
                        <a:pt x="134" y="2343"/>
                      </a:lnTo>
                      <a:lnTo>
                        <a:pt x="115" y="2380"/>
                      </a:lnTo>
                      <a:lnTo>
                        <a:pt x="99" y="2416"/>
                      </a:lnTo>
                      <a:lnTo>
                        <a:pt x="83" y="2452"/>
                      </a:lnTo>
                      <a:lnTo>
                        <a:pt x="69" y="2489"/>
                      </a:lnTo>
                      <a:lnTo>
                        <a:pt x="56" y="2525"/>
                      </a:lnTo>
                      <a:lnTo>
                        <a:pt x="44" y="2563"/>
                      </a:lnTo>
                      <a:lnTo>
                        <a:pt x="34" y="2600"/>
                      </a:lnTo>
                      <a:lnTo>
                        <a:pt x="25" y="2637"/>
                      </a:lnTo>
                      <a:lnTo>
                        <a:pt x="18" y="2676"/>
                      </a:lnTo>
                      <a:lnTo>
                        <a:pt x="11" y="2713"/>
                      </a:lnTo>
                      <a:lnTo>
                        <a:pt x="6" y="2750"/>
                      </a:lnTo>
                      <a:lnTo>
                        <a:pt x="3" y="2788"/>
                      </a:lnTo>
                      <a:lnTo>
                        <a:pt x="1" y="2827"/>
                      </a:lnTo>
                      <a:lnTo>
                        <a:pt x="0" y="2865"/>
                      </a:lnTo>
                      <a:lnTo>
                        <a:pt x="100" y="2865"/>
                      </a:lnTo>
                      <a:lnTo>
                        <a:pt x="101" y="2830"/>
                      </a:lnTo>
                      <a:lnTo>
                        <a:pt x="102" y="2796"/>
                      </a:lnTo>
                      <a:lnTo>
                        <a:pt x="106" y="2761"/>
                      </a:lnTo>
                      <a:lnTo>
                        <a:pt x="110" y="2727"/>
                      </a:lnTo>
                      <a:lnTo>
                        <a:pt x="115" y="2693"/>
                      </a:lnTo>
                      <a:lnTo>
                        <a:pt x="123" y="2659"/>
                      </a:lnTo>
                      <a:lnTo>
                        <a:pt x="131" y="2625"/>
                      </a:lnTo>
                      <a:lnTo>
                        <a:pt x="140" y="2592"/>
                      </a:lnTo>
                      <a:lnTo>
                        <a:pt x="150" y="2558"/>
                      </a:lnTo>
                      <a:lnTo>
                        <a:pt x="163" y="2524"/>
                      </a:lnTo>
                      <a:lnTo>
                        <a:pt x="175" y="2490"/>
                      </a:lnTo>
                      <a:lnTo>
                        <a:pt x="190" y="2457"/>
                      </a:lnTo>
                      <a:lnTo>
                        <a:pt x="205" y="2423"/>
                      </a:lnTo>
                      <a:lnTo>
                        <a:pt x="223" y="2390"/>
                      </a:lnTo>
                      <a:lnTo>
                        <a:pt x="240" y="2357"/>
                      </a:lnTo>
                      <a:lnTo>
                        <a:pt x="260" y="2324"/>
                      </a:lnTo>
                      <a:lnTo>
                        <a:pt x="279" y="2291"/>
                      </a:lnTo>
                      <a:lnTo>
                        <a:pt x="301" y="2257"/>
                      </a:lnTo>
                      <a:lnTo>
                        <a:pt x="324" y="2224"/>
                      </a:lnTo>
                      <a:lnTo>
                        <a:pt x="348" y="2192"/>
                      </a:lnTo>
                      <a:lnTo>
                        <a:pt x="373" y="2159"/>
                      </a:lnTo>
                      <a:lnTo>
                        <a:pt x="400" y="2127"/>
                      </a:lnTo>
                      <a:lnTo>
                        <a:pt x="427" y="2094"/>
                      </a:lnTo>
                      <a:lnTo>
                        <a:pt x="456" y="2062"/>
                      </a:lnTo>
                      <a:lnTo>
                        <a:pt x="485" y="2030"/>
                      </a:lnTo>
                      <a:lnTo>
                        <a:pt x="516" y="1998"/>
                      </a:lnTo>
                      <a:lnTo>
                        <a:pt x="548" y="1966"/>
                      </a:lnTo>
                      <a:lnTo>
                        <a:pt x="581" y="1934"/>
                      </a:lnTo>
                      <a:lnTo>
                        <a:pt x="616" y="1902"/>
                      </a:lnTo>
                      <a:lnTo>
                        <a:pt x="651" y="1871"/>
                      </a:lnTo>
                      <a:lnTo>
                        <a:pt x="688" y="1839"/>
                      </a:lnTo>
                      <a:lnTo>
                        <a:pt x="726" y="1808"/>
                      </a:lnTo>
                      <a:lnTo>
                        <a:pt x="765" y="1777"/>
                      </a:lnTo>
                      <a:lnTo>
                        <a:pt x="804" y="1747"/>
                      </a:lnTo>
                      <a:lnTo>
                        <a:pt x="845" y="1716"/>
                      </a:lnTo>
                      <a:lnTo>
                        <a:pt x="887" y="1686"/>
                      </a:lnTo>
                      <a:lnTo>
                        <a:pt x="931" y="1656"/>
                      </a:lnTo>
                      <a:lnTo>
                        <a:pt x="975" y="1625"/>
                      </a:lnTo>
                      <a:lnTo>
                        <a:pt x="1020" y="1596"/>
                      </a:lnTo>
                      <a:lnTo>
                        <a:pt x="1066" y="1566"/>
                      </a:lnTo>
                      <a:lnTo>
                        <a:pt x="1113" y="1537"/>
                      </a:lnTo>
                      <a:lnTo>
                        <a:pt x="1162" y="1507"/>
                      </a:lnTo>
                      <a:lnTo>
                        <a:pt x="1211" y="1478"/>
                      </a:lnTo>
                      <a:lnTo>
                        <a:pt x="1262" y="1449"/>
                      </a:lnTo>
                      <a:lnTo>
                        <a:pt x="1313" y="1421"/>
                      </a:lnTo>
                      <a:lnTo>
                        <a:pt x="1366" y="1392"/>
                      </a:lnTo>
                      <a:lnTo>
                        <a:pt x="1418" y="1364"/>
                      </a:lnTo>
                      <a:lnTo>
                        <a:pt x="1473" y="1336"/>
                      </a:lnTo>
                      <a:lnTo>
                        <a:pt x="1529" y="1308"/>
                      </a:lnTo>
                      <a:lnTo>
                        <a:pt x="1584" y="1281"/>
                      </a:lnTo>
                      <a:lnTo>
                        <a:pt x="1642" y="1253"/>
                      </a:lnTo>
                      <a:lnTo>
                        <a:pt x="1700" y="1227"/>
                      </a:lnTo>
                      <a:lnTo>
                        <a:pt x="1758" y="1200"/>
                      </a:lnTo>
                      <a:lnTo>
                        <a:pt x="1819" y="1174"/>
                      </a:lnTo>
                      <a:lnTo>
                        <a:pt x="1880" y="1147"/>
                      </a:lnTo>
                      <a:lnTo>
                        <a:pt x="1941" y="1121"/>
                      </a:lnTo>
                      <a:lnTo>
                        <a:pt x="2004" y="1095"/>
                      </a:lnTo>
                      <a:lnTo>
                        <a:pt x="2068" y="1070"/>
                      </a:lnTo>
                      <a:lnTo>
                        <a:pt x="2132" y="1044"/>
                      </a:lnTo>
                      <a:lnTo>
                        <a:pt x="2197" y="1020"/>
                      </a:lnTo>
                      <a:lnTo>
                        <a:pt x="2263" y="995"/>
                      </a:lnTo>
                      <a:lnTo>
                        <a:pt x="2330" y="971"/>
                      </a:lnTo>
                      <a:lnTo>
                        <a:pt x="2398" y="946"/>
                      </a:lnTo>
                      <a:lnTo>
                        <a:pt x="2467" y="922"/>
                      </a:lnTo>
                      <a:lnTo>
                        <a:pt x="2538" y="898"/>
                      </a:lnTo>
                      <a:lnTo>
                        <a:pt x="2608" y="876"/>
                      </a:lnTo>
                      <a:lnTo>
                        <a:pt x="2679" y="852"/>
                      </a:lnTo>
                      <a:lnTo>
                        <a:pt x="2751" y="830"/>
                      </a:lnTo>
                      <a:lnTo>
                        <a:pt x="2897" y="785"/>
                      </a:lnTo>
                      <a:lnTo>
                        <a:pt x="3047" y="741"/>
                      </a:lnTo>
                      <a:lnTo>
                        <a:pt x="3199" y="700"/>
                      </a:lnTo>
                      <a:lnTo>
                        <a:pt x="3355" y="658"/>
                      </a:lnTo>
                      <a:lnTo>
                        <a:pt x="3514" y="619"/>
                      </a:lnTo>
                      <a:lnTo>
                        <a:pt x="3675" y="580"/>
                      </a:lnTo>
                      <a:lnTo>
                        <a:pt x="3839" y="543"/>
                      </a:lnTo>
                      <a:lnTo>
                        <a:pt x="4007" y="507"/>
                      </a:lnTo>
                      <a:lnTo>
                        <a:pt x="4176" y="473"/>
                      </a:lnTo>
                      <a:lnTo>
                        <a:pt x="4350" y="440"/>
                      </a:lnTo>
                      <a:lnTo>
                        <a:pt x="4524" y="408"/>
                      </a:lnTo>
                      <a:lnTo>
                        <a:pt x="4702" y="378"/>
                      </a:lnTo>
                      <a:lnTo>
                        <a:pt x="4881" y="349"/>
                      </a:lnTo>
                      <a:lnTo>
                        <a:pt x="5064" y="321"/>
                      </a:lnTo>
                      <a:lnTo>
                        <a:pt x="5248" y="295"/>
                      </a:lnTo>
                      <a:lnTo>
                        <a:pt x="5435" y="271"/>
                      </a:lnTo>
                      <a:lnTo>
                        <a:pt x="5623" y="248"/>
                      </a:lnTo>
                      <a:lnTo>
                        <a:pt x="5814" y="227"/>
                      </a:lnTo>
                      <a:lnTo>
                        <a:pt x="6008" y="207"/>
                      </a:lnTo>
                      <a:lnTo>
                        <a:pt x="6203" y="189"/>
                      </a:lnTo>
                      <a:lnTo>
                        <a:pt x="6400" y="173"/>
                      </a:lnTo>
                      <a:lnTo>
                        <a:pt x="6597" y="157"/>
                      </a:lnTo>
                      <a:lnTo>
                        <a:pt x="6798" y="144"/>
                      </a:lnTo>
                      <a:lnTo>
                        <a:pt x="7000" y="132"/>
                      </a:lnTo>
                      <a:lnTo>
                        <a:pt x="7205" y="123"/>
                      </a:lnTo>
                      <a:lnTo>
                        <a:pt x="7410" y="115"/>
                      </a:lnTo>
                      <a:lnTo>
                        <a:pt x="7617" y="109"/>
                      </a:lnTo>
                      <a:lnTo>
                        <a:pt x="7825" y="105"/>
                      </a:lnTo>
                      <a:lnTo>
                        <a:pt x="8034" y="101"/>
                      </a:lnTo>
                      <a:lnTo>
                        <a:pt x="8246" y="100"/>
                      </a:lnTo>
                      <a:lnTo>
                        <a:pt x="8246" y="100"/>
                      </a:lnTo>
                      <a:lnTo>
                        <a:pt x="8246" y="100"/>
                      </a:lnTo>
                      <a:lnTo>
                        <a:pt x="8252" y="100"/>
                      </a:lnTo>
                      <a:lnTo>
                        <a:pt x="8257" y="99"/>
                      </a:lnTo>
                      <a:lnTo>
                        <a:pt x="8263" y="98"/>
                      </a:lnTo>
                      <a:lnTo>
                        <a:pt x="8267" y="96"/>
                      </a:lnTo>
                      <a:lnTo>
                        <a:pt x="8272" y="94"/>
                      </a:lnTo>
                      <a:lnTo>
                        <a:pt x="8276" y="91"/>
                      </a:lnTo>
                      <a:lnTo>
                        <a:pt x="8280" y="88"/>
                      </a:lnTo>
                      <a:lnTo>
                        <a:pt x="8284" y="85"/>
                      </a:lnTo>
                      <a:lnTo>
                        <a:pt x="8289" y="78"/>
                      </a:lnTo>
                      <a:lnTo>
                        <a:pt x="8293" y="68"/>
                      </a:lnTo>
                      <a:lnTo>
                        <a:pt x="8295" y="60"/>
                      </a:lnTo>
                      <a:lnTo>
                        <a:pt x="8296" y="51"/>
                      </a:lnTo>
                      <a:lnTo>
                        <a:pt x="8295" y="41"/>
                      </a:lnTo>
                      <a:lnTo>
                        <a:pt x="8293" y="32"/>
                      </a:lnTo>
                      <a:lnTo>
                        <a:pt x="8289" y="24"/>
                      </a:lnTo>
                      <a:lnTo>
                        <a:pt x="8284" y="16"/>
                      </a:lnTo>
                      <a:lnTo>
                        <a:pt x="8280" y="12"/>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37" name="Freeform 228"/>
                <p:cNvSpPr>
                  <a:spLocks/>
                </p:cNvSpPr>
                <p:nvPr>
                  <p:custDataLst>
                    <p:tags r:id="rId88"/>
                  </p:custDataLst>
                </p:nvPr>
              </p:nvSpPr>
              <p:spPr bwMode="auto">
                <a:xfrm>
                  <a:off x="728" y="3354"/>
                  <a:ext cx="358" cy="115"/>
                </a:xfrm>
                <a:custGeom>
                  <a:avLst/>
                  <a:gdLst>
                    <a:gd name="T0" fmla="*/ 8239 w 8245"/>
                    <a:gd name="T1" fmla="*/ 2750 h 2865"/>
                    <a:gd name="T2" fmla="*/ 8211 w 8245"/>
                    <a:gd name="T3" fmla="*/ 2600 h 2865"/>
                    <a:gd name="T4" fmla="*/ 8162 w 8245"/>
                    <a:gd name="T5" fmla="*/ 2452 h 2865"/>
                    <a:gd name="T6" fmla="*/ 8091 w 8245"/>
                    <a:gd name="T7" fmla="*/ 2308 h 2865"/>
                    <a:gd name="T8" fmla="*/ 8002 w 8245"/>
                    <a:gd name="T9" fmla="*/ 2166 h 2865"/>
                    <a:gd name="T10" fmla="*/ 7894 w 8245"/>
                    <a:gd name="T11" fmla="*/ 2029 h 2865"/>
                    <a:gd name="T12" fmla="*/ 7766 w 8245"/>
                    <a:gd name="T13" fmla="*/ 1894 h 2865"/>
                    <a:gd name="T14" fmla="*/ 7620 w 8245"/>
                    <a:gd name="T15" fmla="*/ 1763 h 2865"/>
                    <a:gd name="T16" fmla="*/ 7459 w 8245"/>
                    <a:gd name="T17" fmla="*/ 1635 h 2865"/>
                    <a:gd name="T18" fmla="*/ 7279 w 8245"/>
                    <a:gd name="T19" fmla="*/ 1511 h 2865"/>
                    <a:gd name="T20" fmla="*/ 7083 w 8245"/>
                    <a:gd name="T21" fmla="*/ 1391 h 2865"/>
                    <a:gd name="T22" fmla="*/ 6872 w 8245"/>
                    <a:gd name="T23" fmla="*/ 1275 h 2865"/>
                    <a:gd name="T24" fmla="*/ 6645 w 8245"/>
                    <a:gd name="T25" fmla="*/ 1163 h 2865"/>
                    <a:gd name="T26" fmla="*/ 6404 w 8245"/>
                    <a:gd name="T27" fmla="*/ 1055 h 2865"/>
                    <a:gd name="T28" fmla="*/ 6149 w 8245"/>
                    <a:gd name="T29" fmla="*/ 951 h 2865"/>
                    <a:gd name="T30" fmla="*/ 5880 w 8245"/>
                    <a:gd name="T31" fmla="*/ 852 h 2865"/>
                    <a:gd name="T32" fmla="*/ 5596 w 8245"/>
                    <a:gd name="T33" fmla="*/ 757 h 2865"/>
                    <a:gd name="T34" fmla="*/ 5072 w 8245"/>
                    <a:gd name="T35" fmla="*/ 602 h 2865"/>
                    <a:gd name="T36" fmla="*/ 4426 w 8245"/>
                    <a:gd name="T37" fmla="*/ 445 h 2865"/>
                    <a:gd name="T38" fmla="*/ 3738 w 8245"/>
                    <a:gd name="T39" fmla="*/ 308 h 2865"/>
                    <a:gd name="T40" fmla="*/ 3010 w 8245"/>
                    <a:gd name="T41" fmla="*/ 196 h 2865"/>
                    <a:gd name="T42" fmla="*/ 2246 w 8245"/>
                    <a:gd name="T43" fmla="*/ 108 h 2865"/>
                    <a:gd name="T44" fmla="*/ 1453 w 8245"/>
                    <a:gd name="T45" fmla="*/ 45 h 2865"/>
                    <a:gd name="T46" fmla="*/ 631 w 8245"/>
                    <a:gd name="T47" fmla="*/ 8 h 2865"/>
                    <a:gd name="T48" fmla="*/ 0 w 8245"/>
                    <a:gd name="T49" fmla="*/ 100 h 2865"/>
                    <a:gd name="T50" fmla="*/ 835 w 8245"/>
                    <a:gd name="T51" fmla="*/ 115 h 2865"/>
                    <a:gd name="T52" fmla="*/ 1648 w 8245"/>
                    <a:gd name="T53" fmla="*/ 157 h 2865"/>
                    <a:gd name="T54" fmla="*/ 2431 w 8245"/>
                    <a:gd name="T55" fmla="*/ 227 h 2865"/>
                    <a:gd name="T56" fmla="*/ 3181 w 8245"/>
                    <a:gd name="T57" fmla="*/ 321 h 2865"/>
                    <a:gd name="T58" fmla="*/ 3895 w 8245"/>
                    <a:gd name="T59" fmla="*/ 440 h 2865"/>
                    <a:gd name="T60" fmla="*/ 4570 w 8245"/>
                    <a:gd name="T61" fmla="*/ 580 h 2865"/>
                    <a:gd name="T62" fmla="*/ 5198 w 8245"/>
                    <a:gd name="T63" fmla="*/ 741 h 2865"/>
                    <a:gd name="T64" fmla="*/ 5637 w 8245"/>
                    <a:gd name="T65" fmla="*/ 876 h 2865"/>
                    <a:gd name="T66" fmla="*/ 5915 w 8245"/>
                    <a:gd name="T67" fmla="*/ 971 h 2865"/>
                    <a:gd name="T68" fmla="*/ 6177 w 8245"/>
                    <a:gd name="T69" fmla="*/ 1070 h 2865"/>
                    <a:gd name="T70" fmla="*/ 6426 w 8245"/>
                    <a:gd name="T71" fmla="*/ 1174 h 2865"/>
                    <a:gd name="T72" fmla="*/ 6661 w 8245"/>
                    <a:gd name="T73" fmla="*/ 1281 h 2865"/>
                    <a:gd name="T74" fmla="*/ 6879 w 8245"/>
                    <a:gd name="T75" fmla="*/ 1392 h 2865"/>
                    <a:gd name="T76" fmla="*/ 7083 w 8245"/>
                    <a:gd name="T77" fmla="*/ 1507 h 2865"/>
                    <a:gd name="T78" fmla="*/ 7270 w 8245"/>
                    <a:gd name="T79" fmla="*/ 1625 h 2865"/>
                    <a:gd name="T80" fmla="*/ 7440 w 8245"/>
                    <a:gd name="T81" fmla="*/ 1747 h 2865"/>
                    <a:gd name="T82" fmla="*/ 7594 w 8245"/>
                    <a:gd name="T83" fmla="*/ 1871 h 2865"/>
                    <a:gd name="T84" fmla="*/ 7729 w 8245"/>
                    <a:gd name="T85" fmla="*/ 1998 h 2865"/>
                    <a:gd name="T86" fmla="*/ 7845 w 8245"/>
                    <a:gd name="T87" fmla="*/ 2127 h 2865"/>
                    <a:gd name="T88" fmla="*/ 7943 w 8245"/>
                    <a:gd name="T89" fmla="*/ 2257 h 2865"/>
                    <a:gd name="T90" fmla="*/ 8022 w 8245"/>
                    <a:gd name="T91" fmla="*/ 2390 h 2865"/>
                    <a:gd name="T92" fmla="*/ 8082 w 8245"/>
                    <a:gd name="T93" fmla="*/ 2524 h 2865"/>
                    <a:gd name="T94" fmla="*/ 8122 w 8245"/>
                    <a:gd name="T95" fmla="*/ 2659 h 2865"/>
                    <a:gd name="T96" fmla="*/ 8142 w 8245"/>
                    <a:gd name="T97" fmla="*/ 279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5">
                      <a:moveTo>
                        <a:pt x="8245" y="2865"/>
                      </a:moveTo>
                      <a:lnTo>
                        <a:pt x="8244" y="2827"/>
                      </a:lnTo>
                      <a:lnTo>
                        <a:pt x="8242" y="2788"/>
                      </a:lnTo>
                      <a:lnTo>
                        <a:pt x="8239" y="2750"/>
                      </a:lnTo>
                      <a:lnTo>
                        <a:pt x="8234" y="2713"/>
                      </a:lnTo>
                      <a:lnTo>
                        <a:pt x="8227" y="2676"/>
                      </a:lnTo>
                      <a:lnTo>
                        <a:pt x="8219" y="2637"/>
                      </a:lnTo>
                      <a:lnTo>
                        <a:pt x="8211" y="2600"/>
                      </a:lnTo>
                      <a:lnTo>
                        <a:pt x="8201" y="2563"/>
                      </a:lnTo>
                      <a:lnTo>
                        <a:pt x="8188" y="2525"/>
                      </a:lnTo>
                      <a:lnTo>
                        <a:pt x="8176" y="2489"/>
                      </a:lnTo>
                      <a:lnTo>
                        <a:pt x="8162" y="2452"/>
                      </a:lnTo>
                      <a:lnTo>
                        <a:pt x="8146" y="2416"/>
                      </a:lnTo>
                      <a:lnTo>
                        <a:pt x="8130" y="2380"/>
                      </a:lnTo>
                      <a:lnTo>
                        <a:pt x="8111" y="2343"/>
                      </a:lnTo>
                      <a:lnTo>
                        <a:pt x="8091" y="2308"/>
                      </a:lnTo>
                      <a:lnTo>
                        <a:pt x="8071" y="2272"/>
                      </a:lnTo>
                      <a:lnTo>
                        <a:pt x="8049" y="2237"/>
                      </a:lnTo>
                      <a:lnTo>
                        <a:pt x="8026" y="2202"/>
                      </a:lnTo>
                      <a:lnTo>
                        <a:pt x="8002" y="2166"/>
                      </a:lnTo>
                      <a:lnTo>
                        <a:pt x="7977" y="2131"/>
                      </a:lnTo>
                      <a:lnTo>
                        <a:pt x="7950" y="2097"/>
                      </a:lnTo>
                      <a:lnTo>
                        <a:pt x="7922" y="2063"/>
                      </a:lnTo>
                      <a:lnTo>
                        <a:pt x="7894" y="2029"/>
                      </a:lnTo>
                      <a:lnTo>
                        <a:pt x="7864" y="1995"/>
                      </a:lnTo>
                      <a:lnTo>
                        <a:pt x="7832" y="1960"/>
                      </a:lnTo>
                      <a:lnTo>
                        <a:pt x="7800" y="1927"/>
                      </a:lnTo>
                      <a:lnTo>
                        <a:pt x="7766" y="1894"/>
                      </a:lnTo>
                      <a:lnTo>
                        <a:pt x="7732" y="1861"/>
                      </a:lnTo>
                      <a:lnTo>
                        <a:pt x="7696" y="1828"/>
                      </a:lnTo>
                      <a:lnTo>
                        <a:pt x="7659" y="1795"/>
                      </a:lnTo>
                      <a:lnTo>
                        <a:pt x="7620" y="1763"/>
                      </a:lnTo>
                      <a:lnTo>
                        <a:pt x="7582" y="1731"/>
                      </a:lnTo>
                      <a:lnTo>
                        <a:pt x="7542" y="1698"/>
                      </a:lnTo>
                      <a:lnTo>
                        <a:pt x="7501" y="1666"/>
                      </a:lnTo>
                      <a:lnTo>
                        <a:pt x="7459" y="1635"/>
                      </a:lnTo>
                      <a:lnTo>
                        <a:pt x="7415" y="1604"/>
                      </a:lnTo>
                      <a:lnTo>
                        <a:pt x="7371" y="1573"/>
                      </a:lnTo>
                      <a:lnTo>
                        <a:pt x="7326" y="1542"/>
                      </a:lnTo>
                      <a:lnTo>
                        <a:pt x="7279" y="1511"/>
                      </a:lnTo>
                      <a:lnTo>
                        <a:pt x="7232" y="1481"/>
                      </a:lnTo>
                      <a:lnTo>
                        <a:pt x="7183" y="1451"/>
                      </a:lnTo>
                      <a:lnTo>
                        <a:pt x="7134" y="1421"/>
                      </a:lnTo>
                      <a:lnTo>
                        <a:pt x="7083" y="1391"/>
                      </a:lnTo>
                      <a:lnTo>
                        <a:pt x="7032" y="1362"/>
                      </a:lnTo>
                      <a:lnTo>
                        <a:pt x="6980" y="1333"/>
                      </a:lnTo>
                      <a:lnTo>
                        <a:pt x="6927" y="1304"/>
                      </a:lnTo>
                      <a:lnTo>
                        <a:pt x="6872" y="1275"/>
                      </a:lnTo>
                      <a:lnTo>
                        <a:pt x="6817" y="1247"/>
                      </a:lnTo>
                      <a:lnTo>
                        <a:pt x="6761" y="1218"/>
                      </a:lnTo>
                      <a:lnTo>
                        <a:pt x="6704" y="1190"/>
                      </a:lnTo>
                      <a:lnTo>
                        <a:pt x="6645" y="1163"/>
                      </a:lnTo>
                      <a:lnTo>
                        <a:pt x="6587" y="1135"/>
                      </a:lnTo>
                      <a:lnTo>
                        <a:pt x="6527" y="1109"/>
                      </a:lnTo>
                      <a:lnTo>
                        <a:pt x="6466" y="1082"/>
                      </a:lnTo>
                      <a:lnTo>
                        <a:pt x="6404" y="1055"/>
                      </a:lnTo>
                      <a:lnTo>
                        <a:pt x="6341" y="1029"/>
                      </a:lnTo>
                      <a:lnTo>
                        <a:pt x="6278" y="1002"/>
                      </a:lnTo>
                      <a:lnTo>
                        <a:pt x="6214" y="976"/>
                      </a:lnTo>
                      <a:lnTo>
                        <a:pt x="6149" y="951"/>
                      </a:lnTo>
                      <a:lnTo>
                        <a:pt x="6083" y="925"/>
                      </a:lnTo>
                      <a:lnTo>
                        <a:pt x="6016" y="900"/>
                      </a:lnTo>
                      <a:lnTo>
                        <a:pt x="5948" y="876"/>
                      </a:lnTo>
                      <a:lnTo>
                        <a:pt x="5880" y="852"/>
                      </a:lnTo>
                      <a:lnTo>
                        <a:pt x="5809" y="827"/>
                      </a:lnTo>
                      <a:lnTo>
                        <a:pt x="5739" y="803"/>
                      </a:lnTo>
                      <a:lnTo>
                        <a:pt x="5668" y="780"/>
                      </a:lnTo>
                      <a:lnTo>
                        <a:pt x="5596" y="757"/>
                      </a:lnTo>
                      <a:lnTo>
                        <a:pt x="5524" y="734"/>
                      </a:lnTo>
                      <a:lnTo>
                        <a:pt x="5376" y="689"/>
                      </a:lnTo>
                      <a:lnTo>
                        <a:pt x="5225" y="645"/>
                      </a:lnTo>
                      <a:lnTo>
                        <a:pt x="5072" y="602"/>
                      </a:lnTo>
                      <a:lnTo>
                        <a:pt x="4914" y="561"/>
                      </a:lnTo>
                      <a:lnTo>
                        <a:pt x="4754" y="521"/>
                      </a:lnTo>
                      <a:lnTo>
                        <a:pt x="4592" y="482"/>
                      </a:lnTo>
                      <a:lnTo>
                        <a:pt x="4426" y="445"/>
                      </a:lnTo>
                      <a:lnTo>
                        <a:pt x="4258" y="409"/>
                      </a:lnTo>
                      <a:lnTo>
                        <a:pt x="4087" y="374"/>
                      </a:lnTo>
                      <a:lnTo>
                        <a:pt x="3914" y="341"/>
                      </a:lnTo>
                      <a:lnTo>
                        <a:pt x="3738" y="308"/>
                      </a:lnTo>
                      <a:lnTo>
                        <a:pt x="3559" y="278"/>
                      </a:lnTo>
                      <a:lnTo>
                        <a:pt x="3379" y="249"/>
                      </a:lnTo>
                      <a:lnTo>
                        <a:pt x="3196" y="221"/>
                      </a:lnTo>
                      <a:lnTo>
                        <a:pt x="3010" y="196"/>
                      </a:lnTo>
                      <a:lnTo>
                        <a:pt x="2823" y="171"/>
                      </a:lnTo>
                      <a:lnTo>
                        <a:pt x="2633" y="148"/>
                      </a:lnTo>
                      <a:lnTo>
                        <a:pt x="2441" y="127"/>
                      </a:lnTo>
                      <a:lnTo>
                        <a:pt x="2246" y="108"/>
                      </a:lnTo>
                      <a:lnTo>
                        <a:pt x="2052" y="89"/>
                      </a:lnTo>
                      <a:lnTo>
                        <a:pt x="1854" y="72"/>
                      </a:lnTo>
                      <a:lnTo>
                        <a:pt x="1654" y="57"/>
                      </a:lnTo>
                      <a:lnTo>
                        <a:pt x="1453" y="45"/>
                      </a:lnTo>
                      <a:lnTo>
                        <a:pt x="1250" y="33"/>
                      </a:lnTo>
                      <a:lnTo>
                        <a:pt x="1045" y="23"/>
                      </a:lnTo>
                      <a:lnTo>
                        <a:pt x="838" y="14"/>
                      </a:lnTo>
                      <a:lnTo>
                        <a:pt x="631" y="8"/>
                      </a:lnTo>
                      <a:lnTo>
                        <a:pt x="422" y="4"/>
                      </a:lnTo>
                      <a:lnTo>
                        <a:pt x="212" y="1"/>
                      </a:lnTo>
                      <a:lnTo>
                        <a:pt x="0" y="0"/>
                      </a:lnTo>
                      <a:lnTo>
                        <a:pt x="0" y="100"/>
                      </a:lnTo>
                      <a:lnTo>
                        <a:pt x="211" y="101"/>
                      </a:lnTo>
                      <a:lnTo>
                        <a:pt x="420" y="105"/>
                      </a:lnTo>
                      <a:lnTo>
                        <a:pt x="628" y="109"/>
                      </a:lnTo>
                      <a:lnTo>
                        <a:pt x="835" y="115"/>
                      </a:lnTo>
                      <a:lnTo>
                        <a:pt x="1040" y="123"/>
                      </a:lnTo>
                      <a:lnTo>
                        <a:pt x="1245" y="132"/>
                      </a:lnTo>
                      <a:lnTo>
                        <a:pt x="1447" y="144"/>
                      </a:lnTo>
                      <a:lnTo>
                        <a:pt x="1648" y="157"/>
                      </a:lnTo>
                      <a:lnTo>
                        <a:pt x="1845" y="173"/>
                      </a:lnTo>
                      <a:lnTo>
                        <a:pt x="2042" y="189"/>
                      </a:lnTo>
                      <a:lnTo>
                        <a:pt x="2237" y="207"/>
                      </a:lnTo>
                      <a:lnTo>
                        <a:pt x="2431" y="227"/>
                      </a:lnTo>
                      <a:lnTo>
                        <a:pt x="2622" y="248"/>
                      </a:lnTo>
                      <a:lnTo>
                        <a:pt x="2810" y="271"/>
                      </a:lnTo>
                      <a:lnTo>
                        <a:pt x="2997" y="295"/>
                      </a:lnTo>
                      <a:lnTo>
                        <a:pt x="3181" y="321"/>
                      </a:lnTo>
                      <a:lnTo>
                        <a:pt x="3364" y="349"/>
                      </a:lnTo>
                      <a:lnTo>
                        <a:pt x="3543" y="378"/>
                      </a:lnTo>
                      <a:lnTo>
                        <a:pt x="3721" y="408"/>
                      </a:lnTo>
                      <a:lnTo>
                        <a:pt x="3895" y="440"/>
                      </a:lnTo>
                      <a:lnTo>
                        <a:pt x="4069" y="473"/>
                      </a:lnTo>
                      <a:lnTo>
                        <a:pt x="4238" y="507"/>
                      </a:lnTo>
                      <a:lnTo>
                        <a:pt x="4405" y="543"/>
                      </a:lnTo>
                      <a:lnTo>
                        <a:pt x="4570" y="580"/>
                      </a:lnTo>
                      <a:lnTo>
                        <a:pt x="4731" y="619"/>
                      </a:lnTo>
                      <a:lnTo>
                        <a:pt x="4890" y="658"/>
                      </a:lnTo>
                      <a:lnTo>
                        <a:pt x="5046" y="700"/>
                      </a:lnTo>
                      <a:lnTo>
                        <a:pt x="5198" y="741"/>
                      </a:lnTo>
                      <a:lnTo>
                        <a:pt x="5348" y="785"/>
                      </a:lnTo>
                      <a:lnTo>
                        <a:pt x="5494" y="830"/>
                      </a:lnTo>
                      <a:lnTo>
                        <a:pt x="5566" y="852"/>
                      </a:lnTo>
                      <a:lnTo>
                        <a:pt x="5637" y="876"/>
                      </a:lnTo>
                      <a:lnTo>
                        <a:pt x="5707" y="898"/>
                      </a:lnTo>
                      <a:lnTo>
                        <a:pt x="5778" y="922"/>
                      </a:lnTo>
                      <a:lnTo>
                        <a:pt x="5847" y="946"/>
                      </a:lnTo>
                      <a:lnTo>
                        <a:pt x="5915" y="971"/>
                      </a:lnTo>
                      <a:lnTo>
                        <a:pt x="5982" y="995"/>
                      </a:lnTo>
                      <a:lnTo>
                        <a:pt x="6048" y="1020"/>
                      </a:lnTo>
                      <a:lnTo>
                        <a:pt x="6113" y="1044"/>
                      </a:lnTo>
                      <a:lnTo>
                        <a:pt x="6177" y="1070"/>
                      </a:lnTo>
                      <a:lnTo>
                        <a:pt x="6241" y="1095"/>
                      </a:lnTo>
                      <a:lnTo>
                        <a:pt x="6304" y="1121"/>
                      </a:lnTo>
                      <a:lnTo>
                        <a:pt x="6365" y="1147"/>
                      </a:lnTo>
                      <a:lnTo>
                        <a:pt x="6426" y="1174"/>
                      </a:lnTo>
                      <a:lnTo>
                        <a:pt x="6487" y="1200"/>
                      </a:lnTo>
                      <a:lnTo>
                        <a:pt x="6545" y="1227"/>
                      </a:lnTo>
                      <a:lnTo>
                        <a:pt x="6603" y="1253"/>
                      </a:lnTo>
                      <a:lnTo>
                        <a:pt x="6661" y="1281"/>
                      </a:lnTo>
                      <a:lnTo>
                        <a:pt x="6716" y="1308"/>
                      </a:lnTo>
                      <a:lnTo>
                        <a:pt x="6772" y="1336"/>
                      </a:lnTo>
                      <a:lnTo>
                        <a:pt x="6827" y="1364"/>
                      </a:lnTo>
                      <a:lnTo>
                        <a:pt x="6879" y="1392"/>
                      </a:lnTo>
                      <a:lnTo>
                        <a:pt x="6932" y="1421"/>
                      </a:lnTo>
                      <a:lnTo>
                        <a:pt x="6983" y="1449"/>
                      </a:lnTo>
                      <a:lnTo>
                        <a:pt x="7034" y="1478"/>
                      </a:lnTo>
                      <a:lnTo>
                        <a:pt x="7083" y="1507"/>
                      </a:lnTo>
                      <a:lnTo>
                        <a:pt x="7132" y="1537"/>
                      </a:lnTo>
                      <a:lnTo>
                        <a:pt x="7178" y="1566"/>
                      </a:lnTo>
                      <a:lnTo>
                        <a:pt x="7225" y="1596"/>
                      </a:lnTo>
                      <a:lnTo>
                        <a:pt x="7270" y="1625"/>
                      </a:lnTo>
                      <a:lnTo>
                        <a:pt x="7314" y="1656"/>
                      </a:lnTo>
                      <a:lnTo>
                        <a:pt x="7358" y="1686"/>
                      </a:lnTo>
                      <a:lnTo>
                        <a:pt x="7400" y="1716"/>
                      </a:lnTo>
                      <a:lnTo>
                        <a:pt x="7440" y="1747"/>
                      </a:lnTo>
                      <a:lnTo>
                        <a:pt x="7480" y="1777"/>
                      </a:lnTo>
                      <a:lnTo>
                        <a:pt x="7519" y="1808"/>
                      </a:lnTo>
                      <a:lnTo>
                        <a:pt x="7557" y="1839"/>
                      </a:lnTo>
                      <a:lnTo>
                        <a:pt x="7594" y="1871"/>
                      </a:lnTo>
                      <a:lnTo>
                        <a:pt x="7629" y="1902"/>
                      </a:lnTo>
                      <a:lnTo>
                        <a:pt x="7664" y="1934"/>
                      </a:lnTo>
                      <a:lnTo>
                        <a:pt x="7697" y="1966"/>
                      </a:lnTo>
                      <a:lnTo>
                        <a:pt x="7729" y="1998"/>
                      </a:lnTo>
                      <a:lnTo>
                        <a:pt x="7760" y="2030"/>
                      </a:lnTo>
                      <a:lnTo>
                        <a:pt x="7789" y="2062"/>
                      </a:lnTo>
                      <a:lnTo>
                        <a:pt x="7818" y="2094"/>
                      </a:lnTo>
                      <a:lnTo>
                        <a:pt x="7845" y="2127"/>
                      </a:lnTo>
                      <a:lnTo>
                        <a:pt x="7872" y="2159"/>
                      </a:lnTo>
                      <a:lnTo>
                        <a:pt x="7897" y="2192"/>
                      </a:lnTo>
                      <a:lnTo>
                        <a:pt x="7920" y="2224"/>
                      </a:lnTo>
                      <a:lnTo>
                        <a:pt x="7943" y="2257"/>
                      </a:lnTo>
                      <a:lnTo>
                        <a:pt x="7966" y="2291"/>
                      </a:lnTo>
                      <a:lnTo>
                        <a:pt x="7985" y="2324"/>
                      </a:lnTo>
                      <a:lnTo>
                        <a:pt x="8005" y="2357"/>
                      </a:lnTo>
                      <a:lnTo>
                        <a:pt x="8022" y="2390"/>
                      </a:lnTo>
                      <a:lnTo>
                        <a:pt x="8039" y="2423"/>
                      </a:lnTo>
                      <a:lnTo>
                        <a:pt x="8055" y="2457"/>
                      </a:lnTo>
                      <a:lnTo>
                        <a:pt x="8069" y="2490"/>
                      </a:lnTo>
                      <a:lnTo>
                        <a:pt x="8082" y="2524"/>
                      </a:lnTo>
                      <a:lnTo>
                        <a:pt x="8095" y="2558"/>
                      </a:lnTo>
                      <a:lnTo>
                        <a:pt x="8105" y="2592"/>
                      </a:lnTo>
                      <a:lnTo>
                        <a:pt x="8114" y="2625"/>
                      </a:lnTo>
                      <a:lnTo>
                        <a:pt x="8122" y="2659"/>
                      </a:lnTo>
                      <a:lnTo>
                        <a:pt x="8130" y="2693"/>
                      </a:lnTo>
                      <a:lnTo>
                        <a:pt x="8135" y="2727"/>
                      </a:lnTo>
                      <a:lnTo>
                        <a:pt x="8139" y="2761"/>
                      </a:lnTo>
                      <a:lnTo>
                        <a:pt x="8142" y="2796"/>
                      </a:lnTo>
                      <a:lnTo>
                        <a:pt x="8144" y="2830"/>
                      </a:lnTo>
                      <a:lnTo>
                        <a:pt x="8145" y="2865"/>
                      </a:lnTo>
                      <a:lnTo>
                        <a:pt x="8245"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38" name="Freeform 229"/>
                <p:cNvSpPr>
                  <a:spLocks/>
                </p:cNvSpPr>
                <p:nvPr>
                  <p:custDataLst>
                    <p:tags r:id="rId89"/>
                  </p:custDataLst>
                </p:nvPr>
              </p:nvSpPr>
              <p:spPr bwMode="auto">
                <a:xfrm>
                  <a:off x="737" y="3387"/>
                  <a:ext cx="234" cy="73"/>
                </a:xfrm>
                <a:custGeom>
                  <a:avLst/>
                  <a:gdLst>
                    <a:gd name="T0" fmla="*/ 0 w 5393"/>
                    <a:gd name="T1" fmla="*/ 1426 h 1828"/>
                    <a:gd name="T2" fmla="*/ 1207 w 5393"/>
                    <a:gd name="T3" fmla="*/ 1828 h 1828"/>
                    <a:gd name="T4" fmla="*/ 4061 w 5393"/>
                    <a:gd name="T5" fmla="*/ 687 h 1828"/>
                    <a:gd name="T6" fmla="*/ 5393 w 5393"/>
                    <a:gd name="T7" fmla="*/ 1013 h 1828"/>
                    <a:gd name="T8" fmla="*/ 4690 w 5393"/>
                    <a:gd name="T9" fmla="*/ 0 h 1828"/>
                    <a:gd name="T10" fmla="*/ 1253 w 5393"/>
                    <a:gd name="T11" fmla="*/ 0 h 1828"/>
                    <a:gd name="T12" fmla="*/ 2690 w 5393"/>
                    <a:gd name="T13" fmla="*/ 352 h 1828"/>
                    <a:gd name="T14" fmla="*/ 0 w 5393"/>
                    <a:gd name="T15" fmla="*/ 1426 h 18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8">
                      <a:moveTo>
                        <a:pt x="0" y="1426"/>
                      </a:moveTo>
                      <a:lnTo>
                        <a:pt x="1207" y="1828"/>
                      </a:lnTo>
                      <a:lnTo>
                        <a:pt x="4061" y="687"/>
                      </a:lnTo>
                      <a:lnTo>
                        <a:pt x="5393" y="1013"/>
                      </a:lnTo>
                      <a:lnTo>
                        <a:pt x="4690" y="0"/>
                      </a:lnTo>
                      <a:lnTo>
                        <a:pt x="1253" y="0"/>
                      </a:lnTo>
                      <a:lnTo>
                        <a:pt x="2690" y="352"/>
                      </a:lnTo>
                      <a:lnTo>
                        <a:pt x="0"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39" name="Freeform 230"/>
                <p:cNvSpPr>
                  <a:spLocks/>
                </p:cNvSpPr>
                <p:nvPr>
                  <p:custDataLst>
                    <p:tags r:id="rId90"/>
                  </p:custDataLst>
                </p:nvPr>
              </p:nvSpPr>
              <p:spPr bwMode="auto">
                <a:xfrm>
                  <a:off x="480" y="3474"/>
                  <a:ext cx="235" cy="73"/>
                </a:xfrm>
                <a:custGeom>
                  <a:avLst/>
                  <a:gdLst>
                    <a:gd name="T0" fmla="*/ 5394 w 5394"/>
                    <a:gd name="T1" fmla="*/ 401 h 1827"/>
                    <a:gd name="T2" fmla="*/ 4186 w 5394"/>
                    <a:gd name="T3" fmla="*/ 0 h 1827"/>
                    <a:gd name="T4" fmla="*/ 1332 w 5394"/>
                    <a:gd name="T5" fmla="*/ 1140 h 1827"/>
                    <a:gd name="T6" fmla="*/ 0 w 5394"/>
                    <a:gd name="T7" fmla="*/ 814 h 1827"/>
                    <a:gd name="T8" fmla="*/ 702 w 5394"/>
                    <a:gd name="T9" fmla="*/ 1827 h 1827"/>
                    <a:gd name="T10" fmla="*/ 4140 w 5394"/>
                    <a:gd name="T11" fmla="*/ 1827 h 1827"/>
                    <a:gd name="T12" fmla="*/ 2704 w 5394"/>
                    <a:gd name="T13" fmla="*/ 1476 h 1827"/>
                    <a:gd name="T14" fmla="*/ 5394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5394" y="401"/>
                      </a:moveTo>
                      <a:lnTo>
                        <a:pt x="4186" y="0"/>
                      </a:lnTo>
                      <a:lnTo>
                        <a:pt x="1332" y="1140"/>
                      </a:lnTo>
                      <a:lnTo>
                        <a:pt x="0" y="814"/>
                      </a:lnTo>
                      <a:lnTo>
                        <a:pt x="702" y="1827"/>
                      </a:lnTo>
                      <a:lnTo>
                        <a:pt x="4140" y="1827"/>
                      </a:lnTo>
                      <a:lnTo>
                        <a:pt x="2704" y="1476"/>
                      </a:lnTo>
                      <a:lnTo>
                        <a:pt x="5394"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40" name="Freeform 231"/>
                <p:cNvSpPr>
                  <a:spLocks/>
                </p:cNvSpPr>
                <p:nvPr>
                  <p:custDataLst>
                    <p:tags r:id="rId91"/>
                  </p:custDataLst>
                </p:nvPr>
              </p:nvSpPr>
              <p:spPr bwMode="auto">
                <a:xfrm>
                  <a:off x="493" y="3385"/>
                  <a:ext cx="235" cy="73"/>
                </a:xfrm>
                <a:custGeom>
                  <a:avLst/>
                  <a:gdLst>
                    <a:gd name="T0" fmla="*/ 0 w 5394"/>
                    <a:gd name="T1" fmla="*/ 401 h 1827"/>
                    <a:gd name="T2" fmla="*/ 1208 w 5394"/>
                    <a:gd name="T3" fmla="*/ 0 h 1827"/>
                    <a:gd name="T4" fmla="*/ 4062 w 5394"/>
                    <a:gd name="T5" fmla="*/ 1140 h 1827"/>
                    <a:gd name="T6" fmla="*/ 5394 w 5394"/>
                    <a:gd name="T7" fmla="*/ 813 h 1827"/>
                    <a:gd name="T8" fmla="*/ 4691 w 5394"/>
                    <a:gd name="T9" fmla="*/ 1827 h 1827"/>
                    <a:gd name="T10" fmla="*/ 1253 w 5394"/>
                    <a:gd name="T11" fmla="*/ 1827 h 1827"/>
                    <a:gd name="T12" fmla="*/ 2690 w 5394"/>
                    <a:gd name="T13" fmla="*/ 1475 h 1827"/>
                    <a:gd name="T14" fmla="*/ 0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0" y="401"/>
                      </a:moveTo>
                      <a:lnTo>
                        <a:pt x="1208" y="0"/>
                      </a:lnTo>
                      <a:lnTo>
                        <a:pt x="4062" y="1140"/>
                      </a:lnTo>
                      <a:lnTo>
                        <a:pt x="5394" y="813"/>
                      </a:lnTo>
                      <a:lnTo>
                        <a:pt x="4691" y="1827"/>
                      </a:lnTo>
                      <a:lnTo>
                        <a:pt x="1253" y="1827"/>
                      </a:lnTo>
                      <a:lnTo>
                        <a:pt x="2690" y="1475"/>
                      </a:lnTo>
                      <a:lnTo>
                        <a:pt x="0"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41" name="Freeform 232"/>
                <p:cNvSpPr>
                  <a:spLocks/>
                </p:cNvSpPr>
                <p:nvPr>
                  <p:custDataLst>
                    <p:tags r:id="rId92"/>
                  </p:custDataLst>
                </p:nvPr>
              </p:nvSpPr>
              <p:spPr bwMode="auto">
                <a:xfrm>
                  <a:off x="729" y="3479"/>
                  <a:ext cx="235" cy="73"/>
                </a:xfrm>
                <a:custGeom>
                  <a:avLst/>
                  <a:gdLst>
                    <a:gd name="T0" fmla="*/ 5393 w 5393"/>
                    <a:gd name="T1" fmla="*/ 1426 h 1827"/>
                    <a:gd name="T2" fmla="*/ 4186 w 5393"/>
                    <a:gd name="T3" fmla="*/ 1827 h 1827"/>
                    <a:gd name="T4" fmla="*/ 1332 w 5393"/>
                    <a:gd name="T5" fmla="*/ 687 h 1827"/>
                    <a:gd name="T6" fmla="*/ 0 w 5393"/>
                    <a:gd name="T7" fmla="*/ 1012 h 1827"/>
                    <a:gd name="T8" fmla="*/ 702 w 5393"/>
                    <a:gd name="T9" fmla="*/ 0 h 1827"/>
                    <a:gd name="T10" fmla="*/ 4140 w 5393"/>
                    <a:gd name="T11" fmla="*/ 0 h 1827"/>
                    <a:gd name="T12" fmla="*/ 2703 w 5393"/>
                    <a:gd name="T13" fmla="*/ 352 h 1827"/>
                    <a:gd name="T14" fmla="*/ 5393 w 5393"/>
                    <a:gd name="T15" fmla="*/ 1426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7">
                      <a:moveTo>
                        <a:pt x="5393" y="1426"/>
                      </a:moveTo>
                      <a:lnTo>
                        <a:pt x="4186" y="1827"/>
                      </a:lnTo>
                      <a:lnTo>
                        <a:pt x="1332" y="687"/>
                      </a:lnTo>
                      <a:lnTo>
                        <a:pt x="0" y="1012"/>
                      </a:lnTo>
                      <a:lnTo>
                        <a:pt x="702" y="0"/>
                      </a:lnTo>
                      <a:lnTo>
                        <a:pt x="4140" y="0"/>
                      </a:lnTo>
                      <a:lnTo>
                        <a:pt x="2703" y="352"/>
                      </a:lnTo>
                      <a:lnTo>
                        <a:pt x="5393"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42" name="Rectangle 233"/>
                <p:cNvSpPr>
                  <a:spLocks noChangeArrowheads="1"/>
                </p:cNvSpPr>
                <p:nvPr>
                  <p:custDataLst>
                    <p:tags r:id="rId93"/>
                  </p:custDataLst>
                </p:nvPr>
              </p:nvSpPr>
              <p:spPr bwMode="auto">
                <a:xfrm>
                  <a:off x="369"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43" name="Rectangle 234"/>
                <p:cNvSpPr>
                  <a:spLocks noChangeArrowheads="1"/>
                </p:cNvSpPr>
                <p:nvPr>
                  <p:custDataLst>
                    <p:tags r:id="rId94"/>
                  </p:custDataLst>
                </p:nvPr>
              </p:nvSpPr>
              <p:spPr bwMode="auto">
                <a:xfrm>
                  <a:off x="369"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44" name="Rectangle 235"/>
                <p:cNvSpPr>
                  <a:spLocks noChangeArrowheads="1"/>
                </p:cNvSpPr>
                <p:nvPr>
                  <p:custDataLst>
                    <p:tags r:id="rId95"/>
                  </p:custDataLst>
                </p:nvPr>
              </p:nvSpPr>
              <p:spPr bwMode="auto">
                <a:xfrm>
                  <a:off x="369"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45" name="Rectangle 236"/>
                <p:cNvSpPr>
                  <a:spLocks noChangeArrowheads="1"/>
                </p:cNvSpPr>
                <p:nvPr>
                  <p:custDataLst>
                    <p:tags r:id="rId96"/>
                  </p:custDataLst>
                </p:nvPr>
              </p:nvSpPr>
              <p:spPr bwMode="auto">
                <a:xfrm>
                  <a:off x="1082"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46" name="Rectangle 237"/>
                <p:cNvSpPr>
                  <a:spLocks noChangeArrowheads="1"/>
                </p:cNvSpPr>
                <p:nvPr>
                  <p:custDataLst>
                    <p:tags r:id="rId97"/>
                  </p:custDataLst>
                </p:nvPr>
              </p:nvSpPr>
              <p:spPr bwMode="auto">
                <a:xfrm>
                  <a:off x="1082"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47" name="Rectangle 238"/>
                <p:cNvSpPr>
                  <a:spLocks noChangeArrowheads="1"/>
                </p:cNvSpPr>
                <p:nvPr>
                  <p:custDataLst>
                    <p:tags r:id="rId98"/>
                  </p:custDataLst>
                </p:nvPr>
              </p:nvSpPr>
              <p:spPr bwMode="auto">
                <a:xfrm>
                  <a:off x="1082"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grpSp>
        </p:grpSp>
        <p:cxnSp>
          <p:nvCxnSpPr>
            <p:cNvPr id="548" name="AutoShape 239"/>
            <p:cNvCxnSpPr>
              <a:cxnSpLocks noChangeShapeType="1"/>
              <a:stCxn id="805" idx="1"/>
              <a:endCxn id="696" idx="5"/>
            </p:cNvCxnSpPr>
            <p:nvPr>
              <p:custDataLst>
                <p:tags r:id="rId21"/>
              </p:custDataLst>
            </p:nvPr>
          </p:nvCxnSpPr>
          <p:spPr bwMode="auto">
            <a:xfrm flipH="1" flipV="1">
              <a:off x="1510" y="2086"/>
              <a:ext cx="222" cy="52"/>
            </a:xfrm>
            <a:prstGeom prst="straightConnector1">
              <a:avLst/>
            </a:prstGeom>
            <a:noFill/>
            <a:ln w="25400">
              <a:solidFill>
                <a:srgbClr val="3F607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9" name="AutoShape 240"/>
            <p:cNvCxnSpPr>
              <a:cxnSpLocks noChangeShapeType="1"/>
              <a:stCxn id="791" idx="20"/>
              <a:endCxn id="624" idx="5"/>
            </p:cNvCxnSpPr>
            <p:nvPr>
              <p:custDataLst>
                <p:tags r:id="rId22"/>
              </p:custDataLst>
            </p:nvPr>
          </p:nvCxnSpPr>
          <p:spPr bwMode="auto">
            <a:xfrm flipH="1">
              <a:off x="1441" y="2182"/>
              <a:ext cx="339" cy="121"/>
            </a:xfrm>
            <a:prstGeom prst="straightConnector1">
              <a:avLst/>
            </a:prstGeom>
            <a:noFill/>
            <a:ln w="25400">
              <a:solidFill>
                <a:srgbClr val="3F607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50" name="AutoShape 241"/>
            <p:cNvSpPr>
              <a:spLocks noChangeArrowheads="1"/>
            </p:cNvSpPr>
            <p:nvPr>
              <p:custDataLst>
                <p:tags r:id="rId23"/>
              </p:custDataLst>
            </p:nvPr>
          </p:nvSpPr>
          <p:spPr bwMode="auto">
            <a:xfrm>
              <a:off x="1447" y="2379"/>
              <a:ext cx="90" cy="68"/>
            </a:xfrm>
            <a:prstGeom prst="cube">
              <a:avLst>
                <a:gd name="adj" fmla="val 25000"/>
              </a:avLst>
            </a:prstGeom>
            <a:solidFill>
              <a:srgbClr val="E3CAB3"/>
            </a:solidFill>
            <a:ln w="12700">
              <a:solidFill>
                <a:srgbClr val="E3CAB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grpSp>
          <p:nvGrpSpPr>
            <p:cNvPr id="551" name="Group 242"/>
            <p:cNvGrpSpPr>
              <a:grpSpLocks/>
            </p:cNvGrpSpPr>
            <p:nvPr>
              <p:custDataLst>
                <p:tags r:id="rId24"/>
              </p:custDataLst>
            </p:nvPr>
          </p:nvGrpSpPr>
          <p:grpSpPr bwMode="auto">
            <a:xfrm>
              <a:off x="1456" y="2408"/>
              <a:ext cx="59" cy="33"/>
              <a:chOff x="369" y="3354"/>
              <a:chExt cx="717" cy="390"/>
            </a:xfrm>
          </p:grpSpPr>
          <p:sp>
            <p:nvSpPr>
              <p:cNvPr id="602" name="AutoShape 243"/>
              <p:cNvSpPr>
                <a:spLocks noChangeAspect="1" noChangeArrowheads="1" noTextEdit="1"/>
              </p:cNvSpPr>
              <p:nvPr>
                <p:custDataLst>
                  <p:tags r:id="rId55"/>
                </p:custDataLst>
              </p:nvPr>
            </p:nvSpPr>
            <p:spPr bwMode="auto">
              <a:xfrm>
                <a:off x="369" y="3354"/>
                <a:ext cx="717" cy="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03" name="Freeform 244"/>
              <p:cNvSpPr>
                <a:spLocks/>
              </p:cNvSpPr>
              <p:nvPr>
                <p:custDataLst>
                  <p:tags r:id="rId56"/>
                </p:custDataLst>
              </p:nvPr>
            </p:nvSpPr>
            <p:spPr bwMode="auto">
              <a:xfrm>
                <a:off x="371" y="3517"/>
                <a:ext cx="713" cy="225"/>
              </a:xfrm>
              <a:custGeom>
                <a:avLst/>
                <a:gdLst>
                  <a:gd name="T0" fmla="*/ 16347 w 16389"/>
                  <a:gd name="T1" fmla="*/ 3102 h 5628"/>
                  <a:gd name="T2" fmla="*/ 16132 w 16389"/>
                  <a:gd name="T3" fmla="*/ 3518 h 5628"/>
                  <a:gd name="T4" fmla="*/ 15745 w 16389"/>
                  <a:gd name="T5" fmla="*/ 3909 h 5628"/>
                  <a:gd name="T6" fmla="*/ 15203 w 16389"/>
                  <a:gd name="T7" fmla="*/ 4273 h 5628"/>
                  <a:gd name="T8" fmla="*/ 14518 w 16389"/>
                  <a:gd name="T9" fmla="*/ 4605 h 5628"/>
                  <a:gd name="T10" fmla="*/ 13704 w 16389"/>
                  <a:gd name="T11" fmla="*/ 4898 h 5628"/>
                  <a:gd name="T12" fmla="*/ 12776 w 16389"/>
                  <a:gd name="T13" fmla="*/ 5148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8 h 5628"/>
                  <a:gd name="T30" fmla="*/ 2685 w 16389"/>
                  <a:gd name="T31" fmla="*/ 4898 h 5628"/>
                  <a:gd name="T32" fmla="*/ 1871 w 16389"/>
                  <a:gd name="T33" fmla="*/ 4605 h 5628"/>
                  <a:gd name="T34" fmla="*/ 1186 w 16389"/>
                  <a:gd name="T35" fmla="*/ 4273 h 5628"/>
                  <a:gd name="T36" fmla="*/ 644 w 16389"/>
                  <a:gd name="T37" fmla="*/ 3909 h 5628"/>
                  <a:gd name="T38" fmla="*/ 257 w 16389"/>
                  <a:gd name="T39" fmla="*/ 3518 h 5628"/>
                  <a:gd name="T40" fmla="*/ 42 w 16389"/>
                  <a:gd name="T41" fmla="*/ 3102 h 5628"/>
                  <a:gd name="T42" fmla="*/ 10 w 16389"/>
                  <a:gd name="T43" fmla="*/ 2669 h 5628"/>
                  <a:gd name="T44" fmla="*/ 165 w 16389"/>
                  <a:gd name="T45" fmla="*/ 2247 h 5628"/>
                  <a:gd name="T46" fmla="*/ 496 w 16389"/>
                  <a:gd name="T47" fmla="*/ 1847 h 5628"/>
                  <a:gd name="T48" fmla="*/ 989 w 16389"/>
                  <a:gd name="T49" fmla="*/ 1474 h 5628"/>
                  <a:gd name="T50" fmla="*/ 1628 w 16389"/>
                  <a:gd name="T51" fmla="*/ 1131 h 5628"/>
                  <a:gd name="T52" fmla="*/ 2400 w 16389"/>
                  <a:gd name="T53" fmla="*/ 825 h 5628"/>
                  <a:gd name="T54" fmla="*/ 3292 w 16389"/>
                  <a:gd name="T55" fmla="*/ 560 h 5628"/>
                  <a:gd name="T56" fmla="*/ 4289 w 16389"/>
                  <a:gd name="T57" fmla="*/ 340 h 5628"/>
                  <a:gd name="T58" fmla="*/ 5378 w 16389"/>
                  <a:gd name="T59" fmla="*/ 171 h 5628"/>
                  <a:gd name="T60" fmla="*/ 6543 w 16389"/>
                  <a:gd name="T61" fmla="*/ 57 h 5628"/>
                  <a:gd name="T62" fmla="*/ 7773 w 16389"/>
                  <a:gd name="T63" fmla="*/ 4 h 5628"/>
                  <a:gd name="T64" fmla="*/ 9032 w 16389"/>
                  <a:gd name="T65" fmla="*/ 14 h 5628"/>
                  <a:gd name="T66" fmla="*/ 10241 w 16389"/>
                  <a:gd name="T67" fmla="*/ 89 h 5628"/>
                  <a:gd name="T68" fmla="*/ 11383 w 16389"/>
                  <a:gd name="T69" fmla="*/ 221 h 5628"/>
                  <a:gd name="T70" fmla="*/ 12443 w 16389"/>
                  <a:gd name="T71" fmla="*/ 408 h 5628"/>
                  <a:gd name="T72" fmla="*/ 13407 w 16389"/>
                  <a:gd name="T73" fmla="*/ 643 h 5628"/>
                  <a:gd name="T74" fmla="*/ 14260 w 16389"/>
                  <a:gd name="T75" fmla="*/ 922 h 5628"/>
                  <a:gd name="T76" fmla="*/ 14990 w 16389"/>
                  <a:gd name="T77" fmla="*/ 1241 h 5628"/>
                  <a:gd name="T78" fmla="*/ 15581 w 16389"/>
                  <a:gd name="T79" fmla="*/ 1595 h 5628"/>
                  <a:gd name="T80" fmla="*/ 16022 w 16389"/>
                  <a:gd name="T81" fmla="*/ 1978 h 5628"/>
                  <a:gd name="T82" fmla="*/ 16296 w 16389"/>
                  <a:gd name="T83" fmla="*/ 2386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3"/>
                    </a:lnTo>
                    <a:lnTo>
                      <a:pt x="16224" y="3381"/>
                    </a:lnTo>
                    <a:lnTo>
                      <a:pt x="16132" y="3518"/>
                    </a:lnTo>
                    <a:lnTo>
                      <a:pt x="16022" y="3651"/>
                    </a:lnTo>
                    <a:lnTo>
                      <a:pt x="15893" y="3782"/>
                    </a:lnTo>
                    <a:lnTo>
                      <a:pt x="15745" y="3909"/>
                    </a:lnTo>
                    <a:lnTo>
                      <a:pt x="15581" y="4034"/>
                    </a:lnTo>
                    <a:lnTo>
                      <a:pt x="15400" y="4155"/>
                    </a:lnTo>
                    <a:lnTo>
                      <a:pt x="15203" y="4273"/>
                    </a:lnTo>
                    <a:lnTo>
                      <a:pt x="14990" y="4387"/>
                    </a:lnTo>
                    <a:lnTo>
                      <a:pt x="14761" y="4498"/>
                    </a:lnTo>
                    <a:lnTo>
                      <a:pt x="14518" y="4605"/>
                    </a:lnTo>
                    <a:lnTo>
                      <a:pt x="14260" y="4706"/>
                    </a:lnTo>
                    <a:lnTo>
                      <a:pt x="13989" y="4804"/>
                    </a:lnTo>
                    <a:lnTo>
                      <a:pt x="13704" y="4898"/>
                    </a:lnTo>
                    <a:lnTo>
                      <a:pt x="13407" y="4986"/>
                    </a:lnTo>
                    <a:lnTo>
                      <a:pt x="13096" y="5069"/>
                    </a:lnTo>
                    <a:lnTo>
                      <a:pt x="12776" y="5148"/>
                    </a:lnTo>
                    <a:lnTo>
                      <a:pt x="12443" y="5222"/>
                    </a:lnTo>
                    <a:lnTo>
                      <a:pt x="12100" y="5289"/>
                    </a:lnTo>
                    <a:lnTo>
                      <a:pt x="11746" y="5351"/>
                    </a:lnTo>
                    <a:lnTo>
                      <a:pt x="11383" y="5408"/>
                    </a:lnTo>
                    <a:lnTo>
                      <a:pt x="11011" y="5458"/>
                    </a:lnTo>
                    <a:lnTo>
                      <a:pt x="10631" y="5502"/>
                    </a:lnTo>
                    <a:lnTo>
                      <a:pt x="10241" y="5540"/>
                    </a:lnTo>
                    <a:lnTo>
                      <a:pt x="9846" y="5571"/>
                    </a:lnTo>
                    <a:lnTo>
                      <a:pt x="9442" y="5596"/>
                    </a:lnTo>
                    <a:lnTo>
                      <a:pt x="9032" y="5614"/>
                    </a:lnTo>
                    <a:lnTo>
                      <a:pt x="8616" y="5625"/>
                    </a:lnTo>
                    <a:lnTo>
                      <a:pt x="8195" y="5628"/>
                    </a:lnTo>
                    <a:lnTo>
                      <a:pt x="7773" y="5625"/>
                    </a:lnTo>
                    <a:lnTo>
                      <a:pt x="7357" y="5614"/>
                    </a:lnTo>
                    <a:lnTo>
                      <a:pt x="6947" y="5596"/>
                    </a:lnTo>
                    <a:lnTo>
                      <a:pt x="6543" y="5571"/>
                    </a:lnTo>
                    <a:lnTo>
                      <a:pt x="6148" y="5540"/>
                    </a:lnTo>
                    <a:lnTo>
                      <a:pt x="5758" y="5502"/>
                    </a:lnTo>
                    <a:lnTo>
                      <a:pt x="5378" y="5458"/>
                    </a:lnTo>
                    <a:lnTo>
                      <a:pt x="5006" y="5408"/>
                    </a:lnTo>
                    <a:lnTo>
                      <a:pt x="4643" y="5351"/>
                    </a:lnTo>
                    <a:lnTo>
                      <a:pt x="4289" y="5289"/>
                    </a:lnTo>
                    <a:lnTo>
                      <a:pt x="3946" y="5222"/>
                    </a:lnTo>
                    <a:lnTo>
                      <a:pt x="3613" y="5148"/>
                    </a:lnTo>
                    <a:lnTo>
                      <a:pt x="3292" y="5069"/>
                    </a:lnTo>
                    <a:lnTo>
                      <a:pt x="2982" y="4986"/>
                    </a:lnTo>
                    <a:lnTo>
                      <a:pt x="2685" y="4898"/>
                    </a:lnTo>
                    <a:lnTo>
                      <a:pt x="2400" y="4804"/>
                    </a:lnTo>
                    <a:lnTo>
                      <a:pt x="2129" y="4706"/>
                    </a:lnTo>
                    <a:lnTo>
                      <a:pt x="1871" y="4605"/>
                    </a:lnTo>
                    <a:lnTo>
                      <a:pt x="1628" y="4498"/>
                    </a:lnTo>
                    <a:lnTo>
                      <a:pt x="1399" y="4387"/>
                    </a:lnTo>
                    <a:lnTo>
                      <a:pt x="1186" y="4273"/>
                    </a:lnTo>
                    <a:lnTo>
                      <a:pt x="989" y="4155"/>
                    </a:lnTo>
                    <a:lnTo>
                      <a:pt x="808" y="4034"/>
                    </a:lnTo>
                    <a:lnTo>
                      <a:pt x="644" y="3909"/>
                    </a:lnTo>
                    <a:lnTo>
                      <a:pt x="496" y="3782"/>
                    </a:lnTo>
                    <a:lnTo>
                      <a:pt x="367" y="3651"/>
                    </a:lnTo>
                    <a:lnTo>
                      <a:pt x="257" y="3518"/>
                    </a:lnTo>
                    <a:lnTo>
                      <a:pt x="165" y="3381"/>
                    </a:lnTo>
                    <a:lnTo>
                      <a:pt x="93" y="3243"/>
                    </a:lnTo>
                    <a:lnTo>
                      <a:pt x="42" y="3102"/>
                    </a:lnTo>
                    <a:lnTo>
                      <a:pt x="10" y="2959"/>
                    </a:lnTo>
                    <a:lnTo>
                      <a:pt x="0" y="2814"/>
                    </a:lnTo>
                    <a:lnTo>
                      <a:pt x="10" y="2669"/>
                    </a:lnTo>
                    <a:lnTo>
                      <a:pt x="42" y="2526"/>
                    </a:lnTo>
                    <a:lnTo>
                      <a:pt x="93" y="2386"/>
                    </a:lnTo>
                    <a:lnTo>
                      <a:pt x="165" y="2247"/>
                    </a:lnTo>
                    <a:lnTo>
                      <a:pt x="257" y="2111"/>
                    </a:lnTo>
                    <a:lnTo>
                      <a:pt x="367" y="1978"/>
                    </a:lnTo>
                    <a:lnTo>
                      <a:pt x="496" y="1847"/>
                    </a:lnTo>
                    <a:lnTo>
                      <a:pt x="644" y="1719"/>
                    </a:lnTo>
                    <a:lnTo>
                      <a:pt x="808" y="1595"/>
                    </a:lnTo>
                    <a:lnTo>
                      <a:pt x="989" y="1474"/>
                    </a:lnTo>
                    <a:lnTo>
                      <a:pt x="1186" y="1356"/>
                    </a:lnTo>
                    <a:lnTo>
                      <a:pt x="1399" y="1241"/>
                    </a:lnTo>
                    <a:lnTo>
                      <a:pt x="1628" y="1131"/>
                    </a:lnTo>
                    <a:lnTo>
                      <a:pt x="1871" y="1024"/>
                    </a:lnTo>
                    <a:lnTo>
                      <a:pt x="2129" y="922"/>
                    </a:lnTo>
                    <a:lnTo>
                      <a:pt x="2400" y="825"/>
                    </a:lnTo>
                    <a:lnTo>
                      <a:pt x="2685" y="732"/>
                    </a:lnTo>
                    <a:lnTo>
                      <a:pt x="2982" y="643"/>
                    </a:lnTo>
                    <a:lnTo>
                      <a:pt x="3292" y="560"/>
                    </a:lnTo>
                    <a:lnTo>
                      <a:pt x="3613" y="481"/>
                    </a:lnTo>
                    <a:lnTo>
                      <a:pt x="3946" y="408"/>
                    </a:lnTo>
                    <a:lnTo>
                      <a:pt x="4289" y="340"/>
                    </a:lnTo>
                    <a:lnTo>
                      <a:pt x="4643" y="277"/>
                    </a:lnTo>
                    <a:lnTo>
                      <a:pt x="5006" y="221"/>
                    </a:lnTo>
                    <a:lnTo>
                      <a:pt x="5378" y="171"/>
                    </a:lnTo>
                    <a:lnTo>
                      <a:pt x="5758" y="126"/>
                    </a:lnTo>
                    <a:lnTo>
                      <a:pt x="6148" y="89"/>
                    </a:lnTo>
                    <a:lnTo>
                      <a:pt x="6543" y="57"/>
                    </a:lnTo>
                    <a:lnTo>
                      <a:pt x="6947" y="32"/>
                    </a:lnTo>
                    <a:lnTo>
                      <a:pt x="7357" y="14"/>
                    </a:lnTo>
                    <a:lnTo>
                      <a:pt x="7773" y="4"/>
                    </a:lnTo>
                    <a:lnTo>
                      <a:pt x="8195" y="0"/>
                    </a:lnTo>
                    <a:lnTo>
                      <a:pt x="8616" y="4"/>
                    </a:lnTo>
                    <a:lnTo>
                      <a:pt x="9032" y="14"/>
                    </a:lnTo>
                    <a:lnTo>
                      <a:pt x="9442" y="32"/>
                    </a:lnTo>
                    <a:lnTo>
                      <a:pt x="9846" y="57"/>
                    </a:lnTo>
                    <a:lnTo>
                      <a:pt x="10241" y="89"/>
                    </a:lnTo>
                    <a:lnTo>
                      <a:pt x="10631" y="126"/>
                    </a:lnTo>
                    <a:lnTo>
                      <a:pt x="11011" y="171"/>
                    </a:lnTo>
                    <a:lnTo>
                      <a:pt x="11383" y="221"/>
                    </a:lnTo>
                    <a:lnTo>
                      <a:pt x="11746" y="277"/>
                    </a:lnTo>
                    <a:lnTo>
                      <a:pt x="12100" y="340"/>
                    </a:lnTo>
                    <a:lnTo>
                      <a:pt x="12443" y="408"/>
                    </a:lnTo>
                    <a:lnTo>
                      <a:pt x="12776" y="481"/>
                    </a:lnTo>
                    <a:lnTo>
                      <a:pt x="13096" y="560"/>
                    </a:lnTo>
                    <a:lnTo>
                      <a:pt x="13407" y="643"/>
                    </a:lnTo>
                    <a:lnTo>
                      <a:pt x="13704" y="732"/>
                    </a:lnTo>
                    <a:lnTo>
                      <a:pt x="13989" y="825"/>
                    </a:lnTo>
                    <a:lnTo>
                      <a:pt x="14260" y="922"/>
                    </a:lnTo>
                    <a:lnTo>
                      <a:pt x="14518" y="1024"/>
                    </a:lnTo>
                    <a:lnTo>
                      <a:pt x="14761" y="1131"/>
                    </a:lnTo>
                    <a:lnTo>
                      <a:pt x="14990" y="1241"/>
                    </a:lnTo>
                    <a:lnTo>
                      <a:pt x="15203" y="1356"/>
                    </a:lnTo>
                    <a:lnTo>
                      <a:pt x="15400" y="1474"/>
                    </a:lnTo>
                    <a:lnTo>
                      <a:pt x="15581" y="1595"/>
                    </a:lnTo>
                    <a:lnTo>
                      <a:pt x="15745" y="1719"/>
                    </a:lnTo>
                    <a:lnTo>
                      <a:pt x="15893" y="1847"/>
                    </a:lnTo>
                    <a:lnTo>
                      <a:pt x="16022" y="1978"/>
                    </a:lnTo>
                    <a:lnTo>
                      <a:pt x="16132" y="2111"/>
                    </a:lnTo>
                    <a:lnTo>
                      <a:pt x="16224" y="2247"/>
                    </a:lnTo>
                    <a:lnTo>
                      <a:pt x="16296" y="2386"/>
                    </a:lnTo>
                    <a:lnTo>
                      <a:pt x="16347" y="2526"/>
                    </a:lnTo>
                    <a:lnTo>
                      <a:pt x="16379" y="2669"/>
                    </a:lnTo>
                    <a:lnTo>
                      <a:pt x="16389" y="2814"/>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04" name="Freeform 245"/>
              <p:cNvSpPr>
                <a:spLocks/>
              </p:cNvSpPr>
              <p:nvPr>
                <p:custDataLst>
                  <p:tags r:id="rId57"/>
                </p:custDataLst>
              </p:nvPr>
            </p:nvSpPr>
            <p:spPr bwMode="auto">
              <a:xfrm>
                <a:off x="725" y="3629"/>
                <a:ext cx="361" cy="115"/>
              </a:xfrm>
              <a:custGeom>
                <a:avLst/>
                <a:gdLst>
                  <a:gd name="T0" fmla="*/ 472 w 8295"/>
                  <a:gd name="T1" fmla="*/ 2861 h 2865"/>
                  <a:gd name="T2" fmla="*/ 1300 w 8295"/>
                  <a:gd name="T3" fmla="*/ 2832 h 2865"/>
                  <a:gd name="T4" fmla="*/ 2102 w 8295"/>
                  <a:gd name="T5" fmla="*/ 2776 h 2865"/>
                  <a:gd name="T6" fmla="*/ 2873 w 8295"/>
                  <a:gd name="T7" fmla="*/ 2694 h 2865"/>
                  <a:gd name="T8" fmla="*/ 3609 w 8295"/>
                  <a:gd name="T9" fmla="*/ 2587 h 2865"/>
                  <a:gd name="T10" fmla="*/ 4308 w 8295"/>
                  <a:gd name="T11" fmla="*/ 2456 h 2865"/>
                  <a:gd name="T12" fmla="*/ 4964 w 8295"/>
                  <a:gd name="T13" fmla="*/ 2304 h 2865"/>
                  <a:gd name="T14" fmla="*/ 5426 w 8295"/>
                  <a:gd name="T15" fmla="*/ 2177 h 2865"/>
                  <a:gd name="T16" fmla="*/ 5718 w 8295"/>
                  <a:gd name="T17" fmla="*/ 2085 h 2865"/>
                  <a:gd name="T18" fmla="*/ 5998 w 8295"/>
                  <a:gd name="T19" fmla="*/ 1989 h 2865"/>
                  <a:gd name="T20" fmla="*/ 6264 w 8295"/>
                  <a:gd name="T21" fmla="*/ 1889 h 2865"/>
                  <a:gd name="T22" fmla="*/ 6516 w 8295"/>
                  <a:gd name="T23" fmla="*/ 1783 h 2865"/>
                  <a:gd name="T24" fmla="*/ 6754 w 8295"/>
                  <a:gd name="T25" fmla="*/ 1675 h 2865"/>
                  <a:gd name="T26" fmla="*/ 6977 w 8295"/>
                  <a:gd name="T27" fmla="*/ 1561 h 2865"/>
                  <a:gd name="T28" fmla="*/ 7184 w 8295"/>
                  <a:gd name="T29" fmla="*/ 1444 h 2865"/>
                  <a:gd name="T30" fmla="*/ 7376 w 8295"/>
                  <a:gd name="T31" fmla="*/ 1323 h 2865"/>
                  <a:gd name="T32" fmla="*/ 7551 w 8295"/>
                  <a:gd name="T33" fmla="*/ 1199 h 2865"/>
                  <a:gd name="T34" fmla="*/ 7709 w 8295"/>
                  <a:gd name="T35" fmla="*/ 1070 h 2865"/>
                  <a:gd name="T36" fmla="*/ 7850 w 8295"/>
                  <a:gd name="T37" fmla="*/ 938 h 2865"/>
                  <a:gd name="T38" fmla="*/ 7972 w 8295"/>
                  <a:gd name="T39" fmla="*/ 802 h 2865"/>
                  <a:gd name="T40" fmla="*/ 8076 w 8295"/>
                  <a:gd name="T41" fmla="*/ 663 h 2865"/>
                  <a:gd name="T42" fmla="*/ 8161 w 8295"/>
                  <a:gd name="T43" fmla="*/ 522 h 2865"/>
                  <a:gd name="T44" fmla="*/ 8226 w 8295"/>
                  <a:gd name="T45" fmla="*/ 376 h 2865"/>
                  <a:gd name="T46" fmla="*/ 8269 w 8295"/>
                  <a:gd name="T47" fmla="*/ 228 h 2865"/>
                  <a:gd name="T48" fmla="*/ 8292 w 8295"/>
                  <a:gd name="T49" fmla="*/ 77 h 2865"/>
                  <a:gd name="T50" fmla="*/ 8194 w 8295"/>
                  <a:gd name="T51" fmla="*/ 35 h 2865"/>
                  <a:gd name="T52" fmla="*/ 8180 w 8295"/>
                  <a:gd name="T53" fmla="*/ 172 h 2865"/>
                  <a:gd name="T54" fmla="*/ 8145 w 8295"/>
                  <a:gd name="T55" fmla="*/ 307 h 2865"/>
                  <a:gd name="T56" fmla="*/ 8089 w 8295"/>
                  <a:gd name="T57" fmla="*/ 442 h 2865"/>
                  <a:gd name="T58" fmla="*/ 8016 w 8295"/>
                  <a:gd name="T59" fmla="*/ 574 h 2865"/>
                  <a:gd name="T60" fmla="*/ 7922 w 8295"/>
                  <a:gd name="T61" fmla="*/ 706 h 2865"/>
                  <a:gd name="T62" fmla="*/ 7810 w 8295"/>
                  <a:gd name="T63" fmla="*/ 835 h 2865"/>
                  <a:gd name="T64" fmla="*/ 7679 w 8295"/>
                  <a:gd name="T65" fmla="*/ 963 h 2865"/>
                  <a:gd name="T66" fmla="*/ 7530 w 8295"/>
                  <a:gd name="T67" fmla="*/ 1088 h 2865"/>
                  <a:gd name="T68" fmla="*/ 7364 w 8295"/>
                  <a:gd name="T69" fmla="*/ 1210 h 2865"/>
                  <a:gd name="T70" fmla="*/ 7182 w 8295"/>
                  <a:gd name="T71" fmla="*/ 1329 h 2865"/>
                  <a:gd name="T72" fmla="*/ 6982 w 8295"/>
                  <a:gd name="T73" fmla="*/ 1444 h 2865"/>
                  <a:gd name="T74" fmla="*/ 6766 w 8295"/>
                  <a:gd name="T75" fmla="*/ 1557 h 2865"/>
                  <a:gd name="T76" fmla="*/ 6537 w 8295"/>
                  <a:gd name="T77" fmla="*/ 1665 h 2865"/>
                  <a:gd name="T78" fmla="*/ 6290 w 8295"/>
                  <a:gd name="T79" fmla="*/ 1770 h 2865"/>
                  <a:gd name="T80" fmla="*/ 6032 w 8295"/>
                  <a:gd name="T81" fmla="*/ 1870 h 2865"/>
                  <a:gd name="T82" fmla="*/ 5757 w 8295"/>
                  <a:gd name="T83" fmla="*/ 1967 h 2865"/>
                  <a:gd name="T84" fmla="*/ 5471 w 8295"/>
                  <a:gd name="T85" fmla="*/ 2058 h 2865"/>
                  <a:gd name="T86" fmla="*/ 5096 w 8295"/>
                  <a:gd name="T87" fmla="*/ 2165 h 2865"/>
                  <a:gd name="T88" fmla="*/ 4455 w 8295"/>
                  <a:gd name="T89" fmla="*/ 2323 h 2865"/>
                  <a:gd name="T90" fmla="*/ 3771 w 8295"/>
                  <a:gd name="T91" fmla="*/ 2457 h 2865"/>
                  <a:gd name="T92" fmla="*/ 3047 w 8295"/>
                  <a:gd name="T93" fmla="*/ 2570 h 2865"/>
                  <a:gd name="T94" fmla="*/ 2287 w 8295"/>
                  <a:gd name="T95" fmla="*/ 2658 h 2865"/>
                  <a:gd name="T96" fmla="*/ 1497 w 8295"/>
                  <a:gd name="T97" fmla="*/ 2721 h 2865"/>
                  <a:gd name="T98" fmla="*/ 678 w 8295"/>
                  <a:gd name="T99" fmla="*/ 2756 h 2865"/>
                  <a:gd name="T100" fmla="*/ 50 w 8295"/>
                  <a:gd name="T101" fmla="*/ 2765 h 2865"/>
                  <a:gd name="T102" fmla="*/ 33 w 8295"/>
                  <a:gd name="T103" fmla="*/ 2767 h 2865"/>
                  <a:gd name="T104" fmla="*/ 15 w 8295"/>
                  <a:gd name="T105" fmla="*/ 2777 h 2865"/>
                  <a:gd name="T106" fmla="*/ 0 w 8295"/>
                  <a:gd name="T107" fmla="*/ 2805 h 2865"/>
                  <a:gd name="T108" fmla="*/ 6 w 8295"/>
                  <a:gd name="T109" fmla="*/ 2842 h 2865"/>
                  <a:gd name="T110" fmla="*/ 23 w 8295"/>
                  <a:gd name="T111" fmla="*/ 2859 h 2865"/>
                  <a:gd name="T112" fmla="*/ 43 w 8295"/>
                  <a:gd name="T113" fmla="*/ 2865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5">
                    <a:moveTo>
                      <a:pt x="50" y="2865"/>
                    </a:moveTo>
                    <a:lnTo>
                      <a:pt x="50" y="2865"/>
                    </a:lnTo>
                    <a:lnTo>
                      <a:pt x="262" y="2864"/>
                    </a:lnTo>
                    <a:lnTo>
                      <a:pt x="472" y="2861"/>
                    </a:lnTo>
                    <a:lnTo>
                      <a:pt x="681" y="2857"/>
                    </a:lnTo>
                    <a:lnTo>
                      <a:pt x="888" y="2851"/>
                    </a:lnTo>
                    <a:lnTo>
                      <a:pt x="1095" y="2842"/>
                    </a:lnTo>
                    <a:lnTo>
                      <a:pt x="1300" y="2832"/>
                    </a:lnTo>
                    <a:lnTo>
                      <a:pt x="1503" y="2820"/>
                    </a:lnTo>
                    <a:lnTo>
                      <a:pt x="1704" y="2808"/>
                    </a:lnTo>
                    <a:lnTo>
                      <a:pt x="1904" y="2793"/>
                    </a:lnTo>
                    <a:lnTo>
                      <a:pt x="2102" y="2776"/>
                    </a:lnTo>
                    <a:lnTo>
                      <a:pt x="2296" y="2757"/>
                    </a:lnTo>
                    <a:lnTo>
                      <a:pt x="2491" y="2738"/>
                    </a:lnTo>
                    <a:lnTo>
                      <a:pt x="2683" y="2717"/>
                    </a:lnTo>
                    <a:lnTo>
                      <a:pt x="2873" y="2694"/>
                    </a:lnTo>
                    <a:lnTo>
                      <a:pt x="3060" y="2669"/>
                    </a:lnTo>
                    <a:lnTo>
                      <a:pt x="3246" y="2644"/>
                    </a:lnTo>
                    <a:lnTo>
                      <a:pt x="3429" y="2616"/>
                    </a:lnTo>
                    <a:lnTo>
                      <a:pt x="3609" y="2587"/>
                    </a:lnTo>
                    <a:lnTo>
                      <a:pt x="3788" y="2557"/>
                    </a:lnTo>
                    <a:lnTo>
                      <a:pt x="3964" y="2524"/>
                    </a:lnTo>
                    <a:lnTo>
                      <a:pt x="4137" y="2491"/>
                    </a:lnTo>
                    <a:lnTo>
                      <a:pt x="4308" y="2456"/>
                    </a:lnTo>
                    <a:lnTo>
                      <a:pt x="4476" y="2420"/>
                    </a:lnTo>
                    <a:lnTo>
                      <a:pt x="4642" y="2383"/>
                    </a:lnTo>
                    <a:lnTo>
                      <a:pt x="4804" y="2344"/>
                    </a:lnTo>
                    <a:lnTo>
                      <a:pt x="4964" y="2304"/>
                    </a:lnTo>
                    <a:lnTo>
                      <a:pt x="5122" y="2263"/>
                    </a:lnTo>
                    <a:lnTo>
                      <a:pt x="5275" y="2220"/>
                    </a:lnTo>
                    <a:lnTo>
                      <a:pt x="5351" y="2198"/>
                    </a:lnTo>
                    <a:lnTo>
                      <a:pt x="5426" y="2177"/>
                    </a:lnTo>
                    <a:lnTo>
                      <a:pt x="5500" y="2154"/>
                    </a:lnTo>
                    <a:lnTo>
                      <a:pt x="5574" y="2131"/>
                    </a:lnTo>
                    <a:lnTo>
                      <a:pt x="5646" y="2108"/>
                    </a:lnTo>
                    <a:lnTo>
                      <a:pt x="5718" y="2085"/>
                    </a:lnTo>
                    <a:lnTo>
                      <a:pt x="5789" y="2062"/>
                    </a:lnTo>
                    <a:lnTo>
                      <a:pt x="5859" y="2038"/>
                    </a:lnTo>
                    <a:lnTo>
                      <a:pt x="5930" y="2013"/>
                    </a:lnTo>
                    <a:lnTo>
                      <a:pt x="5998" y="1989"/>
                    </a:lnTo>
                    <a:lnTo>
                      <a:pt x="6066" y="1965"/>
                    </a:lnTo>
                    <a:lnTo>
                      <a:pt x="6133" y="1940"/>
                    </a:lnTo>
                    <a:lnTo>
                      <a:pt x="6199" y="1914"/>
                    </a:lnTo>
                    <a:lnTo>
                      <a:pt x="6264" y="1889"/>
                    </a:lnTo>
                    <a:lnTo>
                      <a:pt x="6328" y="1863"/>
                    </a:lnTo>
                    <a:lnTo>
                      <a:pt x="6391" y="1836"/>
                    </a:lnTo>
                    <a:lnTo>
                      <a:pt x="6454" y="1810"/>
                    </a:lnTo>
                    <a:lnTo>
                      <a:pt x="6516" y="1783"/>
                    </a:lnTo>
                    <a:lnTo>
                      <a:pt x="6577" y="1756"/>
                    </a:lnTo>
                    <a:lnTo>
                      <a:pt x="6637" y="1730"/>
                    </a:lnTo>
                    <a:lnTo>
                      <a:pt x="6695" y="1702"/>
                    </a:lnTo>
                    <a:lnTo>
                      <a:pt x="6754" y="1675"/>
                    </a:lnTo>
                    <a:lnTo>
                      <a:pt x="6811" y="1647"/>
                    </a:lnTo>
                    <a:lnTo>
                      <a:pt x="6867" y="1619"/>
                    </a:lnTo>
                    <a:lnTo>
                      <a:pt x="6922" y="1590"/>
                    </a:lnTo>
                    <a:lnTo>
                      <a:pt x="6977" y="1561"/>
                    </a:lnTo>
                    <a:lnTo>
                      <a:pt x="7030" y="1532"/>
                    </a:lnTo>
                    <a:lnTo>
                      <a:pt x="7082" y="1503"/>
                    </a:lnTo>
                    <a:lnTo>
                      <a:pt x="7133" y="1474"/>
                    </a:lnTo>
                    <a:lnTo>
                      <a:pt x="7184" y="1444"/>
                    </a:lnTo>
                    <a:lnTo>
                      <a:pt x="7233" y="1414"/>
                    </a:lnTo>
                    <a:lnTo>
                      <a:pt x="7282" y="1384"/>
                    </a:lnTo>
                    <a:lnTo>
                      <a:pt x="7329" y="1354"/>
                    </a:lnTo>
                    <a:lnTo>
                      <a:pt x="7376" y="1323"/>
                    </a:lnTo>
                    <a:lnTo>
                      <a:pt x="7421" y="1292"/>
                    </a:lnTo>
                    <a:lnTo>
                      <a:pt x="7465" y="1261"/>
                    </a:lnTo>
                    <a:lnTo>
                      <a:pt x="7509" y="1230"/>
                    </a:lnTo>
                    <a:lnTo>
                      <a:pt x="7551" y="1199"/>
                    </a:lnTo>
                    <a:lnTo>
                      <a:pt x="7592" y="1167"/>
                    </a:lnTo>
                    <a:lnTo>
                      <a:pt x="7632" y="1134"/>
                    </a:lnTo>
                    <a:lnTo>
                      <a:pt x="7670" y="1102"/>
                    </a:lnTo>
                    <a:lnTo>
                      <a:pt x="7709" y="1070"/>
                    </a:lnTo>
                    <a:lnTo>
                      <a:pt x="7746" y="1037"/>
                    </a:lnTo>
                    <a:lnTo>
                      <a:pt x="7782" y="1004"/>
                    </a:lnTo>
                    <a:lnTo>
                      <a:pt x="7816" y="971"/>
                    </a:lnTo>
                    <a:lnTo>
                      <a:pt x="7850" y="938"/>
                    </a:lnTo>
                    <a:lnTo>
                      <a:pt x="7882" y="905"/>
                    </a:lnTo>
                    <a:lnTo>
                      <a:pt x="7914" y="870"/>
                    </a:lnTo>
                    <a:lnTo>
                      <a:pt x="7944" y="837"/>
                    </a:lnTo>
                    <a:lnTo>
                      <a:pt x="7972" y="802"/>
                    </a:lnTo>
                    <a:lnTo>
                      <a:pt x="8000" y="768"/>
                    </a:lnTo>
                    <a:lnTo>
                      <a:pt x="8027" y="734"/>
                    </a:lnTo>
                    <a:lnTo>
                      <a:pt x="8052" y="699"/>
                    </a:lnTo>
                    <a:lnTo>
                      <a:pt x="8076" y="663"/>
                    </a:lnTo>
                    <a:lnTo>
                      <a:pt x="8099" y="628"/>
                    </a:lnTo>
                    <a:lnTo>
                      <a:pt x="8121" y="593"/>
                    </a:lnTo>
                    <a:lnTo>
                      <a:pt x="8141" y="558"/>
                    </a:lnTo>
                    <a:lnTo>
                      <a:pt x="8161" y="522"/>
                    </a:lnTo>
                    <a:lnTo>
                      <a:pt x="8180" y="485"/>
                    </a:lnTo>
                    <a:lnTo>
                      <a:pt x="8196" y="449"/>
                    </a:lnTo>
                    <a:lnTo>
                      <a:pt x="8212" y="413"/>
                    </a:lnTo>
                    <a:lnTo>
                      <a:pt x="8226" y="376"/>
                    </a:lnTo>
                    <a:lnTo>
                      <a:pt x="8238" y="340"/>
                    </a:lnTo>
                    <a:lnTo>
                      <a:pt x="8251" y="302"/>
                    </a:lnTo>
                    <a:lnTo>
                      <a:pt x="8261" y="265"/>
                    </a:lnTo>
                    <a:lnTo>
                      <a:pt x="8269" y="228"/>
                    </a:lnTo>
                    <a:lnTo>
                      <a:pt x="8277" y="190"/>
                    </a:lnTo>
                    <a:lnTo>
                      <a:pt x="8284" y="152"/>
                    </a:lnTo>
                    <a:lnTo>
                      <a:pt x="8289" y="115"/>
                    </a:lnTo>
                    <a:lnTo>
                      <a:pt x="8292" y="77"/>
                    </a:lnTo>
                    <a:lnTo>
                      <a:pt x="8294" y="38"/>
                    </a:lnTo>
                    <a:lnTo>
                      <a:pt x="8295" y="0"/>
                    </a:lnTo>
                    <a:lnTo>
                      <a:pt x="8195" y="0"/>
                    </a:lnTo>
                    <a:lnTo>
                      <a:pt x="8194" y="35"/>
                    </a:lnTo>
                    <a:lnTo>
                      <a:pt x="8192" y="69"/>
                    </a:lnTo>
                    <a:lnTo>
                      <a:pt x="8189" y="104"/>
                    </a:lnTo>
                    <a:lnTo>
                      <a:pt x="8185" y="138"/>
                    </a:lnTo>
                    <a:lnTo>
                      <a:pt x="8180" y="172"/>
                    </a:lnTo>
                    <a:lnTo>
                      <a:pt x="8172" y="206"/>
                    </a:lnTo>
                    <a:lnTo>
                      <a:pt x="8164" y="240"/>
                    </a:lnTo>
                    <a:lnTo>
                      <a:pt x="8155" y="274"/>
                    </a:lnTo>
                    <a:lnTo>
                      <a:pt x="8145" y="307"/>
                    </a:lnTo>
                    <a:lnTo>
                      <a:pt x="8132" y="342"/>
                    </a:lnTo>
                    <a:lnTo>
                      <a:pt x="8119" y="375"/>
                    </a:lnTo>
                    <a:lnTo>
                      <a:pt x="8105" y="409"/>
                    </a:lnTo>
                    <a:lnTo>
                      <a:pt x="8089" y="442"/>
                    </a:lnTo>
                    <a:lnTo>
                      <a:pt x="8072" y="475"/>
                    </a:lnTo>
                    <a:lnTo>
                      <a:pt x="8055" y="508"/>
                    </a:lnTo>
                    <a:lnTo>
                      <a:pt x="8035" y="541"/>
                    </a:lnTo>
                    <a:lnTo>
                      <a:pt x="8016" y="574"/>
                    </a:lnTo>
                    <a:lnTo>
                      <a:pt x="7993" y="608"/>
                    </a:lnTo>
                    <a:lnTo>
                      <a:pt x="7970" y="641"/>
                    </a:lnTo>
                    <a:lnTo>
                      <a:pt x="7947" y="673"/>
                    </a:lnTo>
                    <a:lnTo>
                      <a:pt x="7922" y="706"/>
                    </a:lnTo>
                    <a:lnTo>
                      <a:pt x="7895" y="739"/>
                    </a:lnTo>
                    <a:lnTo>
                      <a:pt x="7868" y="771"/>
                    </a:lnTo>
                    <a:lnTo>
                      <a:pt x="7839" y="803"/>
                    </a:lnTo>
                    <a:lnTo>
                      <a:pt x="7810" y="835"/>
                    </a:lnTo>
                    <a:lnTo>
                      <a:pt x="7779" y="867"/>
                    </a:lnTo>
                    <a:lnTo>
                      <a:pt x="7747" y="899"/>
                    </a:lnTo>
                    <a:lnTo>
                      <a:pt x="7714" y="931"/>
                    </a:lnTo>
                    <a:lnTo>
                      <a:pt x="7679" y="963"/>
                    </a:lnTo>
                    <a:lnTo>
                      <a:pt x="7644" y="994"/>
                    </a:lnTo>
                    <a:lnTo>
                      <a:pt x="7607" y="1026"/>
                    </a:lnTo>
                    <a:lnTo>
                      <a:pt x="7569" y="1057"/>
                    </a:lnTo>
                    <a:lnTo>
                      <a:pt x="7530" y="1088"/>
                    </a:lnTo>
                    <a:lnTo>
                      <a:pt x="7490" y="1118"/>
                    </a:lnTo>
                    <a:lnTo>
                      <a:pt x="7450" y="1149"/>
                    </a:lnTo>
                    <a:lnTo>
                      <a:pt x="7408" y="1179"/>
                    </a:lnTo>
                    <a:lnTo>
                      <a:pt x="7364" y="1210"/>
                    </a:lnTo>
                    <a:lnTo>
                      <a:pt x="7320" y="1240"/>
                    </a:lnTo>
                    <a:lnTo>
                      <a:pt x="7275" y="1270"/>
                    </a:lnTo>
                    <a:lnTo>
                      <a:pt x="7228" y="1299"/>
                    </a:lnTo>
                    <a:lnTo>
                      <a:pt x="7182" y="1329"/>
                    </a:lnTo>
                    <a:lnTo>
                      <a:pt x="7133" y="1358"/>
                    </a:lnTo>
                    <a:lnTo>
                      <a:pt x="7084" y="1387"/>
                    </a:lnTo>
                    <a:lnTo>
                      <a:pt x="7033" y="1416"/>
                    </a:lnTo>
                    <a:lnTo>
                      <a:pt x="6982" y="1444"/>
                    </a:lnTo>
                    <a:lnTo>
                      <a:pt x="6929" y="1473"/>
                    </a:lnTo>
                    <a:lnTo>
                      <a:pt x="6877" y="1501"/>
                    </a:lnTo>
                    <a:lnTo>
                      <a:pt x="6822" y="1529"/>
                    </a:lnTo>
                    <a:lnTo>
                      <a:pt x="6766" y="1557"/>
                    </a:lnTo>
                    <a:lnTo>
                      <a:pt x="6711" y="1584"/>
                    </a:lnTo>
                    <a:lnTo>
                      <a:pt x="6653" y="1612"/>
                    </a:lnTo>
                    <a:lnTo>
                      <a:pt x="6595" y="1638"/>
                    </a:lnTo>
                    <a:lnTo>
                      <a:pt x="6537" y="1665"/>
                    </a:lnTo>
                    <a:lnTo>
                      <a:pt x="6476" y="1691"/>
                    </a:lnTo>
                    <a:lnTo>
                      <a:pt x="6415" y="1718"/>
                    </a:lnTo>
                    <a:lnTo>
                      <a:pt x="6354" y="1744"/>
                    </a:lnTo>
                    <a:lnTo>
                      <a:pt x="6290" y="1770"/>
                    </a:lnTo>
                    <a:lnTo>
                      <a:pt x="6227" y="1795"/>
                    </a:lnTo>
                    <a:lnTo>
                      <a:pt x="6163" y="1821"/>
                    </a:lnTo>
                    <a:lnTo>
                      <a:pt x="6098" y="1845"/>
                    </a:lnTo>
                    <a:lnTo>
                      <a:pt x="6032" y="1870"/>
                    </a:lnTo>
                    <a:lnTo>
                      <a:pt x="5965" y="1895"/>
                    </a:lnTo>
                    <a:lnTo>
                      <a:pt x="5897" y="1919"/>
                    </a:lnTo>
                    <a:lnTo>
                      <a:pt x="5828" y="1943"/>
                    </a:lnTo>
                    <a:lnTo>
                      <a:pt x="5757" y="1967"/>
                    </a:lnTo>
                    <a:lnTo>
                      <a:pt x="5687" y="1989"/>
                    </a:lnTo>
                    <a:lnTo>
                      <a:pt x="5616" y="2013"/>
                    </a:lnTo>
                    <a:lnTo>
                      <a:pt x="5544" y="2036"/>
                    </a:lnTo>
                    <a:lnTo>
                      <a:pt x="5471" y="2058"/>
                    </a:lnTo>
                    <a:lnTo>
                      <a:pt x="5398" y="2080"/>
                    </a:lnTo>
                    <a:lnTo>
                      <a:pt x="5324" y="2102"/>
                    </a:lnTo>
                    <a:lnTo>
                      <a:pt x="5248" y="2124"/>
                    </a:lnTo>
                    <a:lnTo>
                      <a:pt x="5096" y="2165"/>
                    </a:lnTo>
                    <a:lnTo>
                      <a:pt x="4940" y="2207"/>
                    </a:lnTo>
                    <a:lnTo>
                      <a:pt x="4781" y="2247"/>
                    </a:lnTo>
                    <a:lnTo>
                      <a:pt x="4620" y="2285"/>
                    </a:lnTo>
                    <a:lnTo>
                      <a:pt x="4455" y="2323"/>
                    </a:lnTo>
                    <a:lnTo>
                      <a:pt x="4288" y="2358"/>
                    </a:lnTo>
                    <a:lnTo>
                      <a:pt x="4119" y="2392"/>
                    </a:lnTo>
                    <a:lnTo>
                      <a:pt x="3945" y="2426"/>
                    </a:lnTo>
                    <a:lnTo>
                      <a:pt x="3771" y="2457"/>
                    </a:lnTo>
                    <a:lnTo>
                      <a:pt x="3593" y="2487"/>
                    </a:lnTo>
                    <a:lnTo>
                      <a:pt x="3414" y="2516"/>
                    </a:lnTo>
                    <a:lnTo>
                      <a:pt x="3231" y="2544"/>
                    </a:lnTo>
                    <a:lnTo>
                      <a:pt x="3047" y="2570"/>
                    </a:lnTo>
                    <a:lnTo>
                      <a:pt x="2860" y="2594"/>
                    </a:lnTo>
                    <a:lnTo>
                      <a:pt x="2672" y="2617"/>
                    </a:lnTo>
                    <a:lnTo>
                      <a:pt x="2481" y="2638"/>
                    </a:lnTo>
                    <a:lnTo>
                      <a:pt x="2287" y="2658"/>
                    </a:lnTo>
                    <a:lnTo>
                      <a:pt x="2092" y="2676"/>
                    </a:lnTo>
                    <a:lnTo>
                      <a:pt x="1895" y="2692"/>
                    </a:lnTo>
                    <a:lnTo>
                      <a:pt x="1698" y="2708"/>
                    </a:lnTo>
                    <a:lnTo>
                      <a:pt x="1497" y="2721"/>
                    </a:lnTo>
                    <a:lnTo>
                      <a:pt x="1295" y="2733"/>
                    </a:lnTo>
                    <a:lnTo>
                      <a:pt x="1090" y="2742"/>
                    </a:lnTo>
                    <a:lnTo>
                      <a:pt x="885" y="2750"/>
                    </a:lnTo>
                    <a:lnTo>
                      <a:pt x="678" y="2756"/>
                    </a:lnTo>
                    <a:lnTo>
                      <a:pt x="470" y="2761"/>
                    </a:lnTo>
                    <a:lnTo>
                      <a:pt x="261" y="2764"/>
                    </a:lnTo>
                    <a:lnTo>
                      <a:pt x="50" y="2765"/>
                    </a:lnTo>
                    <a:lnTo>
                      <a:pt x="50" y="2765"/>
                    </a:lnTo>
                    <a:lnTo>
                      <a:pt x="50" y="2765"/>
                    </a:lnTo>
                    <a:lnTo>
                      <a:pt x="43" y="2765"/>
                    </a:lnTo>
                    <a:lnTo>
                      <a:pt x="38" y="2766"/>
                    </a:lnTo>
                    <a:lnTo>
                      <a:pt x="33" y="2767"/>
                    </a:lnTo>
                    <a:lnTo>
                      <a:pt x="28" y="2769"/>
                    </a:lnTo>
                    <a:lnTo>
                      <a:pt x="23" y="2771"/>
                    </a:lnTo>
                    <a:lnTo>
                      <a:pt x="19" y="2774"/>
                    </a:lnTo>
                    <a:lnTo>
                      <a:pt x="15" y="2777"/>
                    </a:lnTo>
                    <a:lnTo>
                      <a:pt x="12" y="2780"/>
                    </a:lnTo>
                    <a:lnTo>
                      <a:pt x="6" y="2787"/>
                    </a:lnTo>
                    <a:lnTo>
                      <a:pt x="3" y="2797"/>
                    </a:lnTo>
                    <a:lnTo>
                      <a:pt x="0" y="2805"/>
                    </a:lnTo>
                    <a:lnTo>
                      <a:pt x="0" y="2814"/>
                    </a:lnTo>
                    <a:lnTo>
                      <a:pt x="0" y="2825"/>
                    </a:lnTo>
                    <a:lnTo>
                      <a:pt x="3" y="2833"/>
                    </a:lnTo>
                    <a:lnTo>
                      <a:pt x="6" y="2842"/>
                    </a:lnTo>
                    <a:lnTo>
                      <a:pt x="12" y="2849"/>
                    </a:lnTo>
                    <a:lnTo>
                      <a:pt x="15" y="2853"/>
                    </a:lnTo>
                    <a:lnTo>
                      <a:pt x="19" y="2856"/>
                    </a:lnTo>
                    <a:lnTo>
                      <a:pt x="23" y="2859"/>
                    </a:lnTo>
                    <a:lnTo>
                      <a:pt x="28" y="2861"/>
                    </a:lnTo>
                    <a:lnTo>
                      <a:pt x="33" y="2863"/>
                    </a:lnTo>
                    <a:lnTo>
                      <a:pt x="38" y="2864"/>
                    </a:lnTo>
                    <a:lnTo>
                      <a:pt x="43" y="2865"/>
                    </a:lnTo>
                    <a:lnTo>
                      <a:pt x="50"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05" name="Freeform 246"/>
              <p:cNvSpPr>
                <a:spLocks/>
              </p:cNvSpPr>
              <p:nvPr>
                <p:custDataLst>
                  <p:tags r:id="rId58"/>
                </p:custDataLst>
              </p:nvPr>
            </p:nvSpPr>
            <p:spPr bwMode="auto">
              <a:xfrm>
                <a:off x="369" y="3627"/>
                <a:ext cx="359" cy="117"/>
              </a:xfrm>
              <a:custGeom>
                <a:avLst/>
                <a:gdLst>
                  <a:gd name="T0" fmla="*/ 3 w 8246"/>
                  <a:gd name="T1" fmla="*/ 127 h 2915"/>
                  <a:gd name="T2" fmla="*/ 25 w 8246"/>
                  <a:gd name="T3" fmla="*/ 278 h 2915"/>
                  <a:gd name="T4" fmla="*/ 69 w 8246"/>
                  <a:gd name="T5" fmla="*/ 426 h 2915"/>
                  <a:gd name="T6" fmla="*/ 134 w 8246"/>
                  <a:gd name="T7" fmla="*/ 572 h 2915"/>
                  <a:gd name="T8" fmla="*/ 219 w 8246"/>
                  <a:gd name="T9" fmla="*/ 713 h 2915"/>
                  <a:gd name="T10" fmla="*/ 323 w 8246"/>
                  <a:gd name="T11" fmla="*/ 852 h 2915"/>
                  <a:gd name="T12" fmla="*/ 445 w 8246"/>
                  <a:gd name="T13" fmla="*/ 988 h 2915"/>
                  <a:gd name="T14" fmla="*/ 586 w 8246"/>
                  <a:gd name="T15" fmla="*/ 1120 h 2915"/>
                  <a:gd name="T16" fmla="*/ 744 w 8246"/>
                  <a:gd name="T17" fmla="*/ 1249 h 2915"/>
                  <a:gd name="T18" fmla="*/ 919 w 8246"/>
                  <a:gd name="T19" fmla="*/ 1373 h 2915"/>
                  <a:gd name="T20" fmla="*/ 1111 w 8246"/>
                  <a:gd name="T21" fmla="*/ 1494 h 2915"/>
                  <a:gd name="T22" fmla="*/ 1318 w 8246"/>
                  <a:gd name="T23" fmla="*/ 1611 h 2915"/>
                  <a:gd name="T24" fmla="*/ 1541 w 8246"/>
                  <a:gd name="T25" fmla="*/ 1725 h 2915"/>
                  <a:gd name="T26" fmla="*/ 1779 w 8246"/>
                  <a:gd name="T27" fmla="*/ 1833 h 2915"/>
                  <a:gd name="T28" fmla="*/ 2030 w 8246"/>
                  <a:gd name="T29" fmla="*/ 1939 h 2915"/>
                  <a:gd name="T30" fmla="*/ 2297 w 8246"/>
                  <a:gd name="T31" fmla="*/ 2039 h 2915"/>
                  <a:gd name="T32" fmla="*/ 2577 w 8246"/>
                  <a:gd name="T33" fmla="*/ 2135 h 2915"/>
                  <a:gd name="T34" fmla="*/ 2869 w 8246"/>
                  <a:gd name="T35" fmla="*/ 2227 h 2915"/>
                  <a:gd name="T36" fmla="*/ 3331 w 8246"/>
                  <a:gd name="T37" fmla="*/ 2354 h 2915"/>
                  <a:gd name="T38" fmla="*/ 3987 w 8246"/>
                  <a:gd name="T39" fmla="*/ 2506 h 2915"/>
                  <a:gd name="T40" fmla="*/ 4686 w 8246"/>
                  <a:gd name="T41" fmla="*/ 2637 h 2915"/>
                  <a:gd name="T42" fmla="*/ 5422 w 8246"/>
                  <a:gd name="T43" fmla="*/ 2744 h 2915"/>
                  <a:gd name="T44" fmla="*/ 6193 w 8246"/>
                  <a:gd name="T45" fmla="*/ 2826 h 2915"/>
                  <a:gd name="T46" fmla="*/ 6995 w 8246"/>
                  <a:gd name="T47" fmla="*/ 2882 h 2915"/>
                  <a:gd name="T48" fmla="*/ 7823 w 8246"/>
                  <a:gd name="T49" fmla="*/ 2911 h 2915"/>
                  <a:gd name="T50" fmla="*/ 8034 w 8246"/>
                  <a:gd name="T51" fmla="*/ 2814 h 2915"/>
                  <a:gd name="T52" fmla="*/ 7205 w 8246"/>
                  <a:gd name="T53" fmla="*/ 2792 h 2915"/>
                  <a:gd name="T54" fmla="*/ 6400 w 8246"/>
                  <a:gd name="T55" fmla="*/ 2742 h 2915"/>
                  <a:gd name="T56" fmla="*/ 5623 w 8246"/>
                  <a:gd name="T57" fmla="*/ 2667 h 2915"/>
                  <a:gd name="T58" fmla="*/ 4881 w 8246"/>
                  <a:gd name="T59" fmla="*/ 2566 h 2915"/>
                  <a:gd name="T60" fmla="*/ 4176 w 8246"/>
                  <a:gd name="T61" fmla="*/ 2442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2 h 2915"/>
                  <a:gd name="T76" fmla="*/ 1418 w 8246"/>
                  <a:gd name="T77" fmla="*/ 1551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8 h 2915"/>
                  <a:gd name="T94" fmla="*/ 175 w 8246"/>
                  <a:gd name="T95" fmla="*/ 425 h 2915"/>
                  <a:gd name="T96" fmla="*/ 131 w 8246"/>
                  <a:gd name="T97" fmla="*/ 290 h 2915"/>
                  <a:gd name="T98" fmla="*/ 106 w 8246"/>
                  <a:gd name="T99" fmla="*/ 154 h 2915"/>
                  <a:gd name="T100" fmla="*/ 100 w 8246"/>
                  <a:gd name="T101" fmla="*/ 50 h 2915"/>
                  <a:gd name="T102" fmla="*/ 98 w 8246"/>
                  <a:gd name="T103" fmla="*/ 33 h 2915"/>
                  <a:gd name="T104" fmla="*/ 88 w 8246"/>
                  <a:gd name="T105" fmla="*/ 16 h 2915"/>
                  <a:gd name="T106" fmla="*/ 60 w 8246"/>
                  <a:gd name="T107" fmla="*/ 0 h 2915"/>
                  <a:gd name="T108" fmla="*/ 23 w 8246"/>
                  <a:gd name="T109" fmla="*/ 8 h 2915"/>
                  <a:gd name="T110" fmla="*/ 6 w 8246"/>
                  <a:gd name="T111" fmla="*/ 24 h 2915"/>
                  <a:gd name="T112" fmla="*/ 0 w 8246"/>
                  <a:gd name="T113" fmla="*/ 44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0"/>
                    </a:moveTo>
                    <a:lnTo>
                      <a:pt x="0" y="50"/>
                    </a:lnTo>
                    <a:lnTo>
                      <a:pt x="1" y="88"/>
                    </a:lnTo>
                    <a:lnTo>
                      <a:pt x="3" y="127"/>
                    </a:lnTo>
                    <a:lnTo>
                      <a:pt x="6" y="165"/>
                    </a:lnTo>
                    <a:lnTo>
                      <a:pt x="11" y="202"/>
                    </a:lnTo>
                    <a:lnTo>
                      <a:pt x="18" y="240"/>
                    </a:lnTo>
                    <a:lnTo>
                      <a:pt x="25" y="278"/>
                    </a:lnTo>
                    <a:lnTo>
                      <a:pt x="34" y="315"/>
                    </a:lnTo>
                    <a:lnTo>
                      <a:pt x="44" y="352"/>
                    </a:lnTo>
                    <a:lnTo>
                      <a:pt x="56" y="390"/>
                    </a:lnTo>
                    <a:lnTo>
                      <a:pt x="69" y="426"/>
                    </a:lnTo>
                    <a:lnTo>
                      <a:pt x="83" y="463"/>
                    </a:lnTo>
                    <a:lnTo>
                      <a:pt x="99" y="499"/>
                    </a:lnTo>
                    <a:lnTo>
                      <a:pt x="115" y="535"/>
                    </a:lnTo>
                    <a:lnTo>
                      <a:pt x="134" y="572"/>
                    </a:lnTo>
                    <a:lnTo>
                      <a:pt x="154" y="608"/>
                    </a:lnTo>
                    <a:lnTo>
                      <a:pt x="174" y="643"/>
                    </a:lnTo>
                    <a:lnTo>
                      <a:pt x="196" y="678"/>
                    </a:lnTo>
                    <a:lnTo>
                      <a:pt x="219" y="713"/>
                    </a:lnTo>
                    <a:lnTo>
                      <a:pt x="243" y="749"/>
                    </a:lnTo>
                    <a:lnTo>
                      <a:pt x="268" y="784"/>
                    </a:lnTo>
                    <a:lnTo>
                      <a:pt x="295" y="818"/>
                    </a:lnTo>
                    <a:lnTo>
                      <a:pt x="323" y="852"/>
                    </a:lnTo>
                    <a:lnTo>
                      <a:pt x="351" y="887"/>
                    </a:lnTo>
                    <a:lnTo>
                      <a:pt x="381" y="920"/>
                    </a:lnTo>
                    <a:lnTo>
                      <a:pt x="413" y="955"/>
                    </a:lnTo>
                    <a:lnTo>
                      <a:pt x="445" y="988"/>
                    </a:lnTo>
                    <a:lnTo>
                      <a:pt x="479" y="1021"/>
                    </a:lnTo>
                    <a:lnTo>
                      <a:pt x="513" y="1054"/>
                    </a:lnTo>
                    <a:lnTo>
                      <a:pt x="549" y="1087"/>
                    </a:lnTo>
                    <a:lnTo>
                      <a:pt x="586" y="1120"/>
                    </a:lnTo>
                    <a:lnTo>
                      <a:pt x="624" y="1152"/>
                    </a:lnTo>
                    <a:lnTo>
                      <a:pt x="663" y="1184"/>
                    </a:lnTo>
                    <a:lnTo>
                      <a:pt x="703" y="1217"/>
                    </a:lnTo>
                    <a:lnTo>
                      <a:pt x="744" y="1249"/>
                    </a:lnTo>
                    <a:lnTo>
                      <a:pt x="786" y="1280"/>
                    </a:lnTo>
                    <a:lnTo>
                      <a:pt x="830" y="1311"/>
                    </a:lnTo>
                    <a:lnTo>
                      <a:pt x="874" y="1342"/>
                    </a:lnTo>
                    <a:lnTo>
                      <a:pt x="919" y="1373"/>
                    </a:lnTo>
                    <a:lnTo>
                      <a:pt x="966" y="1404"/>
                    </a:lnTo>
                    <a:lnTo>
                      <a:pt x="1013" y="1434"/>
                    </a:lnTo>
                    <a:lnTo>
                      <a:pt x="1062" y="1464"/>
                    </a:lnTo>
                    <a:lnTo>
                      <a:pt x="1111" y="1494"/>
                    </a:lnTo>
                    <a:lnTo>
                      <a:pt x="1162" y="1524"/>
                    </a:lnTo>
                    <a:lnTo>
                      <a:pt x="1212" y="1553"/>
                    </a:lnTo>
                    <a:lnTo>
                      <a:pt x="1265" y="1582"/>
                    </a:lnTo>
                    <a:lnTo>
                      <a:pt x="1318" y="1611"/>
                    </a:lnTo>
                    <a:lnTo>
                      <a:pt x="1373" y="1640"/>
                    </a:lnTo>
                    <a:lnTo>
                      <a:pt x="1428" y="1669"/>
                    </a:lnTo>
                    <a:lnTo>
                      <a:pt x="1484" y="1697"/>
                    </a:lnTo>
                    <a:lnTo>
                      <a:pt x="1541" y="1725"/>
                    </a:lnTo>
                    <a:lnTo>
                      <a:pt x="1600" y="1752"/>
                    </a:lnTo>
                    <a:lnTo>
                      <a:pt x="1658" y="1780"/>
                    </a:lnTo>
                    <a:lnTo>
                      <a:pt x="1718" y="1806"/>
                    </a:lnTo>
                    <a:lnTo>
                      <a:pt x="1779" y="1833"/>
                    </a:lnTo>
                    <a:lnTo>
                      <a:pt x="1841" y="1860"/>
                    </a:lnTo>
                    <a:lnTo>
                      <a:pt x="1904" y="1886"/>
                    </a:lnTo>
                    <a:lnTo>
                      <a:pt x="1967" y="1913"/>
                    </a:lnTo>
                    <a:lnTo>
                      <a:pt x="2030" y="1939"/>
                    </a:lnTo>
                    <a:lnTo>
                      <a:pt x="2096" y="1964"/>
                    </a:lnTo>
                    <a:lnTo>
                      <a:pt x="2162" y="1990"/>
                    </a:lnTo>
                    <a:lnTo>
                      <a:pt x="2229" y="2015"/>
                    </a:lnTo>
                    <a:lnTo>
                      <a:pt x="2297" y="2039"/>
                    </a:lnTo>
                    <a:lnTo>
                      <a:pt x="2365" y="2063"/>
                    </a:lnTo>
                    <a:lnTo>
                      <a:pt x="2436" y="2088"/>
                    </a:lnTo>
                    <a:lnTo>
                      <a:pt x="2506" y="2112"/>
                    </a:lnTo>
                    <a:lnTo>
                      <a:pt x="2577" y="2135"/>
                    </a:lnTo>
                    <a:lnTo>
                      <a:pt x="2649" y="2158"/>
                    </a:lnTo>
                    <a:lnTo>
                      <a:pt x="2721" y="2181"/>
                    </a:lnTo>
                    <a:lnTo>
                      <a:pt x="2794" y="2204"/>
                    </a:lnTo>
                    <a:lnTo>
                      <a:pt x="2869" y="2227"/>
                    </a:lnTo>
                    <a:lnTo>
                      <a:pt x="2944" y="2248"/>
                    </a:lnTo>
                    <a:lnTo>
                      <a:pt x="3020" y="2270"/>
                    </a:lnTo>
                    <a:lnTo>
                      <a:pt x="3173" y="2313"/>
                    </a:lnTo>
                    <a:lnTo>
                      <a:pt x="3331" y="2354"/>
                    </a:lnTo>
                    <a:lnTo>
                      <a:pt x="3491" y="2394"/>
                    </a:lnTo>
                    <a:lnTo>
                      <a:pt x="3653" y="2433"/>
                    </a:lnTo>
                    <a:lnTo>
                      <a:pt x="3819" y="2470"/>
                    </a:lnTo>
                    <a:lnTo>
                      <a:pt x="3987" y="2506"/>
                    </a:lnTo>
                    <a:lnTo>
                      <a:pt x="4158" y="2541"/>
                    </a:lnTo>
                    <a:lnTo>
                      <a:pt x="4331" y="2574"/>
                    </a:lnTo>
                    <a:lnTo>
                      <a:pt x="4507" y="2607"/>
                    </a:lnTo>
                    <a:lnTo>
                      <a:pt x="4686" y="2637"/>
                    </a:lnTo>
                    <a:lnTo>
                      <a:pt x="4866" y="2666"/>
                    </a:lnTo>
                    <a:lnTo>
                      <a:pt x="5049" y="2694"/>
                    </a:lnTo>
                    <a:lnTo>
                      <a:pt x="5235" y="2719"/>
                    </a:lnTo>
                    <a:lnTo>
                      <a:pt x="5422" y="2744"/>
                    </a:lnTo>
                    <a:lnTo>
                      <a:pt x="5612" y="2767"/>
                    </a:lnTo>
                    <a:lnTo>
                      <a:pt x="5804" y="2788"/>
                    </a:lnTo>
                    <a:lnTo>
                      <a:pt x="5998" y="2807"/>
                    </a:lnTo>
                    <a:lnTo>
                      <a:pt x="6193" y="2826"/>
                    </a:lnTo>
                    <a:lnTo>
                      <a:pt x="6391" y="2843"/>
                    </a:lnTo>
                    <a:lnTo>
                      <a:pt x="6591" y="2858"/>
                    </a:lnTo>
                    <a:lnTo>
                      <a:pt x="6792" y="2870"/>
                    </a:lnTo>
                    <a:lnTo>
                      <a:pt x="6995" y="2882"/>
                    </a:lnTo>
                    <a:lnTo>
                      <a:pt x="7200" y="2892"/>
                    </a:lnTo>
                    <a:lnTo>
                      <a:pt x="7407" y="2901"/>
                    </a:lnTo>
                    <a:lnTo>
                      <a:pt x="7614" y="2907"/>
                    </a:lnTo>
                    <a:lnTo>
                      <a:pt x="7823" y="2911"/>
                    </a:lnTo>
                    <a:lnTo>
                      <a:pt x="8034" y="2914"/>
                    </a:lnTo>
                    <a:lnTo>
                      <a:pt x="8246" y="2915"/>
                    </a:lnTo>
                    <a:lnTo>
                      <a:pt x="8246" y="2815"/>
                    </a:lnTo>
                    <a:lnTo>
                      <a:pt x="8034" y="2814"/>
                    </a:lnTo>
                    <a:lnTo>
                      <a:pt x="7825" y="2811"/>
                    </a:lnTo>
                    <a:lnTo>
                      <a:pt x="7617" y="2806"/>
                    </a:lnTo>
                    <a:lnTo>
                      <a:pt x="7410" y="2800"/>
                    </a:lnTo>
                    <a:lnTo>
                      <a:pt x="7205" y="2792"/>
                    </a:lnTo>
                    <a:lnTo>
                      <a:pt x="7000" y="2783"/>
                    </a:lnTo>
                    <a:lnTo>
                      <a:pt x="6798" y="2771"/>
                    </a:lnTo>
                    <a:lnTo>
                      <a:pt x="6597" y="2758"/>
                    </a:lnTo>
                    <a:lnTo>
                      <a:pt x="6400" y="2742"/>
                    </a:lnTo>
                    <a:lnTo>
                      <a:pt x="6203" y="2726"/>
                    </a:lnTo>
                    <a:lnTo>
                      <a:pt x="6008" y="2708"/>
                    </a:lnTo>
                    <a:lnTo>
                      <a:pt x="5814" y="2688"/>
                    </a:lnTo>
                    <a:lnTo>
                      <a:pt x="5623" y="2667"/>
                    </a:lnTo>
                    <a:lnTo>
                      <a:pt x="5435" y="2644"/>
                    </a:lnTo>
                    <a:lnTo>
                      <a:pt x="5248" y="2620"/>
                    </a:lnTo>
                    <a:lnTo>
                      <a:pt x="5064" y="2594"/>
                    </a:lnTo>
                    <a:lnTo>
                      <a:pt x="4881" y="2566"/>
                    </a:lnTo>
                    <a:lnTo>
                      <a:pt x="4702" y="2537"/>
                    </a:lnTo>
                    <a:lnTo>
                      <a:pt x="4524" y="2507"/>
                    </a:lnTo>
                    <a:lnTo>
                      <a:pt x="4350" y="2476"/>
                    </a:lnTo>
                    <a:lnTo>
                      <a:pt x="4176" y="2442"/>
                    </a:lnTo>
                    <a:lnTo>
                      <a:pt x="4007" y="2408"/>
                    </a:lnTo>
                    <a:lnTo>
                      <a:pt x="3839" y="2373"/>
                    </a:lnTo>
                    <a:lnTo>
                      <a:pt x="3675" y="2335"/>
                    </a:lnTo>
                    <a:lnTo>
                      <a:pt x="3514" y="2297"/>
                    </a:lnTo>
                    <a:lnTo>
                      <a:pt x="3355" y="2257"/>
                    </a:lnTo>
                    <a:lnTo>
                      <a:pt x="3199" y="2215"/>
                    </a:lnTo>
                    <a:lnTo>
                      <a:pt x="3047" y="2174"/>
                    </a:lnTo>
                    <a:lnTo>
                      <a:pt x="2971" y="2152"/>
                    </a:lnTo>
                    <a:lnTo>
                      <a:pt x="2897" y="2130"/>
                    </a:lnTo>
                    <a:lnTo>
                      <a:pt x="2824" y="2108"/>
                    </a:lnTo>
                    <a:lnTo>
                      <a:pt x="2751" y="2086"/>
                    </a:lnTo>
                    <a:lnTo>
                      <a:pt x="2679" y="2063"/>
                    </a:lnTo>
                    <a:lnTo>
                      <a:pt x="2608" y="2039"/>
                    </a:lnTo>
                    <a:lnTo>
                      <a:pt x="2538" y="2017"/>
                    </a:lnTo>
                    <a:lnTo>
                      <a:pt x="2467" y="1993"/>
                    </a:lnTo>
                    <a:lnTo>
                      <a:pt x="2398" y="1969"/>
                    </a:lnTo>
                    <a:lnTo>
                      <a:pt x="2330" y="1945"/>
                    </a:lnTo>
                    <a:lnTo>
                      <a:pt x="2263" y="1920"/>
                    </a:lnTo>
                    <a:lnTo>
                      <a:pt x="2197" y="1895"/>
                    </a:lnTo>
                    <a:lnTo>
                      <a:pt x="2132" y="1871"/>
                    </a:lnTo>
                    <a:lnTo>
                      <a:pt x="2068" y="1845"/>
                    </a:lnTo>
                    <a:lnTo>
                      <a:pt x="2004" y="1820"/>
                    </a:lnTo>
                    <a:lnTo>
                      <a:pt x="1941" y="1794"/>
                    </a:lnTo>
                    <a:lnTo>
                      <a:pt x="1880" y="1768"/>
                    </a:lnTo>
                    <a:lnTo>
                      <a:pt x="1819" y="1741"/>
                    </a:lnTo>
                    <a:lnTo>
                      <a:pt x="1758" y="1715"/>
                    </a:lnTo>
                    <a:lnTo>
                      <a:pt x="1700" y="1688"/>
                    </a:lnTo>
                    <a:lnTo>
                      <a:pt x="1642" y="1662"/>
                    </a:lnTo>
                    <a:lnTo>
                      <a:pt x="1584" y="1634"/>
                    </a:lnTo>
                    <a:lnTo>
                      <a:pt x="1529" y="1607"/>
                    </a:lnTo>
                    <a:lnTo>
                      <a:pt x="1473" y="1579"/>
                    </a:lnTo>
                    <a:lnTo>
                      <a:pt x="1418" y="1551"/>
                    </a:lnTo>
                    <a:lnTo>
                      <a:pt x="1366" y="1523"/>
                    </a:lnTo>
                    <a:lnTo>
                      <a:pt x="1313" y="1494"/>
                    </a:lnTo>
                    <a:lnTo>
                      <a:pt x="1262" y="1466"/>
                    </a:lnTo>
                    <a:lnTo>
                      <a:pt x="1211" y="1437"/>
                    </a:lnTo>
                    <a:lnTo>
                      <a:pt x="1162" y="1408"/>
                    </a:lnTo>
                    <a:lnTo>
                      <a:pt x="1113" y="1379"/>
                    </a:lnTo>
                    <a:lnTo>
                      <a:pt x="1066" y="1349"/>
                    </a:lnTo>
                    <a:lnTo>
                      <a:pt x="1020" y="1320"/>
                    </a:lnTo>
                    <a:lnTo>
                      <a:pt x="975" y="1290"/>
                    </a:lnTo>
                    <a:lnTo>
                      <a:pt x="931" y="1260"/>
                    </a:lnTo>
                    <a:lnTo>
                      <a:pt x="887" y="1229"/>
                    </a:lnTo>
                    <a:lnTo>
                      <a:pt x="845" y="1199"/>
                    </a:lnTo>
                    <a:lnTo>
                      <a:pt x="804" y="1168"/>
                    </a:lnTo>
                    <a:lnTo>
                      <a:pt x="765" y="1138"/>
                    </a:lnTo>
                    <a:lnTo>
                      <a:pt x="726" y="1107"/>
                    </a:lnTo>
                    <a:lnTo>
                      <a:pt x="688" y="1076"/>
                    </a:lnTo>
                    <a:lnTo>
                      <a:pt x="651" y="1044"/>
                    </a:lnTo>
                    <a:lnTo>
                      <a:pt x="616" y="1013"/>
                    </a:lnTo>
                    <a:lnTo>
                      <a:pt x="581" y="981"/>
                    </a:lnTo>
                    <a:lnTo>
                      <a:pt x="548" y="949"/>
                    </a:lnTo>
                    <a:lnTo>
                      <a:pt x="516" y="917"/>
                    </a:lnTo>
                    <a:lnTo>
                      <a:pt x="485" y="885"/>
                    </a:lnTo>
                    <a:lnTo>
                      <a:pt x="456" y="853"/>
                    </a:lnTo>
                    <a:lnTo>
                      <a:pt x="427" y="821"/>
                    </a:lnTo>
                    <a:lnTo>
                      <a:pt x="400" y="789"/>
                    </a:lnTo>
                    <a:lnTo>
                      <a:pt x="373" y="756"/>
                    </a:lnTo>
                    <a:lnTo>
                      <a:pt x="348" y="724"/>
                    </a:lnTo>
                    <a:lnTo>
                      <a:pt x="324" y="691"/>
                    </a:lnTo>
                    <a:lnTo>
                      <a:pt x="301" y="658"/>
                    </a:lnTo>
                    <a:lnTo>
                      <a:pt x="280" y="624"/>
                    </a:lnTo>
                    <a:lnTo>
                      <a:pt x="260" y="591"/>
                    </a:lnTo>
                    <a:lnTo>
                      <a:pt x="240" y="558"/>
                    </a:lnTo>
                    <a:lnTo>
                      <a:pt x="223" y="525"/>
                    </a:lnTo>
                    <a:lnTo>
                      <a:pt x="205" y="492"/>
                    </a:lnTo>
                    <a:lnTo>
                      <a:pt x="190" y="459"/>
                    </a:lnTo>
                    <a:lnTo>
                      <a:pt x="175" y="425"/>
                    </a:lnTo>
                    <a:lnTo>
                      <a:pt x="163" y="392"/>
                    </a:lnTo>
                    <a:lnTo>
                      <a:pt x="150" y="357"/>
                    </a:lnTo>
                    <a:lnTo>
                      <a:pt x="140" y="324"/>
                    </a:lnTo>
                    <a:lnTo>
                      <a:pt x="131" y="290"/>
                    </a:lnTo>
                    <a:lnTo>
                      <a:pt x="123" y="256"/>
                    </a:lnTo>
                    <a:lnTo>
                      <a:pt x="115" y="222"/>
                    </a:lnTo>
                    <a:lnTo>
                      <a:pt x="110" y="188"/>
                    </a:lnTo>
                    <a:lnTo>
                      <a:pt x="106" y="154"/>
                    </a:lnTo>
                    <a:lnTo>
                      <a:pt x="102" y="119"/>
                    </a:lnTo>
                    <a:lnTo>
                      <a:pt x="101" y="85"/>
                    </a:lnTo>
                    <a:lnTo>
                      <a:pt x="100" y="50"/>
                    </a:lnTo>
                    <a:lnTo>
                      <a:pt x="100" y="50"/>
                    </a:lnTo>
                    <a:lnTo>
                      <a:pt x="100" y="50"/>
                    </a:lnTo>
                    <a:lnTo>
                      <a:pt x="100" y="44"/>
                    </a:lnTo>
                    <a:lnTo>
                      <a:pt x="99" y="39"/>
                    </a:lnTo>
                    <a:lnTo>
                      <a:pt x="98" y="33"/>
                    </a:lnTo>
                    <a:lnTo>
                      <a:pt x="96" y="28"/>
                    </a:lnTo>
                    <a:lnTo>
                      <a:pt x="94" y="24"/>
                    </a:lnTo>
                    <a:lnTo>
                      <a:pt x="91" y="20"/>
                    </a:lnTo>
                    <a:lnTo>
                      <a:pt x="88" y="16"/>
                    </a:lnTo>
                    <a:lnTo>
                      <a:pt x="85" y="13"/>
                    </a:lnTo>
                    <a:lnTo>
                      <a:pt x="77" y="8"/>
                    </a:lnTo>
                    <a:lnTo>
                      <a:pt x="68" y="3"/>
                    </a:lnTo>
                    <a:lnTo>
                      <a:pt x="60" y="0"/>
                    </a:lnTo>
                    <a:lnTo>
                      <a:pt x="51" y="0"/>
                    </a:lnTo>
                    <a:lnTo>
                      <a:pt x="40" y="0"/>
                    </a:lnTo>
                    <a:lnTo>
                      <a:pt x="32" y="3"/>
                    </a:lnTo>
                    <a:lnTo>
                      <a:pt x="23" y="8"/>
                    </a:lnTo>
                    <a:lnTo>
                      <a:pt x="15" y="13"/>
                    </a:lnTo>
                    <a:lnTo>
                      <a:pt x="12" y="16"/>
                    </a:lnTo>
                    <a:lnTo>
                      <a:pt x="9" y="20"/>
                    </a:lnTo>
                    <a:lnTo>
                      <a:pt x="6" y="24"/>
                    </a:lnTo>
                    <a:lnTo>
                      <a:pt x="4" y="28"/>
                    </a:lnTo>
                    <a:lnTo>
                      <a:pt x="2" y="33"/>
                    </a:lnTo>
                    <a:lnTo>
                      <a:pt x="1" y="39"/>
                    </a:lnTo>
                    <a:lnTo>
                      <a:pt x="0" y="44"/>
                    </a:lnTo>
                    <a:lnTo>
                      <a:pt x="0" y="5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06" name="Freeform 247"/>
              <p:cNvSpPr>
                <a:spLocks/>
              </p:cNvSpPr>
              <p:nvPr>
                <p:custDataLst>
                  <p:tags r:id="rId59"/>
                </p:custDataLst>
              </p:nvPr>
            </p:nvSpPr>
            <p:spPr bwMode="auto">
              <a:xfrm>
                <a:off x="369" y="3515"/>
                <a:ext cx="361" cy="114"/>
              </a:xfrm>
              <a:custGeom>
                <a:avLst/>
                <a:gdLst>
                  <a:gd name="T0" fmla="*/ 7823 w 8296"/>
                  <a:gd name="T1" fmla="*/ 3 h 2864"/>
                  <a:gd name="T2" fmla="*/ 6995 w 8296"/>
                  <a:gd name="T3" fmla="*/ 32 h 2864"/>
                  <a:gd name="T4" fmla="*/ 6193 w 8296"/>
                  <a:gd name="T5" fmla="*/ 88 h 2864"/>
                  <a:gd name="T6" fmla="*/ 5422 w 8296"/>
                  <a:gd name="T7" fmla="*/ 171 h 2864"/>
                  <a:gd name="T8" fmla="*/ 4686 w 8296"/>
                  <a:gd name="T9" fmla="*/ 279 h 2864"/>
                  <a:gd name="T10" fmla="*/ 3987 w 8296"/>
                  <a:gd name="T11" fmla="*/ 409 h 2864"/>
                  <a:gd name="T12" fmla="*/ 3331 w 8296"/>
                  <a:gd name="T13" fmla="*/ 561 h 2864"/>
                  <a:gd name="T14" fmla="*/ 2721 w 8296"/>
                  <a:gd name="T15" fmla="*/ 734 h 2864"/>
                  <a:gd name="T16" fmla="*/ 2436 w 8296"/>
                  <a:gd name="T17" fmla="*/ 827 h 2864"/>
                  <a:gd name="T18" fmla="*/ 2162 w 8296"/>
                  <a:gd name="T19" fmla="*/ 925 h 2864"/>
                  <a:gd name="T20" fmla="*/ 1904 w 8296"/>
                  <a:gd name="T21" fmla="*/ 1028 h 2864"/>
                  <a:gd name="T22" fmla="*/ 1658 w 8296"/>
                  <a:gd name="T23" fmla="*/ 1136 h 2864"/>
                  <a:gd name="T24" fmla="*/ 1428 w 8296"/>
                  <a:gd name="T25" fmla="*/ 1246 h 2864"/>
                  <a:gd name="T26" fmla="*/ 1212 w 8296"/>
                  <a:gd name="T27" fmla="*/ 1361 h 2864"/>
                  <a:gd name="T28" fmla="*/ 1013 w 8296"/>
                  <a:gd name="T29" fmla="*/ 1481 h 2864"/>
                  <a:gd name="T30" fmla="*/ 830 w 8296"/>
                  <a:gd name="T31" fmla="*/ 1603 h 2864"/>
                  <a:gd name="T32" fmla="*/ 663 w 8296"/>
                  <a:gd name="T33" fmla="*/ 1730 h 2864"/>
                  <a:gd name="T34" fmla="*/ 513 w 8296"/>
                  <a:gd name="T35" fmla="*/ 1860 h 2864"/>
                  <a:gd name="T36" fmla="*/ 381 w 8296"/>
                  <a:gd name="T37" fmla="*/ 1994 h 2864"/>
                  <a:gd name="T38" fmla="*/ 268 w 8296"/>
                  <a:gd name="T39" fmla="*/ 2131 h 2864"/>
                  <a:gd name="T40" fmla="*/ 174 w 8296"/>
                  <a:gd name="T41" fmla="*/ 2272 h 2864"/>
                  <a:gd name="T42" fmla="*/ 99 w 8296"/>
                  <a:gd name="T43" fmla="*/ 2416 h 2864"/>
                  <a:gd name="T44" fmla="*/ 44 w 8296"/>
                  <a:gd name="T45" fmla="*/ 2563 h 2864"/>
                  <a:gd name="T46" fmla="*/ 11 w 8296"/>
                  <a:gd name="T47" fmla="*/ 2712 h 2864"/>
                  <a:gd name="T48" fmla="*/ 0 w 8296"/>
                  <a:gd name="T49" fmla="*/ 2864 h 2864"/>
                  <a:gd name="T50" fmla="*/ 106 w 8296"/>
                  <a:gd name="T51" fmla="*/ 2762 h 2864"/>
                  <a:gd name="T52" fmla="*/ 131 w 8296"/>
                  <a:gd name="T53" fmla="*/ 2625 h 2864"/>
                  <a:gd name="T54" fmla="*/ 175 w 8296"/>
                  <a:gd name="T55" fmla="*/ 2490 h 2864"/>
                  <a:gd name="T56" fmla="*/ 240 w 8296"/>
                  <a:gd name="T57" fmla="*/ 2356 h 2864"/>
                  <a:gd name="T58" fmla="*/ 324 w 8296"/>
                  <a:gd name="T59" fmla="*/ 2224 h 2864"/>
                  <a:gd name="T60" fmla="*/ 427 w 8296"/>
                  <a:gd name="T61" fmla="*/ 2094 h 2864"/>
                  <a:gd name="T62" fmla="*/ 548 w 8296"/>
                  <a:gd name="T63" fmla="*/ 1966 h 2864"/>
                  <a:gd name="T64" fmla="*/ 688 w 8296"/>
                  <a:gd name="T65" fmla="*/ 1839 h 2864"/>
                  <a:gd name="T66" fmla="*/ 845 w 8296"/>
                  <a:gd name="T67" fmla="*/ 1716 h 2864"/>
                  <a:gd name="T68" fmla="*/ 1020 w 8296"/>
                  <a:gd name="T69" fmla="*/ 1595 h 2864"/>
                  <a:gd name="T70" fmla="*/ 1211 w 8296"/>
                  <a:gd name="T71" fmla="*/ 1478 h 2864"/>
                  <a:gd name="T72" fmla="*/ 1418 w 8296"/>
                  <a:gd name="T73" fmla="*/ 1364 h 2864"/>
                  <a:gd name="T74" fmla="*/ 1642 w 8296"/>
                  <a:gd name="T75" fmla="*/ 1254 h 2864"/>
                  <a:gd name="T76" fmla="*/ 1880 w 8296"/>
                  <a:gd name="T77" fmla="*/ 1147 h 2864"/>
                  <a:gd name="T78" fmla="*/ 2132 w 8296"/>
                  <a:gd name="T79" fmla="*/ 1044 h 2864"/>
                  <a:gd name="T80" fmla="*/ 2398 w 8296"/>
                  <a:gd name="T81" fmla="*/ 946 h 2864"/>
                  <a:gd name="T82" fmla="*/ 2679 w 8296"/>
                  <a:gd name="T83" fmla="*/ 852 h 2864"/>
                  <a:gd name="T84" fmla="*/ 3199 w 8296"/>
                  <a:gd name="T85" fmla="*/ 699 h 2864"/>
                  <a:gd name="T86" fmla="*/ 3839 w 8296"/>
                  <a:gd name="T87" fmla="*/ 542 h 2864"/>
                  <a:gd name="T88" fmla="*/ 4524 w 8296"/>
                  <a:gd name="T89" fmla="*/ 408 h 2864"/>
                  <a:gd name="T90" fmla="*/ 5248 w 8296"/>
                  <a:gd name="T91" fmla="*/ 295 h 2864"/>
                  <a:gd name="T92" fmla="*/ 6008 w 8296"/>
                  <a:gd name="T93" fmla="*/ 207 h 2864"/>
                  <a:gd name="T94" fmla="*/ 6798 w 8296"/>
                  <a:gd name="T95" fmla="*/ 144 h 2864"/>
                  <a:gd name="T96" fmla="*/ 7617 w 8296"/>
                  <a:gd name="T97" fmla="*/ 108 h 2864"/>
                  <a:gd name="T98" fmla="*/ 8246 w 8296"/>
                  <a:gd name="T99" fmla="*/ 100 h 2864"/>
                  <a:gd name="T100" fmla="*/ 8263 w 8296"/>
                  <a:gd name="T101" fmla="*/ 97 h 2864"/>
                  <a:gd name="T102" fmla="*/ 8280 w 8296"/>
                  <a:gd name="T103" fmla="*/ 88 h 2864"/>
                  <a:gd name="T104" fmla="*/ 8295 w 8296"/>
                  <a:gd name="T105" fmla="*/ 59 h 2864"/>
                  <a:gd name="T106" fmla="*/ 8289 w 8296"/>
                  <a:gd name="T107" fmla="*/ 23 h 2864"/>
                  <a:gd name="T108" fmla="*/ 8272 w 8296"/>
                  <a:gd name="T109" fmla="*/ 6 h 2864"/>
                  <a:gd name="T110" fmla="*/ 8252 w 8296"/>
                  <a:gd name="T111" fmla="*/ 0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4">
                    <a:moveTo>
                      <a:pt x="8246" y="0"/>
                    </a:moveTo>
                    <a:lnTo>
                      <a:pt x="8246" y="0"/>
                    </a:lnTo>
                    <a:lnTo>
                      <a:pt x="8034" y="0"/>
                    </a:lnTo>
                    <a:lnTo>
                      <a:pt x="7823" y="3"/>
                    </a:lnTo>
                    <a:lnTo>
                      <a:pt x="7614" y="8"/>
                    </a:lnTo>
                    <a:lnTo>
                      <a:pt x="7407" y="15"/>
                    </a:lnTo>
                    <a:lnTo>
                      <a:pt x="7200" y="23"/>
                    </a:lnTo>
                    <a:lnTo>
                      <a:pt x="6995" y="32"/>
                    </a:lnTo>
                    <a:lnTo>
                      <a:pt x="6792" y="44"/>
                    </a:lnTo>
                    <a:lnTo>
                      <a:pt x="6591" y="57"/>
                    </a:lnTo>
                    <a:lnTo>
                      <a:pt x="6391" y="72"/>
                    </a:lnTo>
                    <a:lnTo>
                      <a:pt x="6193" y="88"/>
                    </a:lnTo>
                    <a:lnTo>
                      <a:pt x="5998" y="107"/>
                    </a:lnTo>
                    <a:lnTo>
                      <a:pt x="5804" y="126"/>
                    </a:lnTo>
                    <a:lnTo>
                      <a:pt x="5612" y="148"/>
                    </a:lnTo>
                    <a:lnTo>
                      <a:pt x="5422" y="171"/>
                    </a:lnTo>
                    <a:lnTo>
                      <a:pt x="5235" y="196"/>
                    </a:lnTo>
                    <a:lnTo>
                      <a:pt x="5049" y="222"/>
                    </a:lnTo>
                    <a:lnTo>
                      <a:pt x="4866" y="250"/>
                    </a:lnTo>
                    <a:lnTo>
                      <a:pt x="4686" y="279"/>
                    </a:lnTo>
                    <a:lnTo>
                      <a:pt x="4507" y="309"/>
                    </a:lnTo>
                    <a:lnTo>
                      <a:pt x="4331" y="341"/>
                    </a:lnTo>
                    <a:lnTo>
                      <a:pt x="4158" y="374"/>
                    </a:lnTo>
                    <a:lnTo>
                      <a:pt x="3987" y="409"/>
                    </a:lnTo>
                    <a:lnTo>
                      <a:pt x="3819" y="444"/>
                    </a:lnTo>
                    <a:lnTo>
                      <a:pt x="3653" y="482"/>
                    </a:lnTo>
                    <a:lnTo>
                      <a:pt x="3491" y="521"/>
                    </a:lnTo>
                    <a:lnTo>
                      <a:pt x="3331" y="561"/>
                    </a:lnTo>
                    <a:lnTo>
                      <a:pt x="3173" y="602"/>
                    </a:lnTo>
                    <a:lnTo>
                      <a:pt x="3020" y="645"/>
                    </a:lnTo>
                    <a:lnTo>
                      <a:pt x="2869" y="688"/>
                    </a:lnTo>
                    <a:lnTo>
                      <a:pt x="2721" y="734"/>
                    </a:lnTo>
                    <a:lnTo>
                      <a:pt x="2649" y="757"/>
                    </a:lnTo>
                    <a:lnTo>
                      <a:pt x="2577" y="779"/>
                    </a:lnTo>
                    <a:lnTo>
                      <a:pt x="2506" y="803"/>
                    </a:lnTo>
                    <a:lnTo>
                      <a:pt x="2436" y="827"/>
                    </a:lnTo>
                    <a:lnTo>
                      <a:pt x="2365" y="851"/>
                    </a:lnTo>
                    <a:lnTo>
                      <a:pt x="2297" y="876"/>
                    </a:lnTo>
                    <a:lnTo>
                      <a:pt x="2229" y="901"/>
                    </a:lnTo>
                    <a:lnTo>
                      <a:pt x="2162" y="925"/>
                    </a:lnTo>
                    <a:lnTo>
                      <a:pt x="2096" y="950"/>
                    </a:lnTo>
                    <a:lnTo>
                      <a:pt x="2030" y="976"/>
                    </a:lnTo>
                    <a:lnTo>
                      <a:pt x="1967" y="1002"/>
                    </a:lnTo>
                    <a:lnTo>
                      <a:pt x="1904" y="1028"/>
                    </a:lnTo>
                    <a:lnTo>
                      <a:pt x="1841" y="1055"/>
                    </a:lnTo>
                    <a:lnTo>
                      <a:pt x="1779" y="1081"/>
                    </a:lnTo>
                    <a:lnTo>
                      <a:pt x="1718" y="1108"/>
                    </a:lnTo>
                    <a:lnTo>
                      <a:pt x="1658" y="1136"/>
                    </a:lnTo>
                    <a:lnTo>
                      <a:pt x="1600" y="1162"/>
                    </a:lnTo>
                    <a:lnTo>
                      <a:pt x="1541" y="1190"/>
                    </a:lnTo>
                    <a:lnTo>
                      <a:pt x="1484" y="1218"/>
                    </a:lnTo>
                    <a:lnTo>
                      <a:pt x="1428" y="1246"/>
                    </a:lnTo>
                    <a:lnTo>
                      <a:pt x="1373" y="1275"/>
                    </a:lnTo>
                    <a:lnTo>
                      <a:pt x="1318" y="1303"/>
                    </a:lnTo>
                    <a:lnTo>
                      <a:pt x="1265" y="1332"/>
                    </a:lnTo>
                    <a:lnTo>
                      <a:pt x="1212" y="1361"/>
                    </a:lnTo>
                    <a:lnTo>
                      <a:pt x="1162" y="1391"/>
                    </a:lnTo>
                    <a:lnTo>
                      <a:pt x="1111" y="1420"/>
                    </a:lnTo>
                    <a:lnTo>
                      <a:pt x="1062" y="1450"/>
                    </a:lnTo>
                    <a:lnTo>
                      <a:pt x="1013" y="1481"/>
                    </a:lnTo>
                    <a:lnTo>
                      <a:pt x="966" y="1511"/>
                    </a:lnTo>
                    <a:lnTo>
                      <a:pt x="919" y="1542"/>
                    </a:lnTo>
                    <a:lnTo>
                      <a:pt x="874" y="1572"/>
                    </a:lnTo>
                    <a:lnTo>
                      <a:pt x="830" y="1603"/>
                    </a:lnTo>
                    <a:lnTo>
                      <a:pt x="786" y="1635"/>
                    </a:lnTo>
                    <a:lnTo>
                      <a:pt x="744" y="1667"/>
                    </a:lnTo>
                    <a:lnTo>
                      <a:pt x="703" y="1699"/>
                    </a:lnTo>
                    <a:lnTo>
                      <a:pt x="663" y="1730"/>
                    </a:lnTo>
                    <a:lnTo>
                      <a:pt x="624" y="1763"/>
                    </a:lnTo>
                    <a:lnTo>
                      <a:pt x="586" y="1795"/>
                    </a:lnTo>
                    <a:lnTo>
                      <a:pt x="549" y="1828"/>
                    </a:lnTo>
                    <a:lnTo>
                      <a:pt x="513" y="1860"/>
                    </a:lnTo>
                    <a:lnTo>
                      <a:pt x="479" y="1893"/>
                    </a:lnTo>
                    <a:lnTo>
                      <a:pt x="445" y="1926"/>
                    </a:lnTo>
                    <a:lnTo>
                      <a:pt x="413" y="1960"/>
                    </a:lnTo>
                    <a:lnTo>
                      <a:pt x="381" y="1994"/>
                    </a:lnTo>
                    <a:lnTo>
                      <a:pt x="351" y="2028"/>
                    </a:lnTo>
                    <a:lnTo>
                      <a:pt x="323" y="2062"/>
                    </a:lnTo>
                    <a:lnTo>
                      <a:pt x="295" y="2097"/>
                    </a:lnTo>
                    <a:lnTo>
                      <a:pt x="268" y="2131"/>
                    </a:lnTo>
                    <a:lnTo>
                      <a:pt x="243" y="2166"/>
                    </a:lnTo>
                    <a:lnTo>
                      <a:pt x="219" y="2201"/>
                    </a:lnTo>
                    <a:lnTo>
                      <a:pt x="196" y="2236"/>
                    </a:lnTo>
                    <a:lnTo>
                      <a:pt x="174" y="2272"/>
                    </a:lnTo>
                    <a:lnTo>
                      <a:pt x="154" y="2307"/>
                    </a:lnTo>
                    <a:lnTo>
                      <a:pt x="134" y="2343"/>
                    </a:lnTo>
                    <a:lnTo>
                      <a:pt x="115" y="2380"/>
                    </a:lnTo>
                    <a:lnTo>
                      <a:pt x="99" y="2416"/>
                    </a:lnTo>
                    <a:lnTo>
                      <a:pt x="83" y="2452"/>
                    </a:lnTo>
                    <a:lnTo>
                      <a:pt x="69" y="2488"/>
                    </a:lnTo>
                    <a:lnTo>
                      <a:pt x="56" y="2526"/>
                    </a:lnTo>
                    <a:lnTo>
                      <a:pt x="44" y="2563"/>
                    </a:lnTo>
                    <a:lnTo>
                      <a:pt x="34" y="2600"/>
                    </a:lnTo>
                    <a:lnTo>
                      <a:pt x="25" y="2637"/>
                    </a:lnTo>
                    <a:lnTo>
                      <a:pt x="18" y="2675"/>
                    </a:lnTo>
                    <a:lnTo>
                      <a:pt x="11" y="2712"/>
                    </a:lnTo>
                    <a:lnTo>
                      <a:pt x="6" y="2750"/>
                    </a:lnTo>
                    <a:lnTo>
                      <a:pt x="3" y="2788"/>
                    </a:lnTo>
                    <a:lnTo>
                      <a:pt x="1" y="2826"/>
                    </a:lnTo>
                    <a:lnTo>
                      <a:pt x="0" y="2864"/>
                    </a:lnTo>
                    <a:lnTo>
                      <a:pt x="100" y="2864"/>
                    </a:lnTo>
                    <a:lnTo>
                      <a:pt x="101" y="2830"/>
                    </a:lnTo>
                    <a:lnTo>
                      <a:pt x="102" y="2796"/>
                    </a:lnTo>
                    <a:lnTo>
                      <a:pt x="106" y="2762"/>
                    </a:lnTo>
                    <a:lnTo>
                      <a:pt x="110" y="2726"/>
                    </a:lnTo>
                    <a:lnTo>
                      <a:pt x="115" y="2693"/>
                    </a:lnTo>
                    <a:lnTo>
                      <a:pt x="123" y="2659"/>
                    </a:lnTo>
                    <a:lnTo>
                      <a:pt x="131" y="2625"/>
                    </a:lnTo>
                    <a:lnTo>
                      <a:pt x="140" y="2591"/>
                    </a:lnTo>
                    <a:lnTo>
                      <a:pt x="150" y="2558"/>
                    </a:lnTo>
                    <a:lnTo>
                      <a:pt x="163" y="2524"/>
                    </a:lnTo>
                    <a:lnTo>
                      <a:pt x="175" y="2490"/>
                    </a:lnTo>
                    <a:lnTo>
                      <a:pt x="190" y="2456"/>
                    </a:lnTo>
                    <a:lnTo>
                      <a:pt x="205" y="2423"/>
                    </a:lnTo>
                    <a:lnTo>
                      <a:pt x="223" y="2390"/>
                    </a:lnTo>
                    <a:lnTo>
                      <a:pt x="240" y="2356"/>
                    </a:lnTo>
                    <a:lnTo>
                      <a:pt x="260" y="2323"/>
                    </a:lnTo>
                    <a:lnTo>
                      <a:pt x="279" y="2290"/>
                    </a:lnTo>
                    <a:lnTo>
                      <a:pt x="301" y="2258"/>
                    </a:lnTo>
                    <a:lnTo>
                      <a:pt x="324" y="2224"/>
                    </a:lnTo>
                    <a:lnTo>
                      <a:pt x="348" y="2191"/>
                    </a:lnTo>
                    <a:lnTo>
                      <a:pt x="373" y="2159"/>
                    </a:lnTo>
                    <a:lnTo>
                      <a:pt x="400" y="2126"/>
                    </a:lnTo>
                    <a:lnTo>
                      <a:pt x="427" y="2094"/>
                    </a:lnTo>
                    <a:lnTo>
                      <a:pt x="456" y="2062"/>
                    </a:lnTo>
                    <a:lnTo>
                      <a:pt x="485" y="2030"/>
                    </a:lnTo>
                    <a:lnTo>
                      <a:pt x="516" y="1998"/>
                    </a:lnTo>
                    <a:lnTo>
                      <a:pt x="548" y="1966"/>
                    </a:lnTo>
                    <a:lnTo>
                      <a:pt x="581" y="1934"/>
                    </a:lnTo>
                    <a:lnTo>
                      <a:pt x="616" y="1902"/>
                    </a:lnTo>
                    <a:lnTo>
                      <a:pt x="651" y="1870"/>
                    </a:lnTo>
                    <a:lnTo>
                      <a:pt x="688" y="1839"/>
                    </a:lnTo>
                    <a:lnTo>
                      <a:pt x="726" y="1808"/>
                    </a:lnTo>
                    <a:lnTo>
                      <a:pt x="765" y="1777"/>
                    </a:lnTo>
                    <a:lnTo>
                      <a:pt x="804" y="1746"/>
                    </a:lnTo>
                    <a:lnTo>
                      <a:pt x="845" y="1716"/>
                    </a:lnTo>
                    <a:lnTo>
                      <a:pt x="887" y="1685"/>
                    </a:lnTo>
                    <a:lnTo>
                      <a:pt x="931" y="1655"/>
                    </a:lnTo>
                    <a:lnTo>
                      <a:pt x="975" y="1625"/>
                    </a:lnTo>
                    <a:lnTo>
                      <a:pt x="1020" y="1595"/>
                    </a:lnTo>
                    <a:lnTo>
                      <a:pt x="1066" y="1565"/>
                    </a:lnTo>
                    <a:lnTo>
                      <a:pt x="1113" y="1536"/>
                    </a:lnTo>
                    <a:lnTo>
                      <a:pt x="1162" y="1507"/>
                    </a:lnTo>
                    <a:lnTo>
                      <a:pt x="1211" y="1478"/>
                    </a:lnTo>
                    <a:lnTo>
                      <a:pt x="1262" y="1449"/>
                    </a:lnTo>
                    <a:lnTo>
                      <a:pt x="1313" y="1420"/>
                    </a:lnTo>
                    <a:lnTo>
                      <a:pt x="1366" y="1392"/>
                    </a:lnTo>
                    <a:lnTo>
                      <a:pt x="1418" y="1364"/>
                    </a:lnTo>
                    <a:lnTo>
                      <a:pt x="1473" y="1336"/>
                    </a:lnTo>
                    <a:lnTo>
                      <a:pt x="1529" y="1308"/>
                    </a:lnTo>
                    <a:lnTo>
                      <a:pt x="1584" y="1280"/>
                    </a:lnTo>
                    <a:lnTo>
                      <a:pt x="1642" y="1254"/>
                    </a:lnTo>
                    <a:lnTo>
                      <a:pt x="1700" y="1227"/>
                    </a:lnTo>
                    <a:lnTo>
                      <a:pt x="1758" y="1200"/>
                    </a:lnTo>
                    <a:lnTo>
                      <a:pt x="1819" y="1173"/>
                    </a:lnTo>
                    <a:lnTo>
                      <a:pt x="1880" y="1147"/>
                    </a:lnTo>
                    <a:lnTo>
                      <a:pt x="1941" y="1121"/>
                    </a:lnTo>
                    <a:lnTo>
                      <a:pt x="2004" y="1095"/>
                    </a:lnTo>
                    <a:lnTo>
                      <a:pt x="2068" y="1069"/>
                    </a:lnTo>
                    <a:lnTo>
                      <a:pt x="2132" y="1044"/>
                    </a:lnTo>
                    <a:lnTo>
                      <a:pt x="2197" y="1020"/>
                    </a:lnTo>
                    <a:lnTo>
                      <a:pt x="2263" y="995"/>
                    </a:lnTo>
                    <a:lnTo>
                      <a:pt x="2330" y="970"/>
                    </a:lnTo>
                    <a:lnTo>
                      <a:pt x="2398" y="946"/>
                    </a:lnTo>
                    <a:lnTo>
                      <a:pt x="2467" y="922"/>
                    </a:lnTo>
                    <a:lnTo>
                      <a:pt x="2538" y="899"/>
                    </a:lnTo>
                    <a:lnTo>
                      <a:pt x="2608" y="875"/>
                    </a:lnTo>
                    <a:lnTo>
                      <a:pt x="2679" y="852"/>
                    </a:lnTo>
                    <a:lnTo>
                      <a:pt x="2751" y="829"/>
                    </a:lnTo>
                    <a:lnTo>
                      <a:pt x="2897" y="785"/>
                    </a:lnTo>
                    <a:lnTo>
                      <a:pt x="3047" y="741"/>
                    </a:lnTo>
                    <a:lnTo>
                      <a:pt x="3199" y="699"/>
                    </a:lnTo>
                    <a:lnTo>
                      <a:pt x="3355" y="658"/>
                    </a:lnTo>
                    <a:lnTo>
                      <a:pt x="3514" y="618"/>
                    </a:lnTo>
                    <a:lnTo>
                      <a:pt x="3675" y="580"/>
                    </a:lnTo>
                    <a:lnTo>
                      <a:pt x="3839" y="542"/>
                    </a:lnTo>
                    <a:lnTo>
                      <a:pt x="4007" y="506"/>
                    </a:lnTo>
                    <a:lnTo>
                      <a:pt x="4176" y="472"/>
                    </a:lnTo>
                    <a:lnTo>
                      <a:pt x="4350" y="439"/>
                    </a:lnTo>
                    <a:lnTo>
                      <a:pt x="4524" y="408"/>
                    </a:lnTo>
                    <a:lnTo>
                      <a:pt x="4702" y="377"/>
                    </a:lnTo>
                    <a:lnTo>
                      <a:pt x="4881" y="348"/>
                    </a:lnTo>
                    <a:lnTo>
                      <a:pt x="5064" y="321"/>
                    </a:lnTo>
                    <a:lnTo>
                      <a:pt x="5248" y="295"/>
                    </a:lnTo>
                    <a:lnTo>
                      <a:pt x="5435" y="270"/>
                    </a:lnTo>
                    <a:lnTo>
                      <a:pt x="5623" y="247"/>
                    </a:lnTo>
                    <a:lnTo>
                      <a:pt x="5814" y="227"/>
                    </a:lnTo>
                    <a:lnTo>
                      <a:pt x="6008" y="207"/>
                    </a:lnTo>
                    <a:lnTo>
                      <a:pt x="6203" y="188"/>
                    </a:lnTo>
                    <a:lnTo>
                      <a:pt x="6400" y="172"/>
                    </a:lnTo>
                    <a:lnTo>
                      <a:pt x="6597" y="157"/>
                    </a:lnTo>
                    <a:lnTo>
                      <a:pt x="6798" y="144"/>
                    </a:lnTo>
                    <a:lnTo>
                      <a:pt x="7000" y="133"/>
                    </a:lnTo>
                    <a:lnTo>
                      <a:pt x="7205" y="122"/>
                    </a:lnTo>
                    <a:lnTo>
                      <a:pt x="7410" y="115"/>
                    </a:lnTo>
                    <a:lnTo>
                      <a:pt x="7617" y="108"/>
                    </a:lnTo>
                    <a:lnTo>
                      <a:pt x="7825" y="104"/>
                    </a:lnTo>
                    <a:lnTo>
                      <a:pt x="8034" y="102"/>
                    </a:lnTo>
                    <a:lnTo>
                      <a:pt x="8246" y="100"/>
                    </a:lnTo>
                    <a:lnTo>
                      <a:pt x="8246" y="100"/>
                    </a:lnTo>
                    <a:lnTo>
                      <a:pt x="8246" y="100"/>
                    </a:lnTo>
                    <a:lnTo>
                      <a:pt x="8252" y="99"/>
                    </a:lnTo>
                    <a:lnTo>
                      <a:pt x="8257" y="99"/>
                    </a:lnTo>
                    <a:lnTo>
                      <a:pt x="8263" y="97"/>
                    </a:lnTo>
                    <a:lnTo>
                      <a:pt x="8267" y="96"/>
                    </a:lnTo>
                    <a:lnTo>
                      <a:pt x="8272" y="93"/>
                    </a:lnTo>
                    <a:lnTo>
                      <a:pt x="8276" y="91"/>
                    </a:lnTo>
                    <a:lnTo>
                      <a:pt x="8280" y="88"/>
                    </a:lnTo>
                    <a:lnTo>
                      <a:pt x="8284" y="84"/>
                    </a:lnTo>
                    <a:lnTo>
                      <a:pt x="8289" y="77"/>
                    </a:lnTo>
                    <a:lnTo>
                      <a:pt x="8293" y="68"/>
                    </a:lnTo>
                    <a:lnTo>
                      <a:pt x="8295" y="59"/>
                    </a:lnTo>
                    <a:lnTo>
                      <a:pt x="8296" y="50"/>
                    </a:lnTo>
                    <a:lnTo>
                      <a:pt x="8295" y="40"/>
                    </a:lnTo>
                    <a:lnTo>
                      <a:pt x="8293" y="31"/>
                    </a:lnTo>
                    <a:lnTo>
                      <a:pt x="8289" y="23"/>
                    </a:lnTo>
                    <a:lnTo>
                      <a:pt x="8284" y="16"/>
                    </a:lnTo>
                    <a:lnTo>
                      <a:pt x="8280" y="13"/>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07" name="Freeform 248"/>
              <p:cNvSpPr>
                <a:spLocks/>
              </p:cNvSpPr>
              <p:nvPr>
                <p:custDataLst>
                  <p:tags r:id="rId60"/>
                </p:custDataLst>
              </p:nvPr>
            </p:nvSpPr>
            <p:spPr bwMode="auto">
              <a:xfrm>
                <a:off x="728" y="3515"/>
                <a:ext cx="358" cy="114"/>
              </a:xfrm>
              <a:custGeom>
                <a:avLst/>
                <a:gdLst>
                  <a:gd name="T0" fmla="*/ 8239 w 8245"/>
                  <a:gd name="T1" fmla="*/ 2750 h 2864"/>
                  <a:gd name="T2" fmla="*/ 8211 w 8245"/>
                  <a:gd name="T3" fmla="*/ 2600 h 2864"/>
                  <a:gd name="T4" fmla="*/ 8162 w 8245"/>
                  <a:gd name="T5" fmla="*/ 2452 h 2864"/>
                  <a:gd name="T6" fmla="*/ 8091 w 8245"/>
                  <a:gd name="T7" fmla="*/ 2307 h 2864"/>
                  <a:gd name="T8" fmla="*/ 8002 w 8245"/>
                  <a:gd name="T9" fmla="*/ 2166 h 2864"/>
                  <a:gd name="T10" fmla="*/ 7894 w 8245"/>
                  <a:gd name="T11" fmla="*/ 2028 h 2864"/>
                  <a:gd name="T12" fmla="*/ 7766 w 8245"/>
                  <a:gd name="T13" fmla="*/ 1893 h 2864"/>
                  <a:gd name="T14" fmla="*/ 7620 w 8245"/>
                  <a:gd name="T15" fmla="*/ 1763 h 2864"/>
                  <a:gd name="T16" fmla="*/ 7459 w 8245"/>
                  <a:gd name="T17" fmla="*/ 1635 h 2864"/>
                  <a:gd name="T18" fmla="*/ 7279 w 8245"/>
                  <a:gd name="T19" fmla="*/ 1511 h 2864"/>
                  <a:gd name="T20" fmla="*/ 7083 w 8245"/>
                  <a:gd name="T21" fmla="*/ 1391 h 2864"/>
                  <a:gd name="T22" fmla="*/ 6872 w 8245"/>
                  <a:gd name="T23" fmla="*/ 1275 h 2864"/>
                  <a:gd name="T24" fmla="*/ 6645 w 8245"/>
                  <a:gd name="T25" fmla="*/ 1162 h 2864"/>
                  <a:gd name="T26" fmla="*/ 6404 w 8245"/>
                  <a:gd name="T27" fmla="*/ 1055 h 2864"/>
                  <a:gd name="T28" fmla="*/ 6149 w 8245"/>
                  <a:gd name="T29" fmla="*/ 950 h 2864"/>
                  <a:gd name="T30" fmla="*/ 5880 w 8245"/>
                  <a:gd name="T31" fmla="*/ 851 h 2864"/>
                  <a:gd name="T32" fmla="*/ 5596 w 8245"/>
                  <a:gd name="T33" fmla="*/ 757 h 2864"/>
                  <a:gd name="T34" fmla="*/ 5072 w 8245"/>
                  <a:gd name="T35" fmla="*/ 602 h 2864"/>
                  <a:gd name="T36" fmla="*/ 4426 w 8245"/>
                  <a:gd name="T37" fmla="*/ 444 h 2864"/>
                  <a:gd name="T38" fmla="*/ 3738 w 8245"/>
                  <a:gd name="T39" fmla="*/ 309 h 2864"/>
                  <a:gd name="T40" fmla="*/ 3010 w 8245"/>
                  <a:gd name="T41" fmla="*/ 196 h 2864"/>
                  <a:gd name="T42" fmla="*/ 2246 w 8245"/>
                  <a:gd name="T43" fmla="*/ 107 h 2864"/>
                  <a:gd name="T44" fmla="*/ 1453 w 8245"/>
                  <a:gd name="T45" fmla="*/ 44 h 2864"/>
                  <a:gd name="T46" fmla="*/ 631 w 8245"/>
                  <a:gd name="T47" fmla="*/ 8 h 2864"/>
                  <a:gd name="T48" fmla="*/ 0 w 8245"/>
                  <a:gd name="T49" fmla="*/ 100 h 2864"/>
                  <a:gd name="T50" fmla="*/ 835 w 8245"/>
                  <a:gd name="T51" fmla="*/ 115 h 2864"/>
                  <a:gd name="T52" fmla="*/ 1648 w 8245"/>
                  <a:gd name="T53" fmla="*/ 157 h 2864"/>
                  <a:gd name="T54" fmla="*/ 2431 w 8245"/>
                  <a:gd name="T55" fmla="*/ 227 h 2864"/>
                  <a:gd name="T56" fmla="*/ 3181 w 8245"/>
                  <a:gd name="T57" fmla="*/ 321 h 2864"/>
                  <a:gd name="T58" fmla="*/ 3895 w 8245"/>
                  <a:gd name="T59" fmla="*/ 439 h 2864"/>
                  <a:gd name="T60" fmla="*/ 4570 w 8245"/>
                  <a:gd name="T61" fmla="*/ 580 h 2864"/>
                  <a:gd name="T62" fmla="*/ 5198 w 8245"/>
                  <a:gd name="T63" fmla="*/ 741 h 2864"/>
                  <a:gd name="T64" fmla="*/ 5637 w 8245"/>
                  <a:gd name="T65" fmla="*/ 875 h 2864"/>
                  <a:gd name="T66" fmla="*/ 5915 w 8245"/>
                  <a:gd name="T67" fmla="*/ 970 h 2864"/>
                  <a:gd name="T68" fmla="*/ 6177 w 8245"/>
                  <a:gd name="T69" fmla="*/ 1069 h 2864"/>
                  <a:gd name="T70" fmla="*/ 6426 w 8245"/>
                  <a:gd name="T71" fmla="*/ 1173 h 2864"/>
                  <a:gd name="T72" fmla="*/ 6661 w 8245"/>
                  <a:gd name="T73" fmla="*/ 1280 h 2864"/>
                  <a:gd name="T74" fmla="*/ 6879 w 8245"/>
                  <a:gd name="T75" fmla="*/ 1392 h 2864"/>
                  <a:gd name="T76" fmla="*/ 7083 w 8245"/>
                  <a:gd name="T77" fmla="*/ 1507 h 2864"/>
                  <a:gd name="T78" fmla="*/ 7270 w 8245"/>
                  <a:gd name="T79" fmla="*/ 1625 h 2864"/>
                  <a:gd name="T80" fmla="*/ 7440 w 8245"/>
                  <a:gd name="T81" fmla="*/ 1746 h 2864"/>
                  <a:gd name="T82" fmla="*/ 7594 w 8245"/>
                  <a:gd name="T83" fmla="*/ 1870 h 2864"/>
                  <a:gd name="T84" fmla="*/ 7729 w 8245"/>
                  <a:gd name="T85" fmla="*/ 1998 h 2864"/>
                  <a:gd name="T86" fmla="*/ 7845 w 8245"/>
                  <a:gd name="T87" fmla="*/ 2126 h 2864"/>
                  <a:gd name="T88" fmla="*/ 7943 w 8245"/>
                  <a:gd name="T89" fmla="*/ 2258 h 2864"/>
                  <a:gd name="T90" fmla="*/ 8022 w 8245"/>
                  <a:gd name="T91" fmla="*/ 2390 h 2864"/>
                  <a:gd name="T92" fmla="*/ 8082 w 8245"/>
                  <a:gd name="T93" fmla="*/ 2524 h 2864"/>
                  <a:gd name="T94" fmla="*/ 8122 w 8245"/>
                  <a:gd name="T95" fmla="*/ 2659 h 2864"/>
                  <a:gd name="T96" fmla="*/ 8142 w 8245"/>
                  <a:gd name="T97" fmla="*/ 2796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4">
                    <a:moveTo>
                      <a:pt x="8245" y="2864"/>
                    </a:moveTo>
                    <a:lnTo>
                      <a:pt x="8244" y="2826"/>
                    </a:lnTo>
                    <a:lnTo>
                      <a:pt x="8242" y="2788"/>
                    </a:lnTo>
                    <a:lnTo>
                      <a:pt x="8239" y="2750"/>
                    </a:lnTo>
                    <a:lnTo>
                      <a:pt x="8234" y="2712"/>
                    </a:lnTo>
                    <a:lnTo>
                      <a:pt x="8227" y="2675"/>
                    </a:lnTo>
                    <a:lnTo>
                      <a:pt x="8219" y="2637"/>
                    </a:lnTo>
                    <a:lnTo>
                      <a:pt x="8211" y="2600"/>
                    </a:lnTo>
                    <a:lnTo>
                      <a:pt x="8201" y="2563"/>
                    </a:lnTo>
                    <a:lnTo>
                      <a:pt x="8188" y="2526"/>
                    </a:lnTo>
                    <a:lnTo>
                      <a:pt x="8176" y="2488"/>
                    </a:lnTo>
                    <a:lnTo>
                      <a:pt x="8162" y="2452"/>
                    </a:lnTo>
                    <a:lnTo>
                      <a:pt x="8146" y="2416"/>
                    </a:lnTo>
                    <a:lnTo>
                      <a:pt x="8130" y="2380"/>
                    </a:lnTo>
                    <a:lnTo>
                      <a:pt x="8111" y="2343"/>
                    </a:lnTo>
                    <a:lnTo>
                      <a:pt x="8091" y="2307"/>
                    </a:lnTo>
                    <a:lnTo>
                      <a:pt x="8071" y="2272"/>
                    </a:lnTo>
                    <a:lnTo>
                      <a:pt x="8049" y="2236"/>
                    </a:lnTo>
                    <a:lnTo>
                      <a:pt x="8026" y="2201"/>
                    </a:lnTo>
                    <a:lnTo>
                      <a:pt x="8002" y="2166"/>
                    </a:lnTo>
                    <a:lnTo>
                      <a:pt x="7977" y="2131"/>
                    </a:lnTo>
                    <a:lnTo>
                      <a:pt x="7950" y="2096"/>
                    </a:lnTo>
                    <a:lnTo>
                      <a:pt x="7922" y="2062"/>
                    </a:lnTo>
                    <a:lnTo>
                      <a:pt x="7894" y="2028"/>
                    </a:lnTo>
                    <a:lnTo>
                      <a:pt x="7864" y="1994"/>
                    </a:lnTo>
                    <a:lnTo>
                      <a:pt x="7832" y="1960"/>
                    </a:lnTo>
                    <a:lnTo>
                      <a:pt x="7800" y="1926"/>
                    </a:lnTo>
                    <a:lnTo>
                      <a:pt x="7766" y="1893"/>
                    </a:lnTo>
                    <a:lnTo>
                      <a:pt x="7732" y="1860"/>
                    </a:lnTo>
                    <a:lnTo>
                      <a:pt x="7696" y="1828"/>
                    </a:lnTo>
                    <a:lnTo>
                      <a:pt x="7659" y="1795"/>
                    </a:lnTo>
                    <a:lnTo>
                      <a:pt x="7620" y="1763"/>
                    </a:lnTo>
                    <a:lnTo>
                      <a:pt x="7582" y="1730"/>
                    </a:lnTo>
                    <a:lnTo>
                      <a:pt x="7542" y="1699"/>
                    </a:lnTo>
                    <a:lnTo>
                      <a:pt x="7501" y="1667"/>
                    </a:lnTo>
                    <a:lnTo>
                      <a:pt x="7459" y="1635"/>
                    </a:lnTo>
                    <a:lnTo>
                      <a:pt x="7415" y="1603"/>
                    </a:lnTo>
                    <a:lnTo>
                      <a:pt x="7371" y="1572"/>
                    </a:lnTo>
                    <a:lnTo>
                      <a:pt x="7326" y="1542"/>
                    </a:lnTo>
                    <a:lnTo>
                      <a:pt x="7279" y="1511"/>
                    </a:lnTo>
                    <a:lnTo>
                      <a:pt x="7232" y="1481"/>
                    </a:lnTo>
                    <a:lnTo>
                      <a:pt x="7183" y="1450"/>
                    </a:lnTo>
                    <a:lnTo>
                      <a:pt x="7134" y="1420"/>
                    </a:lnTo>
                    <a:lnTo>
                      <a:pt x="7083" y="1391"/>
                    </a:lnTo>
                    <a:lnTo>
                      <a:pt x="7032" y="1361"/>
                    </a:lnTo>
                    <a:lnTo>
                      <a:pt x="6980" y="1332"/>
                    </a:lnTo>
                    <a:lnTo>
                      <a:pt x="6927" y="1303"/>
                    </a:lnTo>
                    <a:lnTo>
                      <a:pt x="6872" y="1275"/>
                    </a:lnTo>
                    <a:lnTo>
                      <a:pt x="6817" y="1246"/>
                    </a:lnTo>
                    <a:lnTo>
                      <a:pt x="6761" y="1218"/>
                    </a:lnTo>
                    <a:lnTo>
                      <a:pt x="6704" y="1190"/>
                    </a:lnTo>
                    <a:lnTo>
                      <a:pt x="6645" y="1162"/>
                    </a:lnTo>
                    <a:lnTo>
                      <a:pt x="6587" y="1136"/>
                    </a:lnTo>
                    <a:lnTo>
                      <a:pt x="6527" y="1108"/>
                    </a:lnTo>
                    <a:lnTo>
                      <a:pt x="6466" y="1081"/>
                    </a:lnTo>
                    <a:lnTo>
                      <a:pt x="6404" y="1055"/>
                    </a:lnTo>
                    <a:lnTo>
                      <a:pt x="6341" y="1028"/>
                    </a:lnTo>
                    <a:lnTo>
                      <a:pt x="6278" y="1002"/>
                    </a:lnTo>
                    <a:lnTo>
                      <a:pt x="6214" y="976"/>
                    </a:lnTo>
                    <a:lnTo>
                      <a:pt x="6149" y="950"/>
                    </a:lnTo>
                    <a:lnTo>
                      <a:pt x="6083" y="925"/>
                    </a:lnTo>
                    <a:lnTo>
                      <a:pt x="6016" y="901"/>
                    </a:lnTo>
                    <a:lnTo>
                      <a:pt x="5948" y="876"/>
                    </a:lnTo>
                    <a:lnTo>
                      <a:pt x="5880" y="851"/>
                    </a:lnTo>
                    <a:lnTo>
                      <a:pt x="5809" y="827"/>
                    </a:lnTo>
                    <a:lnTo>
                      <a:pt x="5739" y="803"/>
                    </a:lnTo>
                    <a:lnTo>
                      <a:pt x="5668" y="779"/>
                    </a:lnTo>
                    <a:lnTo>
                      <a:pt x="5596" y="757"/>
                    </a:lnTo>
                    <a:lnTo>
                      <a:pt x="5524" y="734"/>
                    </a:lnTo>
                    <a:lnTo>
                      <a:pt x="5376" y="688"/>
                    </a:lnTo>
                    <a:lnTo>
                      <a:pt x="5225" y="645"/>
                    </a:lnTo>
                    <a:lnTo>
                      <a:pt x="5072" y="602"/>
                    </a:lnTo>
                    <a:lnTo>
                      <a:pt x="4914" y="561"/>
                    </a:lnTo>
                    <a:lnTo>
                      <a:pt x="4754" y="521"/>
                    </a:lnTo>
                    <a:lnTo>
                      <a:pt x="4592" y="482"/>
                    </a:lnTo>
                    <a:lnTo>
                      <a:pt x="4426" y="444"/>
                    </a:lnTo>
                    <a:lnTo>
                      <a:pt x="4258" y="409"/>
                    </a:lnTo>
                    <a:lnTo>
                      <a:pt x="4087" y="374"/>
                    </a:lnTo>
                    <a:lnTo>
                      <a:pt x="3914" y="341"/>
                    </a:lnTo>
                    <a:lnTo>
                      <a:pt x="3738" y="309"/>
                    </a:lnTo>
                    <a:lnTo>
                      <a:pt x="3559" y="279"/>
                    </a:lnTo>
                    <a:lnTo>
                      <a:pt x="3379" y="250"/>
                    </a:lnTo>
                    <a:lnTo>
                      <a:pt x="3196" y="222"/>
                    </a:lnTo>
                    <a:lnTo>
                      <a:pt x="3010" y="196"/>
                    </a:lnTo>
                    <a:lnTo>
                      <a:pt x="2823" y="171"/>
                    </a:lnTo>
                    <a:lnTo>
                      <a:pt x="2633" y="148"/>
                    </a:lnTo>
                    <a:lnTo>
                      <a:pt x="2441" y="126"/>
                    </a:lnTo>
                    <a:lnTo>
                      <a:pt x="2246" y="107"/>
                    </a:lnTo>
                    <a:lnTo>
                      <a:pt x="2052" y="88"/>
                    </a:lnTo>
                    <a:lnTo>
                      <a:pt x="1854" y="72"/>
                    </a:lnTo>
                    <a:lnTo>
                      <a:pt x="1654" y="57"/>
                    </a:lnTo>
                    <a:lnTo>
                      <a:pt x="1453" y="44"/>
                    </a:lnTo>
                    <a:lnTo>
                      <a:pt x="1250" y="32"/>
                    </a:lnTo>
                    <a:lnTo>
                      <a:pt x="1045" y="23"/>
                    </a:lnTo>
                    <a:lnTo>
                      <a:pt x="838" y="15"/>
                    </a:lnTo>
                    <a:lnTo>
                      <a:pt x="631" y="8"/>
                    </a:lnTo>
                    <a:lnTo>
                      <a:pt x="422" y="3"/>
                    </a:lnTo>
                    <a:lnTo>
                      <a:pt x="212" y="0"/>
                    </a:lnTo>
                    <a:lnTo>
                      <a:pt x="0" y="0"/>
                    </a:lnTo>
                    <a:lnTo>
                      <a:pt x="0" y="100"/>
                    </a:lnTo>
                    <a:lnTo>
                      <a:pt x="211" y="102"/>
                    </a:lnTo>
                    <a:lnTo>
                      <a:pt x="420" y="104"/>
                    </a:lnTo>
                    <a:lnTo>
                      <a:pt x="628" y="108"/>
                    </a:lnTo>
                    <a:lnTo>
                      <a:pt x="835" y="115"/>
                    </a:lnTo>
                    <a:lnTo>
                      <a:pt x="1040" y="122"/>
                    </a:lnTo>
                    <a:lnTo>
                      <a:pt x="1245" y="133"/>
                    </a:lnTo>
                    <a:lnTo>
                      <a:pt x="1447" y="144"/>
                    </a:lnTo>
                    <a:lnTo>
                      <a:pt x="1648" y="157"/>
                    </a:lnTo>
                    <a:lnTo>
                      <a:pt x="1845" y="172"/>
                    </a:lnTo>
                    <a:lnTo>
                      <a:pt x="2042" y="188"/>
                    </a:lnTo>
                    <a:lnTo>
                      <a:pt x="2237" y="207"/>
                    </a:lnTo>
                    <a:lnTo>
                      <a:pt x="2431" y="227"/>
                    </a:lnTo>
                    <a:lnTo>
                      <a:pt x="2622" y="247"/>
                    </a:lnTo>
                    <a:lnTo>
                      <a:pt x="2810" y="270"/>
                    </a:lnTo>
                    <a:lnTo>
                      <a:pt x="2997" y="295"/>
                    </a:lnTo>
                    <a:lnTo>
                      <a:pt x="3181" y="321"/>
                    </a:lnTo>
                    <a:lnTo>
                      <a:pt x="3364" y="348"/>
                    </a:lnTo>
                    <a:lnTo>
                      <a:pt x="3543" y="377"/>
                    </a:lnTo>
                    <a:lnTo>
                      <a:pt x="3721" y="408"/>
                    </a:lnTo>
                    <a:lnTo>
                      <a:pt x="3895" y="439"/>
                    </a:lnTo>
                    <a:lnTo>
                      <a:pt x="4069" y="472"/>
                    </a:lnTo>
                    <a:lnTo>
                      <a:pt x="4238" y="506"/>
                    </a:lnTo>
                    <a:lnTo>
                      <a:pt x="4405" y="542"/>
                    </a:lnTo>
                    <a:lnTo>
                      <a:pt x="4570" y="580"/>
                    </a:lnTo>
                    <a:lnTo>
                      <a:pt x="4731" y="618"/>
                    </a:lnTo>
                    <a:lnTo>
                      <a:pt x="4890" y="658"/>
                    </a:lnTo>
                    <a:lnTo>
                      <a:pt x="5046" y="699"/>
                    </a:lnTo>
                    <a:lnTo>
                      <a:pt x="5198" y="741"/>
                    </a:lnTo>
                    <a:lnTo>
                      <a:pt x="5348" y="785"/>
                    </a:lnTo>
                    <a:lnTo>
                      <a:pt x="5494" y="829"/>
                    </a:lnTo>
                    <a:lnTo>
                      <a:pt x="5566" y="852"/>
                    </a:lnTo>
                    <a:lnTo>
                      <a:pt x="5637" y="875"/>
                    </a:lnTo>
                    <a:lnTo>
                      <a:pt x="5707" y="899"/>
                    </a:lnTo>
                    <a:lnTo>
                      <a:pt x="5778" y="922"/>
                    </a:lnTo>
                    <a:lnTo>
                      <a:pt x="5847" y="946"/>
                    </a:lnTo>
                    <a:lnTo>
                      <a:pt x="5915" y="970"/>
                    </a:lnTo>
                    <a:lnTo>
                      <a:pt x="5982" y="995"/>
                    </a:lnTo>
                    <a:lnTo>
                      <a:pt x="6048" y="1020"/>
                    </a:lnTo>
                    <a:lnTo>
                      <a:pt x="6113" y="1044"/>
                    </a:lnTo>
                    <a:lnTo>
                      <a:pt x="6177" y="1069"/>
                    </a:lnTo>
                    <a:lnTo>
                      <a:pt x="6241" y="1095"/>
                    </a:lnTo>
                    <a:lnTo>
                      <a:pt x="6304" y="1121"/>
                    </a:lnTo>
                    <a:lnTo>
                      <a:pt x="6365" y="1147"/>
                    </a:lnTo>
                    <a:lnTo>
                      <a:pt x="6426" y="1173"/>
                    </a:lnTo>
                    <a:lnTo>
                      <a:pt x="6487" y="1200"/>
                    </a:lnTo>
                    <a:lnTo>
                      <a:pt x="6545" y="1227"/>
                    </a:lnTo>
                    <a:lnTo>
                      <a:pt x="6603" y="1254"/>
                    </a:lnTo>
                    <a:lnTo>
                      <a:pt x="6661" y="1280"/>
                    </a:lnTo>
                    <a:lnTo>
                      <a:pt x="6716" y="1308"/>
                    </a:lnTo>
                    <a:lnTo>
                      <a:pt x="6772" y="1336"/>
                    </a:lnTo>
                    <a:lnTo>
                      <a:pt x="6827" y="1364"/>
                    </a:lnTo>
                    <a:lnTo>
                      <a:pt x="6879" y="1392"/>
                    </a:lnTo>
                    <a:lnTo>
                      <a:pt x="6932" y="1420"/>
                    </a:lnTo>
                    <a:lnTo>
                      <a:pt x="6983" y="1449"/>
                    </a:lnTo>
                    <a:lnTo>
                      <a:pt x="7034" y="1478"/>
                    </a:lnTo>
                    <a:lnTo>
                      <a:pt x="7083" y="1507"/>
                    </a:lnTo>
                    <a:lnTo>
                      <a:pt x="7132" y="1536"/>
                    </a:lnTo>
                    <a:lnTo>
                      <a:pt x="7178" y="1565"/>
                    </a:lnTo>
                    <a:lnTo>
                      <a:pt x="7225" y="1595"/>
                    </a:lnTo>
                    <a:lnTo>
                      <a:pt x="7270" y="1625"/>
                    </a:lnTo>
                    <a:lnTo>
                      <a:pt x="7314" y="1655"/>
                    </a:lnTo>
                    <a:lnTo>
                      <a:pt x="7358" y="1685"/>
                    </a:lnTo>
                    <a:lnTo>
                      <a:pt x="7400" y="1716"/>
                    </a:lnTo>
                    <a:lnTo>
                      <a:pt x="7440" y="1746"/>
                    </a:lnTo>
                    <a:lnTo>
                      <a:pt x="7480" y="1777"/>
                    </a:lnTo>
                    <a:lnTo>
                      <a:pt x="7519" y="1808"/>
                    </a:lnTo>
                    <a:lnTo>
                      <a:pt x="7557" y="1839"/>
                    </a:lnTo>
                    <a:lnTo>
                      <a:pt x="7594" y="1870"/>
                    </a:lnTo>
                    <a:lnTo>
                      <a:pt x="7629" y="1902"/>
                    </a:lnTo>
                    <a:lnTo>
                      <a:pt x="7664" y="1934"/>
                    </a:lnTo>
                    <a:lnTo>
                      <a:pt x="7697" y="1966"/>
                    </a:lnTo>
                    <a:lnTo>
                      <a:pt x="7729" y="1998"/>
                    </a:lnTo>
                    <a:lnTo>
                      <a:pt x="7760" y="2030"/>
                    </a:lnTo>
                    <a:lnTo>
                      <a:pt x="7789" y="2062"/>
                    </a:lnTo>
                    <a:lnTo>
                      <a:pt x="7818" y="2094"/>
                    </a:lnTo>
                    <a:lnTo>
                      <a:pt x="7845" y="2126"/>
                    </a:lnTo>
                    <a:lnTo>
                      <a:pt x="7872" y="2159"/>
                    </a:lnTo>
                    <a:lnTo>
                      <a:pt x="7897" y="2191"/>
                    </a:lnTo>
                    <a:lnTo>
                      <a:pt x="7920" y="2224"/>
                    </a:lnTo>
                    <a:lnTo>
                      <a:pt x="7943" y="2258"/>
                    </a:lnTo>
                    <a:lnTo>
                      <a:pt x="7966" y="2290"/>
                    </a:lnTo>
                    <a:lnTo>
                      <a:pt x="7985" y="2323"/>
                    </a:lnTo>
                    <a:lnTo>
                      <a:pt x="8005" y="2356"/>
                    </a:lnTo>
                    <a:lnTo>
                      <a:pt x="8022" y="2390"/>
                    </a:lnTo>
                    <a:lnTo>
                      <a:pt x="8039" y="2423"/>
                    </a:lnTo>
                    <a:lnTo>
                      <a:pt x="8055" y="2456"/>
                    </a:lnTo>
                    <a:lnTo>
                      <a:pt x="8069" y="2489"/>
                    </a:lnTo>
                    <a:lnTo>
                      <a:pt x="8082" y="2524"/>
                    </a:lnTo>
                    <a:lnTo>
                      <a:pt x="8095" y="2558"/>
                    </a:lnTo>
                    <a:lnTo>
                      <a:pt x="8105" y="2591"/>
                    </a:lnTo>
                    <a:lnTo>
                      <a:pt x="8114" y="2625"/>
                    </a:lnTo>
                    <a:lnTo>
                      <a:pt x="8122" y="2659"/>
                    </a:lnTo>
                    <a:lnTo>
                      <a:pt x="8130" y="2693"/>
                    </a:lnTo>
                    <a:lnTo>
                      <a:pt x="8135" y="2726"/>
                    </a:lnTo>
                    <a:lnTo>
                      <a:pt x="8139" y="2762"/>
                    </a:lnTo>
                    <a:lnTo>
                      <a:pt x="8142" y="2796"/>
                    </a:lnTo>
                    <a:lnTo>
                      <a:pt x="8144" y="2830"/>
                    </a:lnTo>
                    <a:lnTo>
                      <a:pt x="8145" y="2864"/>
                    </a:lnTo>
                    <a:lnTo>
                      <a:pt x="8245"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08" name="Freeform 249"/>
              <p:cNvSpPr>
                <a:spLocks/>
              </p:cNvSpPr>
              <p:nvPr>
                <p:custDataLst>
                  <p:tags r:id="rId61"/>
                </p:custDataLst>
              </p:nvPr>
            </p:nvSpPr>
            <p:spPr bwMode="auto">
              <a:xfrm>
                <a:off x="370" y="3472"/>
                <a:ext cx="714" cy="160"/>
              </a:xfrm>
              <a:custGeom>
                <a:avLst/>
                <a:gdLst>
                  <a:gd name="T0" fmla="*/ 0 w 16419"/>
                  <a:gd name="T1" fmla="*/ 0 h 4020"/>
                  <a:gd name="T2" fmla="*/ 0 w 16419"/>
                  <a:gd name="T3" fmla="*/ 4020 h 4020"/>
                  <a:gd name="T4" fmla="*/ 16415 w 16419"/>
                  <a:gd name="T5" fmla="*/ 4020 h 4020"/>
                  <a:gd name="T6" fmla="*/ 16419 w 16419"/>
                  <a:gd name="T7" fmla="*/ 2 h 4020"/>
                  <a:gd name="T8" fmla="*/ 0 w 16419"/>
                  <a:gd name="T9" fmla="*/ 0 h 4020"/>
                </a:gdLst>
                <a:ahLst/>
                <a:cxnLst>
                  <a:cxn ang="0">
                    <a:pos x="T0" y="T1"/>
                  </a:cxn>
                  <a:cxn ang="0">
                    <a:pos x="T2" y="T3"/>
                  </a:cxn>
                  <a:cxn ang="0">
                    <a:pos x="T4" y="T5"/>
                  </a:cxn>
                  <a:cxn ang="0">
                    <a:pos x="T6" y="T7"/>
                  </a:cxn>
                  <a:cxn ang="0">
                    <a:pos x="T8" y="T9"/>
                  </a:cxn>
                </a:cxnLst>
                <a:rect l="0" t="0" r="r" b="b"/>
                <a:pathLst>
                  <a:path w="16419" h="4020">
                    <a:moveTo>
                      <a:pt x="0" y="0"/>
                    </a:moveTo>
                    <a:lnTo>
                      <a:pt x="0" y="4020"/>
                    </a:lnTo>
                    <a:lnTo>
                      <a:pt x="16415" y="4020"/>
                    </a:lnTo>
                    <a:lnTo>
                      <a:pt x="16419" y="2"/>
                    </a:lnTo>
                    <a:lnTo>
                      <a:pt x="0" y="0"/>
                    </a:lnTo>
                    <a:close/>
                  </a:path>
                </a:pathLst>
              </a:custGeom>
              <a:solidFill>
                <a:srgbClr val="7A9F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09" name="Freeform 250"/>
              <p:cNvSpPr>
                <a:spLocks/>
              </p:cNvSpPr>
              <p:nvPr>
                <p:custDataLst>
                  <p:tags r:id="rId62"/>
                </p:custDataLst>
              </p:nvPr>
            </p:nvSpPr>
            <p:spPr bwMode="auto">
              <a:xfrm>
                <a:off x="371" y="3356"/>
                <a:ext cx="713" cy="225"/>
              </a:xfrm>
              <a:custGeom>
                <a:avLst/>
                <a:gdLst>
                  <a:gd name="T0" fmla="*/ 16347 w 16389"/>
                  <a:gd name="T1" fmla="*/ 3102 h 5628"/>
                  <a:gd name="T2" fmla="*/ 16132 w 16389"/>
                  <a:gd name="T3" fmla="*/ 3517 h 5628"/>
                  <a:gd name="T4" fmla="*/ 15745 w 16389"/>
                  <a:gd name="T5" fmla="*/ 3909 h 5628"/>
                  <a:gd name="T6" fmla="*/ 15203 w 16389"/>
                  <a:gd name="T7" fmla="*/ 4272 h 5628"/>
                  <a:gd name="T8" fmla="*/ 14518 w 16389"/>
                  <a:gd name="T9" fmla="*/ 4604 h 5628"/>
                  <a:gd name="T10" fmla="*/ 13704 w 16389"/>
                  <a:gd name="T11" fmla="*/ 4896 h 5628"/>
                  <a:gd name="T12" fmla="*/ 12776 w 16389"/>
                  <a:gd name="T13" fmla="*/ 5147 h 5628"/>
                  <a:gd name="T14" fmla="*/ 11746 w 16389"/>
                  <a:gd name="T15" fmla="*/ 5351 h 5628"/>
                  <a:gd name="T16" fmla="*/ 10631 w 16389"/>
                  <a:gd name="T17" fmla="*/ 5502 h 5628"/>
                  <a:gd name="T18" fmla="*/ 9442 w 16389"/>
                  <a:gd name="T19" fmla="*/ 5596 h 5628"/>
                  <a:gd name="T20" fmla="*/ 8195 w 16389"/>
                  <a:gd name="T21" fmla="*/ 5628 h 5628"/>
                  <a:gd name="T22" fmla="*/ 6947 w 16389"/>
                  <a:gd name="T23" fmla="*/ 5596 h 5628"/>
                  <a:gd name="T24" fmla="*/ 5758 w 16389"/>
                  <a:gd name="T25" fmla="*/ 5502 h 5628"/>
                  <a:gd name="T26" fmla="*/ 4643 w 16389"/>
                  <a:gd name="T27" fmla="*/ 5351 h 5628"/>
                  <a:gd name="T28" fmla="*/ 3613 w 16389"/>
                  <a:gd name="T29" fmla="*/ 5147 h 5628"/>
                  <a:gd name="T30" fmla="*/ 2685 w 16389"/>
                  <a:gd name="T31" fmla="*/ 4896 h 5628"/>
                  <a:gd name="T32" fmla="*/ 1871 w 16389"/>
                  <a:gd name="T33" fmla="*/ 4604 h 5628"/>
                  <a:gd name="T34" fmla="*/ 1186 w 16389"/>
                  <a:gd name="T35" fmla="*/ 4272 h 5628"/>
                  <a:gd name="T36" fmla="*/ 644 w 16389"/>
                  <a:gd name="T37" fmla="*/ 3909 h 5628"/>
                  <a:gd name="T38" fmla="*/ 257 w 16389"/>
                  <a:gd name="T39" fmla="*/ 3517 h 5628"/>
                  <a:gd name="T40" fmla="*/ 42 w 16389"/>
                  <a:gd name="T41" fmla="*/ 3102 h 5628"/>
                  <a:gd name="T42" fmla="*/ 10 w 16389"/>
                  <a:gd name="T43" fmla="*/ 2669 h 5628"/>
                  <a:gd name="T44" fmla="*/ 165 w 16389"/>
                  <a:gd name="T45" fmla="*/ 2247 h 5628"/>
                  <a:gd name="T46" fmla="*/ 496 w 16389"/>
                  <a:gd name="T47" fmla="*/ 1846 h 5628"/>
                  <a:gd name="T48" fmla="*/ 989 w 16389"/>
                  <a:gd name="T49" fmla="*/ 1473 h 5628"/>
                  <a:gd name="T50" fmla="*/ 1628 w 16389"/>
                  <a:gd name="T51" fmla="*/ 1130 h 5628"/>
                  <a:gd name="T52" fmla="*/ 2400 w 16389"/>
                  <a:gd name="T53" fmla="*/ 824 h 5628"/>
                  <a:gd name="T54" fmla="*/ 3292 w 16389"/>
                  <a:gd name="T55" fmla="*/ 559 h 5628"/>
                  <a:gd name="T56" fmla="*/ 4289 w 16389"/>
                  <a:gd name="T57" fmla="*/ 339 h 5628"/>
                  <a:gd name="T58" fmla="*/ 5378 w 16389"/>
                  <a:gd name="T59" fmla="*/ 170 h 5628"/>
                  <a:gd name="T60" fmla="*/ 6543 w 16389"/>
                  <a:gd name="T61" fmla="*/ 57 h 5628"/>
                  <a:gd name="T62" fmla="*/ 7773 w 16389"/>
                  <a:gd name="T63" fmla="*/ 3 h 5628"/>
                  <a:gd name="T64" fmla="*/ 9032 w 16389"/>
                  <a:gd name="T65" fmla="*/ 14 h 5628"/>
                  <a:gd name="T66" fmla="*/ 10241 w 16389"/>
                  <a:gd name="T67" fmla="*/ 88 h 5628"/>
                  <a:gd name="T68" fmla="*/ 11383 w 16389"/>
                  <a:gd name="T69" fmla="*/ 220 h 5628"/>
                  <a:gd name="T70" fmla="*/ 12443 w 16389"/>
                  <a:gd name="T71" fmla="*/ 406 h 5628"/>
                  <a:gd name="T72" fmla="*/ 13407 w 16389"/>
                  <a:gd name="T73" fmla="*/ 642 h 5628"/>
                  <a:gd name="T74" fmla="*/ 14260 w 16389"/>
                  <a:gd name="T75" fmla="*/ 922 h 5628"/>
                  <a:gd name="T76" fmla="*/ 14990 w 16389"/>
                  <a:gd name="T77" fmla="*/ 1241 h 5628"/>
                  <a:gd name="T78" fmla="*/ 15581 w 16389"/>
                  <a:gd name="T79" fmla="*/ 1594 h 5628"/>
                  <a:gd name="T80" fmla="*/ 16022 w 16389"/>
                  <a:gd name="T81" fmla="*/ 1977 h 5628"/>
                  <a:gd name="T82" fmla="*/ 16296 w 16389"/>
                  <a:gd name="T83" fmla="*/ 2385 h 5628"/>
                  <a:gd name="T84" fmla="*/ 16389 w 16389"/>
                  <a:gd name="T85" fmla="*/ 2814 h 5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89" h="5628">
                    <a:moveTo>
                      <a:pt x="16389" y="2814"/>
                    </a:moveTo>
                    <a:lnTo>
                      <a:pt x="16379" y="2959"/>
                    </a:lnTo>
                    <a:lnTo>
                      <a:pt x="16347" y="3102"/>
                    </a:lnTo>
                    <a:lnTo>
                      <a:pt x="16296" y="3242"/>
                    </a:lnTo>
                    <a:lnTo>
                      <a:pt x="16224" y="3381"/>
                    </a:lnTo>
                    <a:lnTo>
                      <a:pt x="16132" y="3517"/>
                    </a:lnTo>
                    <a:lnTo>
                      <a:pt x="16022" y="3650"/>
                    </a:lnTo>
                    <a:lnTo>
                      <a:pt x="15893" y="3781"/>
                    </a:lnTo>
                    <a:lnTo>
                      <a:pt x="15745" y="3909"/>
                    </a:lnTo>
                    <a:lnTo>
                      <a:pt x="15581" y="4033"/>
                    </a:lnTo>
                    <a:lnTo>
                      <a:pt x="15400" y="4155"/>
                    </a:lnTo>
                    <a:lnTo>
                      <a:pt x="15203" y="4272"/>
                    </a:lnTo>
                    <a:lnTo>
                      <a:pt x="14990" y="4387"/>
                    </a:lnTo>
                    <a:lnTo>
                      <a:pt x="14761" y="4497"/>
                    </a:lnTo>
                    <a:lnTo>
                      <a:pt x="14518" y="4604"/>
                    </a:lnTo>
                    <a:lnTo>
                      <a:pt x="14260" y="4706"/>
                    </a:lnTo>
                    <a:lnTo>
                      <a:pt x="13989" y="4803"/>
                    </a:lnTo>
                    <a:lnTo>
                      <a:pt x="13704" y="4896"/>
                    </a:lnTo>
                    <a:lnTo>
                      <a:pt x="13407" y="4985"/>
                    </a:lnTo>
                    <a:lnTo>
                      <a:pt x="13096" y="5069"/>
                    </a:lnTo>
                    <a:lnTo>
                      <a:pt x="12776" y="5147"/>
                    </a:lnTo>
                    <a:lnTo>
                      <a:pt x="12443" y="5220"/>
                    </a:lnTo>
                    <a:lnTo>
                      <a:pt x="12100" y="5289"/>
                    </a:lnTo>
                    <a:lnTo>
                      <a:pt x="11746" y="5351"/>
                    </a:lnTo>
                    <a:lnTo>
                      <a:pt x="11383" y="5407"/>
                    </a:lnTo>
                    <a:lnTo>
                      <a:pt x="11011" y="5457"/>
                    </a:lnTo>
                    <a:lnTo>
                      <a:pt x="10631" y="5502"/>
                    </a:lnTo>
                    <a:lnTo>
                      <a:pt x="10241" y="5539"/>
                    </a:lnTo>
                    <a:lnTo>
                      <a:pt x="9846" y="5571"/>
                    </a:lnTo>
                    <a:lnTo>
                      <a:pt x="9442" y="5596"/>
                    </a:lnTo>
                    <a:lnTo>
                      <a:pt x="9032" y="5614"/>
                    </a:lnTo>
                    <a:lnTo>
                      <a:pt x="8616" y="5624"/>
                    </a:lnTo>
                    <a:lnTo>
                      <a:pt x="8195" y="5628"/>
                    </a:lnTo>
                    <a:lnTo>
                      <a:pt x="7773" y="5624"/>
                    </a:lnTo>
                    <a:lnTo>
                      <a:pt x="7357" y="5614"/>
                    </a:lnTo>
                    <a:lnTo>
                      <a:pt x="6947" y="5596"/>
                    </a:lnTo>
                    <a:lnTo>
                      <a:pt x="6543" y="5571"/>
                    </a:lnTo>
                    <a:lnTo>
                      <a:pt x="6148" y="5539"/>
                    </a:lnTo>
                    <a:lnTo>
                      <a:pt x="5758" y="5502"/>
                    </a:lnTo>
                    <a:lnTo>
                      <a:pt x="5378" y="5457"/>
                    </a:lnTo>
                    <a:lnTo>
                      <a:pt x="5006" y="5407"/>
                    </a:lnTo>
                    <a:lnTo>
                      <a:pt x="4643" y="5351"/>
                    </a:lnTo>
                    <a:lnTo>
                      <a:pt x="4289" y="5289"/>
                    </a:lnTo>
                    <a:lnTo>
                      <a:pt x="3946" y="5220"/>
                    </a:lnTo>
                    <a:lnTo>
                      <a:pt x="3613" y="5147"/>
                    </a:lnTo>
                    <a:lnTo>
                      <a:pt x="3292" y="5069"/>
                    </a:lnTo>
                    <a:lnTo>
                      <a:pt x="2982" y="4985"/>
                    </a:lnTo>
                    <a:lnTo>
                      <a:pt x="2685" y="4896"/>
                    </a:lnTo>
                    <a:lnTo>
                      <a:pt x="2400" y="4803"/>
                    </a:lnTo>
                    <a:lnTo>
                      <a:pt x="2129" y="4706"/>
                    </a:lnTo>
                    <a:lnTo>
                      <a:pt x="1871" y="4604"/>
                    </a:lnTo>
                    <a:lnTo>
                      <a:pt x="1628" y="4497"/>
                    </a:lnTo>
                    <a:lnTo>
                      <a:pt x="1399" y="4387"/>
                    </a:lnTo>
                    <a:lnTo>
                      <a:pt x="1186" y="4272"/>
                    </a:lnTo>
                    <a:lnTo>
                      <a:pt x="989" y="4155"/>
                    </a:lnTo>
                    <a:lnTo>
                      <a:pt x="808" y="4033"/>
                    </a:lnTo>
                    <a:lnTo>
                      <a:pt x="644" y="3909"/>
                    </a:lnTo>
                    <a:lnTo>
                      <a:pt x="496" y="3781"/>
                    </a:lnTo>
                    <a:lnTo>
                      <a:pt x="367" y="3650"/>
                    </a:lnTo>
                    <a:lnTo>
                      <a:pt x="257" y="3517"/>
                    </a:lnTo>
                    <a:lnTo>
                      <a:pt x="165" y="3381"/>
                    </a:lnTo>
                    <a:lnTo>
                      <a:pt x="93" y="3242"/>
                    </a:lnTo>
                    <a:lnTo>
                      <a:pt x="42" y="3102"/>
                    </a:lnTo>
                    <a:lnTo>
                      <a:pt x="10" y="2959"/>
                    </a:lnTo>
                    <a:lnTo>
                      <a:pt x="0" y="2814"/>
                    </a:lnTo>
                    <a:lnTo>
                      <a:pt x="10" y="2669"/>
                    </a:lnTo>
                    <a:lnTo>
                      <a:pt x="42" y="2526"/>
                    </a:lnTo>
                    <a:lnTo>
                      <a:pt x="93" y="2385"/>
                    </a:lnTo>
                    <a:lnTo>
                      <a:pt x="165" y="2247"/>
                    </a:lnTo>
                    <a:lnTo>
                      <a:pt x="257" y="2111"/>
                    </a:lnTo>
                    <a:lnTo>
                      <a:pt x="367" y="1977"/>
                    </a:lnTo>
                    <a:lnTo>
                      <a:pt x="496" y="1846"/>
                    </a:lnTo>
                    <a:lnTo>
                      <a:pt x="644" y="1719"/>
                    </a:lnTo>
                    <a:lnTo>
                      <a:pt x="808" y="1594"/>
                    </a:lnTo>
                    <a:lnTo>
                      <a:pt x="989" y="1473"/>
                    </a:lnTo>
                    <a:lnTo>
                      <a:pt x="1186" y="1355"/>
                    </a:lnTo>
                    <a:lnTo>
                      <a:pt x="1399" y="1241"/>
                    </a:lnTo>
                    <a:lnTo>
                      <a:pt x="1628" y="1130"/>
                    </a:lnTo>
                    <a:lnTo>
                      <a:pt x="1871" y="1023"/>
                    </a:lnTo>
                    <a:lnTo>
                      <a:pt x="2129" y="922"/>
                    </a:lnTo>
                    <a:lnTo>
                      <a:pt x="2400" y="824"/>
                    </a:lnTo>
                    <a:lnTo>
                      <a:pt x="2685" y="730"/>
                    </a:lnTo>
                    <a:lnTo>
                      <a:pt x="2982" y="642"/>
                    </a:lnTo>
                    <a:lnTo>
                      <a:pt x="3292" y="559"/>
                    </a:lnTo>
                    <a:lnTo>
                      <a:pt x="3613" y="480"/>
                    </a:lnTo>
                    <a:lnTo>
                      <a:pt x="3946" y="406"/>
                    </a:lnTo>
                    <a:lnTo>
                      <a:pt x="4289" y="339"/>
                    </a:lnTo>
                    <a:lnTo>
                      <a:pt x="4643" y="277"/>
                    </a:lnTo>
                    <a:lnTo>
                      <a:pt x="5006" y="220"/>
                    </a:lnTo>
                    <a:lnTo>
                      <a:pt x="5378" y="170"/>
                    </a:lnTo>
                    <a:lnTo>
                      <a:pt x="5758" y="126"/>
                    </a:lnTo>
                    <a:lnTo>
                      <a:pt x="6148" y="88"/>
                    </a:lnTo>
                    <a:lnTo>
                      <a:pt x="6543" y="57"/>
                    </a:lnTo>
                    <a:lnTo>
                      <a:pt x="6947" y="32"/>
                    </a:lnTo>
                    <a:lnTo>
                      <a:pt x="7357" y="14"/>
                    </a:lnTo>
                    <a:lnTo>
                      <a:pt x="7773" y="3"/>
                    </a:lnTo>
                    <a:lnTo>
                      <a:pt x="8195" y="0"/>
                    </a:lnTo>
                    <a:lnTo>
                      <a:pt x="8616" y="3"/>
                    </a:lnTo>
                    <a:lnTo>
                      <a:pt x="9032" y="14"/>
                    </a:lnTo>
                    <a:lnTo>
                      <a:pt x="9442" y="32"/>
                    </a:lnTo>
                    <a:lnTo>
                      <a:pt x="9846" y="57"/>
                    </a:lnTo>
                    <a:lnTo>
                      <a:pt x="10241" y="88"/>
                    </a:lnTo>
                    <a:lnTo>
                      <a:pt x="10631" y="126"/>
                    </a:lnTo>
                    <a:lnTo>
                      <a:pt x="11011" y="170"/>
                    </a:lnTo>
                    <a:lnTo>
                      <a:pt x="11383" y="220"/>
                    </a:lnTo>
                    <a:lnTo>
                      <a:pt x="11746" y="277"/>
                    </a:lnTo>
                    <a:lnTo>
                      <a:pt x="12100" y="339"/>
                    </a:lnTo>
                    <a:lnTo>
                      <a:pt x="12443" y="406"/>
                    </a:lnTo>
                    <a:lnTo>
                      <a:pt x="12776" y="480"/>
                    </a:lnTo>
                    <a:lnTo>
                      <a:pt x="13096" y="559"/>
                    </a:lnTo>
                    <a:lnTo>
                      <a:pt x="13407" y="642"/>
                    </a:lnTo>
                    <a:lnTo>
                      <a:pt x="13704" y="730"/>
                    </a:lnTo>
                    <a:lnTo>
                      <a:pt x="13989" y="824"/>
                    </a:lnTo>
                    <a:lnTo>
                      <a:pt x="14260" y="922"/>
                    </a:lnTo>
                    <a:lnTo>
                      <a:pt x="14518" y="1023"/>
                    </a:lnTo>
                    <a:lnTo>
                      <a:pt x="14761" y="1130"/>
                    </a:lnTo>
                    <a:lnTo>
                      <a:pt x="14990" y="1241"/>
                    </a:lnTo>
                    <a:lnTo>
                      <a:pt x="15203" y="1355"/>
                    </a:lnTo>
                    <a:lnTo>
                      <a:pt x="15400" y="1473"/>
                    </a:lnTo>
                    <a:lnTo>
                      <a:pt x="15581" y="1594"/>
                    </a:lnTo>
                    <a:lnTo>
                      <a:pt x="15745" y="1719"/>
                    </a:lnTo>
                    <a:lnTo>
                      <a:pt x="15893" y="1846"/>
                    </a:lnTo>
                    <a:lnTo>
                      <a:pt x="16022" y="1977"/>
                    </a:lnTo>
                    <a:lnTo>
                      <a:pt x="16132" y="2111"/>
                    </a:lnTo>
                    <a:lnTo>
                      <a:pt x="16224" y="2247"/>
                    </a:lnTo>
                    <a:lnTo>
                      <a:pt x="16296" y="2385"/>
                    </a:lnTo>
                    <a:lnTo>
                      <a:pt x="16347" y="2526"/>
                    </a:lnTo>
                    <a:lnTo>
                      <a:pt x="16379" y="2669"/>
                    </a:lnTo>
                    <a:lnTo>
                      <a:pt x="16389" y="2814"/>
                    </a:lnTo>
                    <a:close/>
                  </a:path>
                </a:pathLst>
              </a:custGeom>
              <a:solidFill>
                <a:srgbClr val="B8CAD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10" name="Freeform 251"/>
              <p:cNvSpPr>
                <a:spLocks/>
              </p:cNvSpPr>
              <p:nvPr>
                <p:custDataLst>
                  <p:tags r:id="rId63"/>
                </p:custDataLst>
              </p:nvPr>
            </p:nvSpPr>
            <p:spPr bwMode="auto">
              <a:xfrm>
                <a:off x="725" y="3469"/>
                <a:ext cx="361" cy="114"/>
              </a:xfrm>
              <a:custGeom>
                <a:avLst/>
                <a:gdLst>
                  <a:gd name="T0" fmla="*/ 472 w 8295"/>
                  <a:gd name="T1" fmla="*/ 2861 h 2864"/>
                  <a:gd name="T2" fmla="*/ 1300 w 8295"/>
                  <a:gd name="T3" fmla="*/ 2832 h 2864"/>
                  <a:gd name="T4" fmla="*/ 2102 w 8295"/>
                  <a:gd name="T5" fmla="*/ 2776 h 2864"/>
                  <a:gd name="T6" fmla="*/ 2873 w 8295"/>
                  <a:gd name="T7" fmla="*/ 2693 h 2864"/>
                  <a:gd name="T8" fmla="*/ 3609 w 8295"/>
                  <a:gd name="T9" fmla="*/ 2587 h 2864"/>
                  <a:gd name="T10" fmla="*/ 4308 w 8295"/>
                  <a:gd name="T11" fmla="*/ 2456 h 2864"/>
                  <a:gd name="T12" fmla="*/ 4964 w 8295"/>
                  <a:gd name="T13" fmla="*/ 2304 h 2864"/>
                  <a:gd name="T14" fmla="*/ 5426 w 8295"/>
                  <a:gd name="T15" fmla="*/ 2176 h 2864"/>
                  <a:gd name="T16" fmla="*/ 5718 w 8295"/>
                  <a:gd name="T17" fmla="*/ 2085 h 2864"/>
                  <a:gd name="T18" fmla="*/ 5998 w 8295"/>
                  <a:gd name="T19" fmla="*/ 1988 h 2864"/>
                  <a:gd name="T20" fmla="*/ 6264 w 8295"/>
                  <a:gd name="T21" fmla="*/ 1888 h 2864"/>
                  <a:gd name="T22" fmla="*/ 6516 w 8295"/>
                  <a:gd name="T23" fmla="*/ 1783 h 2864"/>
                  <a:gd name="T24" fmla="*/ 6754 w 8295"/>
                  <a:gd name="T25" fmla="*/ 1674 h 2864"/>
                  <a:gd name="T26" fmla="*/ 6977 w 8295"/>
                  <a:gd name="T27" fmla="*/ 1561 h 2864"/>
                  <a:gd name="T28" fmla="*/ 7184 w 8295"/>
                  <a:gd name="T29" fmla="*/ 1444 h 2864"/>
                  <a:gd name="T30" fmla="*/ 7376 w 8295"/>
                  <a:gd name="T31" fmla="*/ 1323 h 2864"/>
                  <a:gd name="T32" fmla="*/ 7551 w 8295"/>
                  <a:gd name="T33" fmla="*/ 1198 h 2864"/>
                  <a:gd name="T34" fmla="*/ 7709 w 8295"/>
                  <a:gd name="T35" fmla="*/ 1069 h 2864"/>
                  <a:gd name="T36" fmla="*/ 7850 w 8295"/>
                  <a:gd name="T37" fmla="*/ 938 h 2864"/>
                  <a:gd name="T38" fmla="*/ 7972 w 8295"/>
                  <a:gd name="T39" fmla="*/ 802 h 2864"/>
                  <a:gd name="T40" fmla="*/ 8076 w 8295"/>
                  <a:gd name="T41" fmla="*/ 663 h 2864"/>
                  <a:gd name="T42" fmla="*/ 8161 w 8295"/>
                  <a:gd name="T43" fmla="*/ 521 h 2864"/>
                  <a:gd name="T44" fmla="*/ 8226 w 8295"/>
                  <a:gd name="T45" fmla="*/ 376 h 2864"/>
                  <a:gd name="T46" fmla="*/ 8269 w 8295"/>
                  <a:gd name="T47" fmla="*/ 227 h 2864"/>
                  <a:gd name="T48" fmla="*/ 8292 w 8295"/>
                  <a:gd name="T49" fmla="*/ 76 h 2864"/>
                  <a:gd name="T50" fmla="*/ 8194 w 8295"/>
                  <a:gd name="T51" fmla="*/ 34 h 2864"/>
                  <a:gd name="T52" fmla="*/ 8180 w 8295"/>
                  <a:gd name="T53" fmla="*/ 172 h 2864"/>
                  <a:gd name="T54" fmla="*/ 8145 w 8295"/>
                  <a:gd name="T55" fmla="*/ 307 h 2864"/>
                  <a:gd name="T56" fmla="*/ 8089 w 8295"/>
                  <a:gd name="T57" fmla="*/ 441 h 2864"/>
                  <a:gd name="T58" fmla="*/ 8016 w 8295"/>
                  <a:gd name="T59" fmla="*/ 574 h 2864"/>
                  <a:gd name="T60" fmla="*/ 7922 w 8295"/>
                  <a:gd name="T61" fmla="*/ 706 h 2864"/>
                  <a:gd name="T62" fmla="*/ 7810 w 8295"/>
                  <a:gd name="T63" fmla="*/ 835 h 2864"/>
                  <a:gd name="T64" fmla="*/ 7679 w 8295"/>
                  <a:gd name="T65" fmla="*/ 963 h 2864"/>
                  <a:gd name="T66" fmla="*/ 7530 w 8295"/>
                  <a:gd name="T67" fmla="*/ 1087 h 2864"/>
                  <a:gd name="T68" fmla="*/ 7364 w 8295"/>
                  <a:gd name="T69" fmla="*/ 1209 h 2864"/>
                  <a:gd name="T70" fmla="*/ 7182 w 8295"/>
                  <a:gd name="T71" fmla="*/ 1328 h 2864"/>
                  <a:gd name="T72" fmla="*/ 6982 w 8295"/>
                  <a:gd name="T73" fmla="*/ 1444 h 2864"/>
                  <a:gd name="T74" fmla="*/ 6766 w 8295"/>
                  <a:gd name="T75" fmla="*/ 1556 h 2864"/>
                  <a:gd name="T76" fmla="*/ 6537 w 8295"/>
                  <a:gd name="T77" fmla="*/ 1664 h 2864"/>
                  <a:gd name="T78" fmla="*/ 6290 w 8295"/>
                  <a:gd name="T79" fmla="*/ 1769 h 2864"/>
                  <a:gd name="T80" fmla="*/ 6032 w 8295"/>
                  <a:gd name="T81" fmla="*/ 1869 h 2864"/>
                  <a:gd name="T82" fmla="*/ 5757 w 8295"/>
                  <a:gd name="T83" fmla="*/ 1965 h 2864"/>
                  <a:gd name="T84" fmla="*/ 5471 w 8295"/>
                  <a:gd name="T85" fmla="*/ 2058 h 2864"/>
                  <a:gd name="T86" fmla="*/ 5096 w 8295"/>
                  <a:gd name="T87" fmla="*/ 2165 h 2864"/>
                  <a:gd name="T88" fmla="*/ 4455 w 8295"/>
                  <a:gd name="T89" fmla="*/ 2322 h 2864"/>
                  <a:gd name="T90" fmla="*/ 3771 w 8295"/>
                  <a:gd name="T91" fmla="*/ 2457 h 2864"/>
                  <a:gd name="T92" fmla="*/ 3047 w 8295"/>
                  <a:gd name="T93" fmla="*/ 2569 h 2864"/>
                  <a:gd name="T94" fmla="*/ 2287 w 8295"/>
                  <a:gd name="T95" fmla="*/ 2658 h 2864"/>
                  <a:gd name="T96" fmla="*/ 1497 w 8295"/>
                  <a:gd name="T97" fmla="*/ 2720 h 2864"/>
                  <a:gd name="T98" fmla="*/ 678 w 8295"/>
                  <a:gd name="T99" fmla="*/ 2756 h 2864"/>
                  <a:gd name="T100" fmla="*/ 50 w 8295"/>
                  <a:gd name="T101" fmla="*/ 2764 h 2864"/>
                  <a:gd name="T102" fmla="*/ 33 w 8295"/>
                  <a:gd name="T103" fmla="*/ 2767 h 2864"/>
                  <a:gd name="T104" fmla="*/ 15 w 8295"/>
                  <a:gd name="T105" fmla="*/ 2776 h 2864"/>
                  <a:gd name="T106" fmla="*/ 0 w 8295"/>
                  <a:gd name="T107" fmla="*/ 2805 h 2864"/>
                  <a:gd name="T108" fmla="*/ 6 w 8295"/>
                  <a:gd name="T109" fmla="*/ 2841 h 2864"/>
                  <a:gd name="T110" fmla="*/ 23 w 8295"/>
                  <a:gd name="T111" fmla="*/ 2858 h 2864"/>
                  <a:gd name="T112" fmla="*/ 43 w 8295"/>
                  <a:gd name="T113" fmla="*/ 2864 h 2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5" h="2864">
                    <a:moveTo>
                      <a:pt x="50" y="2864"/>
                    </a:moveTo>
                    <a:lnTo>
                      <a:pt x="50" y="2864"/>
                    </a:lnTo>
                    <a:lnTo>
                      <a:pt x="262" y="2864"/>
                    </a:lnTo>
                    <a:lnTo>
                      <a:pt x="472" y="2861"/>
                    </a:lnTo>
                    <a:lnTo>
                      <a:pt x="681" y="2856"/>
                    </a:lnTo>
                    <a:lnTo>
                      <a:pt x="888" y="2849"/>
                    </a:lnTo>
                    <a:lnTo>
                      <a:pt x="1095" y="2841"/>
                    </a:lnTo>
                    <a:lnTo>
                      <a:pt x="1300" y="2832"/>
                    </a:lnTo>
                    <a:lnTo>
                      <a:pt x="1503" y="2820"/>
                    </a:lnTo>
                    <a:lnTo>
                      <a:pt x="1704" y="2807"/>
                    </a:lnTo>
                    <a:lnTo>
                      <a:pt x="1904" y="2792"/>
                    </a:lnTo>
                    <a:lnTo>
                      <a:pt x="2102" y="2776"/>
                    </a:lnTo>
                    <a:lnTo>
                      <a:pt x="2296" y="2757"/>
                    </a:lnTo>
                    <a:lnTo>
                      <a:pt x="2491" y="2738"/>
                    </a:lnTo>
                    <a:lnTo>
                      <a:pt x="2683" y="2716"/>
                    </a:lnTo>
                    <a:lnTo>
                      <a:pt x="2873" y="2693"/>
                    </a:lnTo>
                    <a:lnTo>
                      <a:pt x="3060" y="2668"/>
                    </a:lnTo>
                    <a:lnTo>
                      <a:pt x="3246" y="2642"/>
                    </a:lnTo>
                    <a:lnTo>
                      <a:pt x="3429" y="2615"/>
                    </a:lnTo>
                    <a:lnTo>
                      <a:pt x="3609" y="2587"/>
                    </a:lnTo>
                    <a:lnTo>
                      <a:pt x="3788" y="2555"/>
                    </a:lnTo>
                    <a:lnTo>
                      <a:pt x="3964" y="2523"/>
                    </a:lnTo>
                    <a:lnTo>
                      <a:pt x="4137" y="2490"/>
                    </a:lnTo>
                    <a:lnTo>
                      <a:pt x="4308" y="2456"/>
                    </a:lnTo>
                    <a:lnTo>
                      <a:pt x="4476" y="2420"/>
                    </a:lnTo>
                    <a:lnTo>
                      <a:pt x="4642" y="2383"/>
                    </a:lnTo>
                    <a:lnTo>
                      <a:pt x="4804" y="2343"/>
                    </a:lnTo>
                    <a:lnTo>
                      <a:pt x="4964" y="2304"/>
                    </a:lnTo>
                    <a:lnTo>
                      <a:pt x="5122" y="2263"/>
                    </a:lnTo>
                    <a:lnTo>
                      <a:pt x="5275" y="2219"/>
                    </a:lnTo>
                    <a:lnTo>
                      <a:pt x="5351" y="2197"/>
                    </a:lnTo>
                    <a:lnTo>
                      <a:pt x="5426" y="2176"/>
                    </a:lnTo>
                    <a:lnTo>
                      <a:pt x="5500" y="2153"/>
                    </a:lnTo>
                    <a:lnTo>
                      <a:pt x="5574" y="2131"/>
                    </a:lnTo>
                    <a:lnTo>
                      <a:pt x="5646" y="2107"/>
                    </a:lnTo>
                    <a:lnTo>
                      <a:pt x="5718" y="2085"/>
                    </a:lnTo>
                    <a:lnTo>
                      <a:pt x="5789" y="2061"/>
                    </a:lnTo>
                    <a:lnTo>
                      <a:pt x="5859" y="2037"/>
                    </a:lnTo>
                    <a:lnTo>
                      <a:pt x="5930" y="2013"/>
                    </a:lnTo>
                    <a:lnTo>
                      <a:pt x="5998" y="1988"/>
                    </a:lnTo>
                    <a:lnTo>
                      <a:pt x="6066" y="1963"/>
                    </a:lnTo>
                    <a:lnTo>
                      <a:pt x="6133" y="1939"/>
                    </a:lnTo>
                    <a:lnTo>
                      <a:pt x="6199" y="1914"/>
                    </a:lnTo>
                    <a:lnTo>
                      <a:pt x="6264" y="1888"/>
                    </a:lnTo>
                    <a:lnTo>
                      <a:pt x="6328" y="1862"/>
                    </a:lnTo>
                    <a:lnTo>
                      <a:pt x="6391" y="1836"/>
                    </a:lnTo>
                    <a:lnTo>
                      <a:pt x="6454" y="1809"/>
                    </a:lnTo>
                    <a:lnTo>
                      <a:pt x="6516" y="1783"/>
                    </a:lnTo>
                    <a:lnTo>
                      <a:pt x="6577" y="1756"/>
                    </a:lnTo>
                    <a:lnTo>
                      <a:pt x="6637" y="1728"/>
                    </a:lnTo>
                    <a:lnTo>
                      <a:pt x="6695" y="1702"/>
                    </a:lnTo>
                    <a:lnTo>
                      <a:pt x="6754" y="1674"/>
                    </a:lnTo>
                    <a:lnTo>
                      <a:pt x="6811" y="1646"/>
                    </a:lnTo>
                    <a:lnTo>
                      <a:pt x="6867" y="1618"/>
                    </a:lnTo>
                    <a:lnTo>
                      <a:pt x="6922" y="1590"/>
                    </a:lnTo>
                    <a:lnTo>
                      <a:pt x="6977" y="1561"/>
                    </a:lnTo>
                    <a:lnTo>
                      <a:pt x="7030" y="1532"/>
                    </a:lnTo>
                    <a:lnTo>
                      <a:pt x="7082" y="1503"/>
                    </a:lnTo>
                    <a:lnTo>
                      <a:pt x="7133" y="1473"/>
                    </a:lnTo>
                    <a:lnTo>
                      <a:pt x="7184" y="1444"/>
                    </a:lnTo>
                    <a:lnTo>
                      <a:pt x="7233" y="1414"/>
                    </a:lnTo>
                    <a:lnTo>
                      <a:pt x="7282" y="1384"/>
                    </a:lnTo>
                    <a:lnTo>
                      <a:pt x="7329" y="1353"/>
                    </a:lnTo>
                    <a:lnTo>
                      <a:pt x="7376" y="1323"/>
                    </a:lnTo>
                    <a:lnTo>
                      <a:pt x="7421" y="1292"/>
                    </a:lnTo>
                    <a:lnTo>
                      <a:pt x="7465" y="1261"/>
                    </a:lnTo>
                    <a:lnTo>
                      <a:pt x="7509" y="1230"/>
                    </a:lnTo>
                    <a:lnTo>
                      <a:pt x="7551" y="1198"/>
                    </a:lnTo>
                    <a:lnTo>
                      <a:pt x="7592" y="1165"/>
                    </a:lnTo>
                    <a:lnTo>
                      <a:pt x="7632" y="1134"/>
                    </a:lnTo>
                    <a:lnTo>
                      <a:pt x="7670" y="1102"/>
                    </a:lnTo>
                    <a:lnTo>
                      <a:pt x="7709" y="1069"/>
                    </a:lnTo>
                    <a:lnTo>
                      <a:pt x="7746" y="1037"/>
                    </a:lnTo>
                    <a:lnTo>
                      <a:pt x="7782" y="1004"/>
                    </a:lnTo>
                    <a:lnTo>
                      <a:pt x="7816" y="971"/>
                    </a:lnTo>
                    <a:lnTo>
                      <a:pt x="7850" y="938"/>
                    </a:lnTo>
                    <a:lnTo>
                      <a:pt x="7882" y="904"/>
                    </a:lnTo>
                    <a:lnTo>
                      <a:pt x="7914" y="870"/>
                    </a:lnTo>
                    <a:lnTo>
                      <a:pt x="7944" y="836"/>
                    </a:lnTo>
                    <a:lnTo>
                      <a:pt x="7972" y="802"/>
                    </a:lnTo>
                    <a:lnTo>
                      <a:pt x="8000" y="768"/>
                    </a:lnTo>
                    <a:lnTo>
                      <a:pt x="8027" y="733"/>
                    </a:lnTo>
                    <a:lnTo>
                      <a:pt x="8052" y="699"/>
                    </a:lnTo>
                    <a:lnTo>
                      <a:pt x="8076" y="663"/>
                    </a:lnTo>
                    <a:lnTo>
                      <a:pt x="8099" y="628"/>
                    </a:lnTo>
                    <a:lnTo>
                      <a:pt x="8121" y="592"/>
                    </a:lnTo>
                    <a:lnTo>
                      <a:pt x="8141" y="557"/>
                    </a:lnTo>
                    <a:lnTo>
                      <a:pt x="8161" y="521"/>
                    </a:lnTo>
                    <a:lnTo>
                      <a:pt x="8180" y="484"/>
                    </a:lnTo>
                    <a:lnTo>
                      <a:pt x="8196" y="448"/>
                    </a:lnTo>
                    <a:lnTo>
                      <a:pt x="8212" y="412"/>
                    </a:lnTo>
                    <a:lnTo>
                      <a:pt x="8226" y="376"/>
                    </a:lnTo>
                    <a:lnTo>
                      <a:pt x="8238" y="338"/>
                    </a:lnTo>
                    <a:lnTo>
                      <a:pt x="8251" y="301"/>
                    </a:lnTo>
                    <a:lnTo>
                      <a:pt x="8261" y="265"/>
                    </a:lnTo>
                    <a:lnTo>
                      <a:pt x="8269" y="227"/>
                    </a:lnTo>
                    <a:lnTo>
                      <a:pt x="8277" y="189"/>
                    </a:lnTo>
                    <a:lnTo>
                      <a:pt x="8284" y="152"/>
                    </a:lnTo>
                    <a:lnTo>
                      <a:pt x="8289" y="114"/>
                    </a:lnTo>
                    <a:lnTo>
                      <a:pt x="8292" y="76"/>
                    </a:lnTo>
                    <a:lnTo>
                      <a:pt x="8294" y="38"/>
                    </a:lnTo>
                    <a:lnTo>
                      <a:pt x="8295" y="0"/>
                    </a:lnTo>
                    <a:lnTo>
                      <a:pt x="8195" y="0"/>
                    </a:lnTo>
                    <a:lnTo>
                      <a:pt x="8194" y="34"/>
                    </a:lnTo>
                    <a:lnTo>
                      <a:pt x="8192" y="69"/>
                    </a:lnTo>
                    <a:lnTo>
                      <a:pt x="8189" y="103"/>
                    </a:lnTo>
                    <a:lnTo>
                      <a:pt x="8185" y="138"/>
                    </a:lnTo>
                    <a:lnTo>
                      <a:pt x="8180" y="172"/>
                    </a:lnTo>
                    <a:lnTo>
                      <a:pt x="8172" y="205"/>
                    </a:lnTo>
                    <a:lnTo>
                      <a:pt x="8164" y="239"/>
                    </a:lnTo>
                    <a:lnTo>
                      <a:pt x="8155" y="273"/>
                    </a:lnTo>
                    <a:lnTo>
                      <a:pt x="8145" y="307"/>
                    </a:lnTo>
                    <a:lnTo>
                      <a:pt x="8132" y="340"/>
                    </a:lnTo>
                    <a:lnTo>
                      <a:pt x="8119" y="375"/>
                    </a:lnTo>
                    <a:lnTo>
                      <a:pt x="8105" y="408"/>
                    </a:lnTo>
                    <a:lnTo>
                      <a:pt x="8089" y="441"/>
                    </a:lnTo>
                    <a:lnTo>
                      <a:pt x="8072" y="475"/>
                    </a:lnTo>
                    <a:lnTo>
                      <a:pt x="8055" y="508"/>
                    </a:lnTo>
                    <a:lnTo>
                      <a:pt x="8035" y="541"/>
                    </a:lnTo>
                    <a:lnTo>
                      <a:pt x="8016" y="574"/>
                    </a:lnTo>
                    <a:lnTo>
                      <a:pt x="7993" y="608"/>
                    </a:lnTo>
                    <a:lnTo>
                      <a:pt x="7970" y="640"/>
                    </a:lnTo>
                    <a:lnTo>
                      <a:pt x="7947" y="673"/>
                    </a:lnTo>
                    <a:lnTo>
                      <a:pt x="7922" y="706"/>
                    </a:lnTo>
                    <a:lnTo>
                      <a:pt x="7895" y="738"/>
                    </a:lnTo>
                    <a:lnTo>
                      <a:pt x="7868" y="770"/>
                    </a:lnTo>
                    <a:lnTo>
                      <a:pt x="7839" y="803"/>
                    </a:lnTo>
                    <a:lnTo>
                      <a:pt x="7810" y="835"/>
                    </a:lnTo>
                    <a:lnTo>
                      <a:pt x="7779" y="867"/>
                    </a:lnTo>
                    <a:lnTo>
                      <a:pt x="7747" y="898"/>
                    </a:lnTo>
                    <a:lnTo>
                      <a:pt x="7714" y="930"/>
                    </a:lnTo>
                    <a:lnTo>
                      <a:pt x="7679" y="963"/>
                    </a:lnTo>
                    <a:lnTo>
                      <a:pt x="7644" y="994"/>
                    </a:lnTo>
                    <a:lnTo>
                      <a:pt x="7607" y="1025"/>
                    </a:lnTo>
                    <a:lnTo>
                      <a:pt x="7569" y="1056"/>
                    </a:lnTo>
                    <a:lnTo>
                      <a:pt x="7530" y="1087"/>
                    </a:lnTo>
                    <a:lnTo>
                      <a:pt x="7490" y="1118"/>
                    </a:lnTo>
                    <a:lnTo>
                      <a:pt x="7450" y="1148"/>
                    </a:lnTo>
                    <a:lnTo>
                      <a:pt x="7408" y="1179"/>
                    </a:lnTo>
                    <a:lnTo>
                      <a:pt x="7364" y="1209"/>
                    </a:lnTo>
                    <a:lnTo>
                      <a:pt x="7320" y="1239"/>
                    </a:lnTo>
                    <a:lnTo>
                      <a:pt x="7275" y="1269"/>
                    </a:lnTo>
                    <a:lnTo>
                      <a:pt x="7228" y="1299"/>
                    </a:lnTo>
                    <a:lnTo>
                      <a:pt x="7182" y="1328"/>
                    </a:lnTo>
                    <a:lnTo>
                      <a:pt x="7133" y="1357"/>
                    </a:lnTo>
                    <a:lnTo>
                      <a:pt x="7084" y="1386"/>
                    </a:lnTo>
                    <a:lnTo>
                      <a:pt x="7033" y="1415"/>
                    </a:lnTo>
                    <a:lnTo>
                      <a:pt x="6982" y="1444"/>
                    </a:lnTo>
                    <a:lnTo>
                      <a:pt x="6929" y="1472"/>
                    </a:lnTo>
                    <a:lnTo>
                      <a:pt x="6877" y="1501"/>
                    </a:lnTo>
                    <a:lnTo>
                      <a:pt x="6822" y="1529"/>
                    </a:lnTo>
                    <a:lnTo>
                      <a:pt x="6766" y="1556"/>
                    </a:lnTo>
                    <a:lnTo>
                      <a:pt x="6711" y="1584"/>
                    </a:lnTo>
                    <a:lnTo>
                      <a:pt x="6653" y="1610"/>
                    </a:lnTo>
                    <a:lnTo>
                      <a:pt x="6595" y="1637"/>
                    </a:lnTo>
                    <a:lnTo>
                      <a:pt x="6537" y="1664"/>
                    </a:lnTo>
                    <a:lnTo>
                      <a:pt x="6476" y="1691"/>
                    </a:lnTo>
                    <a:lnTo>
                      <a:pt x="6415" y="1717"/>
                    </a:lnTo>
                    <a:lnTo>
                      <a:pt x="6354" y="1743"/>
                    </a:lnTo>
                    <a:lnTo>
                      <a:pt x="6290" y="1769"/>
                    </a:lnTo>
                    <a:lnTo>
                      <a:pt x="6227" y="1795"/>
                    </a:lnTo>
                    <a:lnTo>
                      <a:pt x="6163" y="1820"/>
                    </a:lnTo>
                    <a:lnTo>
                      <a:pt x="6098" y="1845"/>
                    </a:lnTo>
                    <a:lnTo>
                      <a:pt x="6032" y="1869"/>
                    </a:lnTo>
                    <a:lnTo>
                      <a:pt x="5965" y="1894"/>
                    </a:lnTo>
                    <a:lnTo>
                      <a:pt x="5897" y="1918"/>
                    </a:lnTo>
                    <a:lnTo>
                      <a:pt x="5828" y="1942"/>
                    </a:lnTo>
                    <a:lnTo>
                      <a:pt x="5757" y="1965"/>
                    </a:lnTo>
                    <a:lnTo>
                      <a:pt x="5687" y="1989"/>
                    </a:lnTo>
                    <a:lnTo>
                      <a:pt x="5616" y="2012"/>
                    </a:lnTo>
                    <a:lnTo>
                      <a:pt x="5544" y="2035"/>
                    </a:lnTo>
                    <a:lnTo>
                      <a:pt x="5471" y="2058"/>
                    </a:lnTo>
                    <a:lnTo>
                      <a:pt x="5398" y="2079"/>
                    </a:lnTo>
                    <a:lnTo>
                      <a:pt x="5324" y="2101"/>
                    </a:lnTo>
                    <a:lnTo>
                      <a:pt x="5248" y="2123"/>
                    </a:lnTo>
                    <a:lnTo>
                      <a:pt x="5096" y="2165"/>
                    </a:lnTo>
                    <a:lnTo>
                      <a:pt x="4940" y="2207"/>
                    </a:lnTo>
                    <a:lnTo>
                      <a:pt x="4781" y="2246"/>
                    </a:lnTo>
                    <a:lnTo>
                      <a:pt x="4620" y="2284"/>
                    </a:lnTo>
                    <a:lnTo>
                      <a:pt x="4455" y="2322"/>
                    </a:lnTo>
                    <a:lnTo>
                      <a:pt x="4288" y="2358"/>
                    </a:lnTo>
                    <a:lnTo>
                      <a:pt x="4119" y="2392"/>
                    </a:lnTo>
                    <a:lnTo>
                      <a:pt x="3945" y="2425"/>
                    </a:lnTo>
                    <a:lnTo>
                      <a:pt x="3771" y="2457"/>
                    </a:lnTo>
                    <a:lnTo>
                      <a:pt x="3593" y="2487"/>
                    </a:lnTo>
                    <a:lnTo>
                      <a:pt x="3414" y="2516"/>
                    </a:lnTo>
                    <a:lnTo>
                      <a:pt x="3231" y="2543"/>
                    </a:lnTo>
                    <a:lnTo>
                      <a:pt x="3047" y="2569"/>
                    </a:lnTo>
                    <a:lnTo>
                      <a:pt x="2860" y="2594"/>
                    </a:lnTo>
                    <a:lnTo>
                      <a:pt x="2672" y="2617"/>
                    </a:lnTo>
                    <a:lnTo>
                      <a:pt x="2481" y="2637"/>
                    </a:lnTo>
                    <a:lnTo>
                      <a:pt x="2287" y="2658"/>
                    </a:lnTo>
                    <a:lnTo>
                      <a:pt x="2092" y="2676"/>
                    </a:lnTo>
                    <a:lnTo>
                      <a:pt x="1895" y="2692"/>
                    </a:lnTo>
                    <a:lnTo>
                      <a:pt x="1698" y="2707"/>
                    </a:lnTo>
                    <a:lnTo>
                      <a:pt x="1497" y="2720"/>
                    </a:lnTo>
                    <a:lnTo>
                      <a:pt x="1295" y="2731"/>
                    </a:lnTo>
                    <a:lnTo>
                      <a:pt x="1090" y="2742"/>
                    </a:lnTo>
                    <a:lnTo>
                      <a:pt x="885" y="2750"/>
                    </a:lnTo>
                    <a:lnTo>
                      <a:pt x="678" y="2756"/>
                    </a:lnTo>
                    <a:lnTo>
                      <a:pt x="470" y="2760"/>
                    </a:lnTo>
                    <a:lnTo>
                      <a:pt x="261" y="2762"/>
                    </a:lnTo>
                    <a:lnTo>
                      <a:pt x="50" y="2764"/>
                    </a:lnTo>
                    <a:lnTo>
                      <a:pt x="50" y="2764"/>
                    </a:lnTo>
                    <a:lnTo>
                      <a:pt x="50" y="2764"/>
                    </a:lnTo>
                    <a:lnTo>
                      <a:pt x="43" y="2765"/>
                    </a:lnTo>
                    <a:lnTo>
                      <a:pt x="38" y="2765"/>
                    </a:lnTo>
                    <a:lnTo>
                      <a:pt x="33" y="2767"/>
                    </a:lnTo>
                    <a:lnTo>
                      <a:pt x="28" y="2769"/>
                    </a:lnTo>
                    <a:lnTo>
                      <a:pt x="23" y="2771"/>
                    </a:lnTo>
                    <a:lnTo>
                      <a:pt x="19" y="2773"/>
                    </a:lnTo>
                    <a:lnTo>
                      <a:pt x="15" y="2776"/>
                    </a:lnTo>
                    <a:lnTo>
                      <a:pt x="12" y="2780"/>
                    </a:lnTo>
                    <a:lnTo>
                      <a:pt x="6" y="2787"/>
                    </a:lnTo>
                    <a:lnTo>
                      <a:pt x="3" y="2796"/>
                    </a:lnTo>
                    <a:lnTo>
                      <a:pt x="0" y="2805"/>
                    </a:lnTo>
                    <a:lnTo>
                      <a:pt x="0" y="2814"/>
                    </a:lnTo>
                    <a:lnTo>
                      <a:pt x="0" y="2824"/>
                    </a:lnTo>
                    <a:lnTo>
                      <a:pt x="3" y="2833"/>
                    </a:lnTo>
                    <a:lnTo>
                      <a:pt x="6" y="2841"/>
                    </a:lnTo>
                    <a:lnTo>
                      <a:pt x="12" y="2848"/>
                    </a:lnTo>
                    <a:lnTo>
                      <a:pt x="15" y="2853"/>
                    </a:lnTo>
                    <a:lnTo>
                      <a:pt x="19" y="2856"/>
                    </a:lnTo>
                    <a:lnTo>
                      <a:pt x="23" y="2858"/>
                    </a:lnTo>
                    <a:lnTo>
                      <a:pt x="28" y="2860"/>
                    </a:lnTo>
                    <a:lnTo>
                      <a:pt x="33" y="2862"/>
                    </a:lnTo>
                    <a:lnTo>
                      <a:pt x="38" y="2863"/>
                    </a:lnTo>
                    <a:lnTo>
                      <a:pt x="43" y="2864"/>
                    </a:lnTo>
                    <a:lnTo>
                      <a:pt x="50" y="2864"/>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11" name="Freeform 252"/>
              <p:cNvSpPr>
                <a:spLocks/>
              </p:cNvSpPr>
              <p:nvPr>
                <p:custDataLst>
                  <p:tags r:id="rId64"/>
                </p:custDataLst>
              </p:nvPr>
            </p:nvSpPr>
            <p:spPr bwMode="auto">
              <a:xfrm>
                <a:off x="369" y="3467"/>
                <a:ext cx="359" cy="116"/>
              </a:xfrm>
              <a:custGeom>
                <a:avLst/>
                <a:gdLst>
                  <a:gd name="T0" fmla="*/ 3 w 8246"/>
                  <a:gd name="T1" fmla="*/ 127 h 2915"/>
                  <a:gd name="T2" fmla="*/ 25 w 8246"/>
                  <a:gd name="T3" fmla="*/ 278 h 2915"/>
                  <a:gd name="T4" fmla="*/ 69 w 8246"/>
                  <a:gd name="T5" fmla="*/ 427 h 2915"/>
                  <a:gd name="T6" fmla="*/ 134 w 8246"/>
                  <a:gd name="T7" fmla="*/ 572 h 2915"/>
                  <a:gd name="T8" fmla="*/ 219 w 8246"/>
                  <a:gd name="T9" fmla="*/ 714 h 2915"/>
                  <a:gd name="T10" fmla="*/ 323 w 8246"/>
                  <a:gd name="T11" fmla="*/ 853 h 2915"/>
                  <a:gd name="T12" fmla="*/ 445 w 8246"/>
                  <a:gd name="T13" fmla="*/ 989 h 2915"/>
                  <a:gd name="T14" fmla="*/ 586 w 8246"/>
                  <a:gd name="T15" fmla="*/ 1120 h 2915"/>
                  <a:gd name="T16" fmla="*/ 744 w 8246"/>
                  <a:gd name="T17" fmla="*/ 1249 h 2915"/>
                  <a:gd name="T18" fmla="*/ 919 w 8246"/>
                  <a:gd name="T19" fmla="*/ 1374 h 2915"/>
                  <a:gd name="T20" fmla="*/ 1111 w 8246"/>
                  <a:gd name="T21" fmla="*/ 1495 h 2915"/>
                  <a:gd name="T22" fmla="*/ 1318 w 8246"/>
                  <a:gd name="T23" fmla="*/ 1612 h 2915"/>
                  <a:gd name="T24" fmla="*/ 1541 w 8246"/>
                  <a:gd name="T25" fmla="*/ 1725 h 2915"/>
                  <a:gd name="T26" fmla="*/ 1779 w 8246"/>
                  <a:gd name="T27" fmla="*/ 1834 h 2915"/>
                  <a:gd name="T28" fmla="*/ 2030 w 8246"/>
                  <a:gd name="T29" fmla="*/ 1939 h 2915"/>
                  <a:gd name="T30" fmla="*/ 2297 w 8246"/>
                  <a:gd name="T31" fmla="*/ 2039 h 2915"/>
                  <a:gd name="T32" fmla="*/ 2577 w 8246"/>
                  <a:gd name="T33" fmla="*/ 2136 h 2915"/>
                  <a:gd name="T34" fmla="*/ 2869 w 8246"/>
                  <a:gd name="T35" fmla="*/ 2227 h 2915"/>
                  <a:gd name="T36" fmla="*/ 3331 w 8246"/>
                  <a:gd name="T37" fmla="*/ 2355 h 2915"/>
                  <a:gd name="T38" fmla="*/ 3987 w 8246"/>
                  <a:gd name="T39" fmla="*/ 2507 h 2915"/>
                  <a:gd name="T40" fmla="*/ 4686 w 8246"/>
                  <a:gd name="T41" fmla="*/ 2638 h 2915"/>
                  <a:gd name="T42" fmla="*/ 5422 w 8246"/>
                  <a:gd name="T43" fmla="*/ 2744 h 2915"/>
                  <a:gd name="T44" fmla="*/ 6193 w 8246"/>
                  <a:gd name="T45" fmla="*/ 2827 h 2915"/>
                  <a:gd name="T46" fmla="*/ 6995 w 8246"/>
                  <a:gd name="T47" fmla="*/ 2883 h 2915"/>
                  <a:gd name="T48" fmla="*/ 7823 w 8246"/>
                  <a:gd name="T49" fmla="*/ 2912 h 2915"/>
                  <a:gd name="T50" fmla="*/ 8034 w 8246"/>
                  <a:gd name="T51" fmla="*/ 2813 h 2915"/>
                  <a:gd name="T52" fmla="*/ 7205 w 8246"/>
                  <a:gd name="T53" fmla="*/ 2793 h 2915"/>
                  <a:gd name="T54" fmla="*/ 6400 w 8246"/>
                  <a:gd name="T55" fmla="*/ 2743 h 2915"/>
                  <a:gd name="T56" fmla="*/ 5623 w 8246"/>
                  <a:gd name="T57" fmla="*/ 2668 h 2915"/>
                  <a:gd name="T58" fmla="*/ 4881 w 8246"/>
                  <a:gd name="T59" fmla="*/ 2567 h 2915"/>
                  <a:gd name="T60" fmla="*/ 4176 w 8246"/>
                  <a:gd name="T61" fmla="*/ 2443 h 2915"/>
                  <a:gd name="T62" fmla="*/ 3514 w 8246"/>
                  <a:gd name="T63" fmla="*/ 2297 h 2915"/>
                  <a:gd name="T64" fmla="*/ 2971 w 8246"/>
                  <a:gd name="T65" fmla="*/ 2152 h 2915"/>
                  <a:gd name="T66" fmla="*/ 2679 w 8246"/>
                  <a:gd name="T67" fmla="*/ 2063 h 2915"/>
                  <a:gd name="T68" fmla="*/ 2398 w 8246"/>
                  <a:gd name="T69" fmla="*/ 1969 h 2915"/>
                  <a:gd name="T70" fmla="*/ 2132 w 8246"/>
                  <a:gd name="T71" fmla="*/ 1871 h 2915"/>
                  <a:gd name="T72" fmla="*/ 1880 w 8246"/>
                  <a:gd name="T73" fmla="*/ 1768 h 2915"/>
                  <a:gd name="T74" fmla="*/ 1642 w 8246"/>
                  <a:gd name="T75" fmla="*/ 1661 h 2915"/>
                  <a:gd name="T76" fmla="*/ 1418 w 8246"/>
                  <a:gd name="T77" fmla="*/ 1552 h 2915"/>
                  <a:gd name="T78" fmla="*/ 1211 w 8246"/>
                  <a:gd name="T79" fmla="*/ 1437 h 2915"/>
                  <a:gd name="T80" fmla="*/ 1020 w 8246"/>
                  <a:gd name="T81" fmla="*/ 1320 h 2915"/>
                  <a:gd name="T82" fmla="*/ 845 w 8246"/>
                  <a:gd name="T83" fmla="*/ 1199 h 2915"/>
                  <a:gd name="T84" fmla="*/ 688 w 8246"/>
                  <a:gd name="T85" fmla="*/ 1076 h 2915"/>
                  <a:gd name="T86" fmla="*/ 548 w 8246"/>
                  <a:gd name="T87" fmla="*/ 949 h 2915"/>
                  <a:gd name="T88" fmla="*/ 427 w 8246"/>
                  <a:gd name="T89" fmla="*/ 821 h 2915"/>
                  <a:gd name="T90" fmla="*/ 324 w 8246"/>
                  <a:gd name="T91" fmla="*/ 691 h 2915"/>
                  <a:gd name="T92" fmla="*/ 240 w 8246"/>
                  <a:gd name="T93" fmla="*/ 559 h 2915"/>
                  <a:gd name="T94" fmla="*/ 175 w 8246"/>
                  <a:gd name="T95" fmla="*/ 426 h 2915"/>
                  <a:gd name="T96" fmla="*/ 131 w 8246"/>
                  <a:gd name="T97" fmla="*/ 290 h 2915"/>
                  <a:gd name="T98" fmla="*/ 106 w 8246"/>
                  <a:gd name="T99" fmla="*/ 154 h 2915"/>
                  <a:gd name="T100" fmla="*/ 100 w 8246"/>
                  <a:gd name="T101" fmla="*/ 51 h 2915"/>
                  <a:gd name="T102" fmla="*/ 98 w 8246"/>
                  <a:gd name="T103" fmla="*/ 33 h 2915"/>
                  <a:gd name="T104" fmla="*/ 88 w 8246"/>
                  <a:gd name="T105" fmla="*/ 17 h 2915"/>
                  <a:gd name="T106" fmla="*/ 60 w 8246"/>
                  <a:gd name="T107" fmla="*/ 1 h 2915"/>
                  <a:gd name="T108" fmla="*/ 23 w 8246"/>
                  <a:gd name="T109" fmla="*/ 7 h 2915"/>
                  <a:gd name="T110" fmla="*/ 6 w 8246"/>
                  <a:gd name="T111" fmla="*/ 24 h 2915"/>
                  <a:gd name="T112" fmla="*/ 0 w 8246"/>
                  <a:gd name="T113" fmla="*/ 45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6" h="2915">
                    <a:moveTo>
                      <a:pt x="0" y="51"/>
                    </a:moveTo>
                    <a:lnTo>
                      <a:pt x="0" y="51"/>
                    </a:lnTo>
                    <a:lnTo>
                      <a:pt x="1" y="89"/>
                    </a:lnTo>
                    <a:lnTo>
                      <a:pt x="3" y="127"/>
                    </a:lnTo>
                    <a:lnTo>
                      <a:pt x="6" y="165"/>
                    </a:lnTo>
                    <a:lnTo>
                      <a:pt x="11" y="203"/>
                    </a:lnTo>
                    <a:lnTo>
                      <a:pt x="18" y="240"/>
                    </a:lnTo>
                    <a:lnTo>
                      <a:pt x="25" y="278"/>
                    </a:lnTo>
                    <a:lnTo>
                      <a:pt x="34" y="316"/>
                    </a:lnTo>
                    <a:lnTo>
                      <a:pt x="44" y="352"/>
                    </a:lnTo>
                    <a:lnTo>
                      <a:pt x="56" y="389"/>
                    </a:lnTo>
                    <a:lnTo>
                      <a:pt x="69" y="427"/>
                    </a:lnTo>
                    <a:lnTo>
                      <a:pt x="83" y="463"/>
                    </a:lnTo>
                    <a:lnTo>
                      <a:pt x="99" y="499"/>
                    </a:lnTo>
                    <a:lnTo>
                      <a:pt x="115" y="535"/>
                    </a:lnTo>
                    <a:lnTo>
                      <a:pt x="134" y="572"/>
                    </a:lnTo>
                    <a:lnTo>
                      <a:pt x="154" y="608"/>
                    </a:lnTo>
                    <a:lnTo>
                      <a:pt x="174" y="643"/>
                    </a:lnTo>
                    <a:lnTo>
                      <a:pt x="196" y="679"/>
                    </a:lnTo>
                    <a:lnTo>
                      <a:pt x="219" y="714"/>
                    </a:lnTo>
                    <a:lnTo>
                      <a:pt x="243" y="750"/>
                    </a:lnTo>
                    <a:lnTo>
                      <a:pt x="268" y="784"/>
                    </a:lnTo>
                    <a:lnTo>
                      <a:pt x="295" y="819"/>
                    </a:lnTo>
                    <a:lnTo>
                      <a:pt x="323" y="853"/>
                    </a:lnTo>
                    <a:lnTo>
                      <a:pt x="351" y="887"/>
                    </a:lnTo>
                    <a:lnTo>
                      <a:pt x="381" y="921"/>
                    </a:lnTo>
                    <a:lnTo>
                      <a:pt x="413" y="955"/>
                    </a:lnTo>
                    <a:lnTo>
                      <a:pt x="445" y="989"/>
                    </a:lnTo>
                    <a:lnTo>
                      <a:pt x="479" y="1022"/>
                    </a:lnTo>
                    <a:lnTo>
                      <a:pt x="513" y="1055"/>
                    </a:lnTo>
                    <a:lnTo>
                      <a:pt x="549" y="1088"/>
                    </a:lnTo>
                    <a:lnTo>
                      <a:pt x="586" y="1120"/>
                    </a:lnTo>
                    <a:lnTo>
                      <a:pt x="624" y="1153"/>
                    </a:lnTo>
                    <a:lnTo>
                      <a:pt x="663" y="1185"/>
                    </a:lnTo>
                    <a:lnTo>
                      <a:pt x="703" y="1216"/>
                    </a:lnTo>
                    <a:lnTo>
                      <a:pt x="744" y="1249"/>
                    </a:lnTo>
                    <a:lnTo>
                      <a:pt x="786" y="1281"/>
                    </a:lnTo>
                    <a:lnTo>
                      <a:pt x="830" y="1312"/>
                    </a:lnTo>
                    <a:lnTo>
                      <a:pt x="874" y="1343"/>
                    </a:lnTo>
                    <a:lnTo>
                      <a:pt x="919" y="1374"/>
                    </a:lnTo>
                    <a:lnTo>
                      <a:pt x="966" y="1404"/>
                    </a:lnTo>
                    <a:lnTo>
                      <a:pt x="1013" y="1435"/>
                    </a:lnTo>
                    <a:lnTo>
                      <a:pt x="1062" y="1465"/>
                    </a:lnTo>
                    <a:lnTo>
                      <a:pt x="1111" y="1495"/>
                    </a:lnTo>
                    <a:lnTo>
                      <a:pt x="1162" y="1524"/>
                    </a:lnTo>
                    <a:lnTo>
                      <a:pt x="1212" y="1554"/>
                    </a:lnTo>
                    <a:lnTo>
                      <a:pt x="1265" y="1583"/>
                    </a:lnTo>
                    <a:lnTo>
                      <a:pt x="1318" y="1612"/>
                    </a:lnTo>
                    <a:lnTo>
                      <a:pt x="1373" y="1641"/>
                    </a:lnTo>
                    <a:lnTo>
                      <a:pt x="1428" y="1669"/>
                    </a:lnTo>
                    <a:lnTo>
                      <a:pt x="1484" y="1697"/>
                    </a:lnTo>
                    <a:lnTo>
                      <a:pt x="1541" y="1725"/>
                    </a:lnTo>
                    <a:lnTo>
                      <a:pt x="1600" y="1753"/>
                    </a:lnTo>
                    <a:lnTo>
                      <a:pt x="1658" y="1779"/>
                    </a:lnTo>
                    <a:lnTo>
                      <a:pt x="1718" y="1807"/>
                    </a:lnTo>
                    <a:lnTo>
                      <a:pt x="1779" y="1834"/>
                    </a:lnTo>
                    <a:lnTo>
                      <a:pt x="1841" y="1860"/>
                    </a:lnTo>
                    <a:lnTo>
                      <a:pt x="1904" y="1887"/>
                    </a:lnTo>
                    <a:lnTo>
                      <a:pt x="1967" y="1913"/>
                    </a:lnTo>
                    <a:lnTo>
                      <a:pt x="2030" y="1939"/>
                    </a:lnTo>
                    <a:lnTo>
                      <a:pt x="2096" y="1965"/>
                    </a:lnTo>
                    <a:lnTo>
                      <a:pt x="2162" y="1990"/>
                    </a:lnTo>
                    <a:lnTo>
                      <a:pt x="2229" y="2014"/>
                    </a:lnTo>
                    <a:lnTo>
                      <a:pt x="2297" y="2039"/>
                    </a:lnTo>
                    <a:lnTo>
                      <a:pt x="2365" y="2064"/>
                    </a:lnTo>
                    <a:lnTo>
                      <a:pt x="2436" y="2088"/>
                    </a:lnTo>
                    <a:lnTo>
                      <a:pt x="2506" y="2112"/>
                    </a:lnTo>
                    <a:lnTo>
                      <a:pt x="2577" y="2136"/>
                    </a:lnTo>
                    <a:lnTo>
                      <a:pt x="2649" y="2158"/>
                    </a:lnTo>
                    <a:lnTo>
                      <a:pt x="2721" y="2182"/>
                    </a:lnTo>
                    <a:lnTo>
                      <a:pt x="2794" y="2204"/>
                    </a:lnTo>
                    <a:lnTo>
                      <a:pt x="2869" y="2227"/>
                    </a:lnTo>
                    <a:lnTo>
                      <a:pt x="2944" y="2248"/>
                    </a:lnTo>
                    <a:lnTo>
                      <a:pt x="3020" y="2270"/>
                    </a:lnTo>
                    <a:lnTo>
                      <a:pt x="3173" y="2314"/>
                    </a:lnTo>
                    <a:lnTo>
                      <a:pt x="3331" y="2355"/>
                    </a:lnTo>
                    <a:lnTo>
                      <a:pt x="3491" y="2394"/>
                    </a:lnTo>
                    <a:lnTo>
                      <a:pt x="3653" y="2434"/>
                    </a:lnTo>
                    <a:lnTo>
                      <a:pt x="3819" y="2471"/>
                    </a:lnTo>
                    <a:lnTo>
                      <a:pt x="3987" y="2507"/>
                    </a:lnTo>
                    <a:lnTo>
                      <a:pt x="4158" y="2541"/>
                    </a:lnTo>
                    <a:lnTo>
                      <a:pt x="4331" y="2574"/>
                    </a:lnTo>
                    <a:lnTo>
                      <a:pt x="4507" y="2606"/>
                    </a:lnTo>
                    <a:lnTo>
                      <a:pt x="4686" y="2638"/>
                    </a:lnTo>
                    <a:lnTo>
                      <a:pt x="4866" y="2666"/>
                    </a:lnTo>
                    <a:lnTo>
                      <a:pt x="5049" y="2693"/>
                    </a:lnTo>
                    <a:lnTo>
                      <a:pt x="5235" y="2719"/>
                    </a:lnTo>
                    <a:lnTo>
                      <a:pt x="5422" y="2744"/>
                    </a:lnTo>
                    <a:lnTo>
                      <a:pt x="5612" y="2767"/>
                    </a:lnTo>
                    <a:lnTo>
                      <a:pt x="5804" y="2789"/>
                    </a:lnTo>
                    <a:lnTo>
                      <a:pt x="5998" y="2808"/>
                    </a:lnTo>
                    <a:lnTo>
                      <a:pt x="6193" y="2827"/>
                    </a:lnTo>
                    <a:lnTo>
                      <a:pt x="6391" y="2843"/>
                    </a:lnTo>
                    <a:lnTo>
                      <a:pt x="6591" y="2858"/>
                    </a:lnTo>
                    <a:lnTo>
                      <a:pt x="6792" y="2871"/>
                    </a:lnTo>
                    <a:lnTo>
                      <a:pt x="6995" y="2883"/>
                    </a:lnTo>
                    <a:lnTo>
                      <a:pt x="7200" y="2892"/>
                    </a:lnTo>
                    <a:lnTo>
                      <a:pt x="7407" y="2900"/>
                    </a:lnTo>
                    <a:lnTo>
                      <a:pt x="7614" y="2907"/>
                    </a:lnTo>
                    <a:lnTo>
                      <a:pt x="7823" y="2912"/>
                    </a:lnTo>
                    <a:lnTo>
                      <a:pt x="8034" y="2915"/>
                    </a:lnTo>
                    <a:lnTo>
                      <a:pt x="8246" y="2915"/>
                    </a:lnTo>
                    <a:lnTo>
                      <a:pt x="8246" y="2815"/>
                    </a:lnTo>
                    <a:lnTo>
                      <a:pt x="8034" y="2813"/>
                    </a:lnTo>
                    <a:lnTo>
                      <a:pt x="7825" y="2811"/>
                    </a:lnTo>
                    <a:lnTo>
                      <a:pt x="7617" y="2807"/>
                    </a:lnTo>
                    <a:lnTo>
                      <a:pt x="7410" y="2801"/>
                    </a:lnTo>
                    <a:lnTo>
                      <a:pt x="7205" y="2793"/>
                    </a:lnTo>
                    <a:lnTo>
                      <a:pt x="7000" y="2782"/>
                    </a:lnTo>
                    <a:lnTo>
                      <a:pt x="6798" y="2771"/>
                    </a:lnTo>
                    <a:lnTo>
                      <a:pt x="6597" y="2758"/>
                    </a:lnTo>
                    <a:lnTo>
                      <a:pt x="6400" y="2743"/>
                    </a:lnTo>
                    <a:lnTo>
                      <a:pt x="6203" y="2727"/>
                    </a:lnTo>
                    <a:lnTo>
                      <a:pt x="6008" y="2709"/>
                    </a:lnTo>
                    <a:lnTo>
                      <a:pt x="5814" y="2688"/>
                    </a:lnTo>
                    <a:lnTo>
                      <a:pt x="5623" y="2668"/>
                    </a:lnTo>
                    <a:lnTo>
                      <a:pt x="5435" y="2645"/>
                    </a:lnTo>
                    <a:lnTo>
                      <a:pt x="5248" y="2620"/>
                    </a:lnTo>
                    <a:lnTo>
                      <a:pt x="5064" y="2594"/>
                    </a:lnTo>
                    <a:lnTo>
                      <a:pt x="4881" y="2567"/>
                    </a:lnTo>
                    <a:lnTo>
                      <a:pt x="4702" y="2538"/>
                    </a:lnTo>
                    <a:lnTo>
                      <a:pt x="4524" y="2508"/>
                    </a:lnTo>
                    <a:lnTo>
                      <a:pt x="4350" y="2476"/>
                    </a:lnTo>
                    <a:lnTo>
                      <a:pt x="4176" y="2443"/>
                    </a:lnTo>
                    <a:lnTo>
                      <a:pt x="4007" y="2409"/>
                    </a:lnTo>
                    <a:lnTo>
                      <a:pt x="3839" y="2373"/>
                    </a:lnTo>
                    <a:lnTo>
                      <a:pt x="3675" y="2335"/>
                    </a:lnTo>
                    <a:lnTo>
                      <a:pt x="3514" y="2297"/>
                    </a:lnTo>
                    <a:lnTo>
                      <a:pt x="3355" y="2258"/>
                    </a:lnTo>
                    <a:lnTo>
                      <a:pt x="3199" y="2216"/>
                    </a:lnTo>
                    <a:lnTo>
                      <a:pt x="3047" y="2174"/>
                    </a:lnTo>
                    <a:lnTo>
                      <a:pt x="2971" y="2152"/>
                    </a:lnTo>
                    <a:lnTo>
                      <a:pt x="2897" y="2130"/>
                    </a:lnTo>
                    <a:lnTo>
                      <a:pt x="2824" y="2109"/>
                    </a:lnTo>
                    <a:lnTo>
                      <a:pt x="2751" y="2086"/>
                    </a:lnTo>
                    <a:lnTo>
                      <a:pt x="2679" y="2063"/>
                    </a:lnTo>
                    <a:lnTo>
                      <a:pt x="2608" y="2040"/>
                    </a:lnTo>
                    <a:lnTo>
                      <a:pt x="2538" y="2016"/>
                    </a:lnTo>
                    <a:lnTo>
                      <a:pt x="2467" y="1993"/>
                    </a:lnTo>
                    <a:lnTo>
                      <a:pt x="2398" y="1969"/>
                    </a:lnTo>
                    <a:lnTo>
                      <a:pt x="2330" y="1945"/>
                    </a:lnTo>
                    <a:lnTo>
                      <a:pt x="2263" y="1920"/>
                    </a:lnTo>
                    <a:lnTo>
                      <a:pt x="2197" y="1896"/>
                    </a:lnTo>
                    <a:lnTo>
                      <a:pt x="2132" y="1871"/>
                    </a:lnTo>
                    <a:lnTo>
                      <a:pt x="2068" y="1846"/>
                    </a:lnTo>
                    <a:lnTo>
                      <a:pt x="2004" y="1820"/>
                    </a:lnTo>
                    <a:lnTo>
                      <a:pt x="1941" y="1794"/>
                    </a:lnTo>
                    <a:lnTo>
                      <a:pt x="1880" y="1768"/>
                    </a:lnTo>
                    <a:lnTo>
                      <a:pt x="1819" y="1742"/>
                    </a:lnTo>
                    <a:lnTo>
                      <a:pt x="1758" y="1715"/>
                    </a:lnTo>
                    <a:lnTo>
                      <a:pt x="1700" y="1688"/>
                    </a:lnTo>
                    <a:lnTo>
                      <a:pt x="1642" y="1661"/>
                    </a:lnTo>
                    <a:lnTo>
                      <a:pt x="1584" y="1635"/>
                    </a:lnTo>
                    <a:lnTo>
                      <a:pt x="1529" y="1607"/>
                    </a:lnTo>
                    <a:lnTo>
                      <a:pt x="1473" y="1580"/>
                    </a:lnTo>
                    <a:lnTo>
                      <a:pt x="1418" y="1552"/>
                    </a:lnTo>
                    <a:lnTo>
                      <a:pt x="1366" y="1523"/>
                    </a:lnTo>
                    <a:lnTo>
                      <a:pt x="1313" y="1495"/>
                    </a:lnTo>
                    <a:lnTo>
                      <a:pt x="1262" y="1466"/>
                    </a:lnTo>
                    <a:lnTo>
                      <a:pt x="1211" y="1437"/>
                    </a:lnTo>
                    <a:lnTo>
                      <a:pt x="1162" y="1408"/>
                    </a:lnTo>
                    <a:lnTo>
                      <a:pt x="1113" y="1379"/>
                    </a:lnTo>
                    <a:lnTo>
                      <a:pt x="1066" y="1350"/>
                    </a:lnTo>
                    <a:lnTo>
                      <a:pt x="1020" y="1320"/>
                    </a:lnTo>
                    <a:lnTo>
                      <a:pt x="975" y="1290"/>
                    </a:lnTo>
                    <a:lnTo>
                      <a:pt x="931" y="1260"/>
                    </a:lnTo>
                    <a:lnTo>
                      <a:pt x="887" y="1230"/>
                    </a:lnTo>
                    <a:lnTo>
                      <a:pt x="845" y="1199"/>
                    </a:lnTo>
                    <a:lnTo>
                      <a:pt x="804" y="1169"/>
                    </a:lnTo>
                    <a:lnTo>
                      <a:pt x="765" y="1138"/>
                    </a:lnTo>
                    <a:lnTo>
                      <a:pt x="726" y="1107"/>
                    </a:lnTo>
                    <a:lnTo>
                      <a:pt x="688" y="1076"/>
                    </a:lnTo>
                    <a:lnTo>
                      <a:pt x="651" y="1045"/>
                    </a:lnTo>
                    <a:lnTo>
                      <a:pt x="616" y="1014"/>
                    </a:lnTo>
                    <a:lnTo>
                      <a:pt x="581" y="981"/>
                    </a:lnTo>
                    <a:lnTo>
                      <a:pt x="548" y="949"/>
                    </a:lnTo>
                    <a:lnTo>
                      <a:pt x="516" y="918"/>
                    </a:lnTo>
                    <a:lnTo>
                      <a:pt x="485" y="886"/>
                    </a:lnTo>
                    <a:lnTo>
                      <a:pt x="456" y="854"/>
                    </a:lnTo>
                    <a:lnTo>
                      <a:pt x="427" y="821"/>
                    </a:lnTo>
                    <a:lnTo>
                      <a:pt x="400" y="789"/>
                    </a:lnTo>
                    <a:lnTo>
                      <a:pt x="373" y="757"/>
                    </a:lnTo>
                    <a:lnTo>
                      <a:pt x="348" y="724"/>
                    </a:lnTo>
                    <a:lnTo>
                      <a:pt x="324" y="691"/>
                    </a:lnTo>
                    <a:lnTo>
                      <a:pt x="301" y="659"/>
                    </a:lnTo>
                    <a:lnTo>
                      <a:pt x="280" y="625"/>
                    </a:lnTo>
                    <a:lnTo>
                      <a:pt x="260" y="592"/>
                    </a:lnTo>
                    <a:lnTo>
                      <a:pt x="240" y="559"/>
                    </a:lnTo>
                    <a:lnTo>
                      <a:pt x="223" y="526"/>
                    </a:lnTo>
                    <a:lnTo>
                      <a:pt x="205" y="492"/>
                    </a:lnTo>
                    <a:lnTo>
                      <a:pt x="190" y="459"/>
                    </a:lnTo>
                    <a:lnTo>
                      <a:pt x="175" y="426"/>
                    </a:lnTo>
                    <a:lnTo>
                      <a:pt x="163" y="391"/>
                    </a:lnTo>
                    <a:lnTo>
                      <a:pt x="150" y="358"/>
                    </a:lnTo>
                    <a:lnTo>
                      <a:pt x="140" y="324"/>
                    </a:lnTo>
                    <a:lnTo>
                      <a:pt x="131" y="290"/>
                    </a:lnTo>
                    <a:lnTo>
                      <a:pt x="123" y="256"/>
                    </a:lnTo>
                    <a:lnTo>
                      <a:pt x="115" y="223"/>
                    </a:lnTo>
                    <a:lnTo>
                      <a:pt x="110" y="189"/>
                    </a:lnTo>
                    <a:lnTo>
                      <a:pt x="106" y="154"/>
                    </a:lnTo>
                    <a:lnTo>
                      <a:pt x="102" y="120"/>
                    </a:lnTo>
                    <a:lnTo>
                      <a:pt x="101" y="85"/>
                    </a:lnTo>
                    <a:lnTo>
                      <a:pt x="100" y="51"/>
                    </a:lnTo>
                    <a:lnTo>
                      <a:pt x="100" y="51"/>
                    </a:lnTo>
                    <a:lnTo>
                      <a:pt x="100" y="51"/>
                    </a:lnTo>
                    <a:lnTo>
                      <a:pt x="100" y="45"/>
                    </a:lnTo>
                    <a:lnTo>
                      <a:pt x="99" y="39"/>
                    </a:lnTo>
                    <a:lnTo>
                      <a:pt x="98" y="33"/>
                    </a:lnTo>
                    <a:lnTo>
                      <a:pt x="96" y="29"/>
                    </a:lnTo>
                    <a:lnTo>
                      <a:pt x="94" y="24"/>
                    </a:lnTo>
                    <a:lnTo>
                      <a:pt x="91" y="20"/>
                    </a:lnTo>
                    <a:lnTo>
                      <a:pt x="88" y="17"/>
                    </a:lnTo>
                    <a:lnTo>
                      <a:pt x="85" y="13"/>
                    </a:lnTo>
                    <a:lnTo>
                      <a:pt x="77" y="7"/>
                    </a:lnTo>
                    <a:lnTo>
                      <a:pt x="68" y="3"/>
                    </a:lnTo>
                    <a:lnTo>
                      <a:pt x="60" y="1"/>
                    </a:lnTo>
                    <a:lnTo>
                      <a:pt x="51" y="0"/>
                    </a:lnTo>
                    <a:lnTo>
                      <a:pt x="40" y="1"/>
                    </a:lnTo>
                    <a:lnTo>
                      <a:pt x="32" y="3"/>
                    </a:lnTo>
                    <a:lnTo>
                      <a:pt x="23" y="7"/>
                    </a:lnTo>
                    <a:lnTo>
                      <a:pt x="15" y="13"/>
                    </a:lnTo>
                    <a:lnTo>
                      <a:pt x="12" y="17"/>
                    </a:lnTo>
                    <a:lnTo>
                      <a:pt x="9" y="20"/>
                    </a:lnTo>
                    <a:lnTo>
                      <a:pt x="6" y="24"/>
                    </a:lnTo>
                    <a:lnTo>
                      <a:pt x="4" y="29"/>
                    </a:lnTo>
                    <a:lnTo>
                      <a:pt x="2" y="33"/>
                    </a:lnTo>
                    <a:lnTo>
                      <a:pt x="1" y="39"/>
                    </a:lnTo>
                    <a:lnTo>
                      <a:pt x="0" y="45"/>
                    </a:lnTo>
                    <a:lnTo>
                      <a:pt x="0" y="51"/>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12" name="Freeform 253"/>
              <p:cNvSpPr>
                <a:spLocks/>
              </p:cNvSpPr>
              <p:nvPr>
                <p:custDataLst>
                  <p:tags r:id="rId65"/>
                </p:custDataLst>
              </p:nvPr>
            </p:nvSpPr>
            <p:spPr bwMode="auto">
              <a:xfrm>
                <a:off x="369" y="3354"/>
                <a:ext cx="361" cy="115"/>
              </a:xfrm>
              <a:custGeom>
                <a:avLst/>
                <a:gdLst>
                  <a:gd name="T0" fmla="*/ 7823 w 8296"/>
                  <a:gd name="T1" fmla="*/ 4 h 2865"/>
                  <a:gd name="T2" fmla="*/ 6995 w 8296"/>
                  <a:gd name="T3" fmla="*/ 33 h 2865"/>
                  <a:gd name="T4" fmla="*/ 6193 w 8296"/>
                  <a:gd name="T5" fmla="*/ 89 h 2865"/>
                  <a:gd name="T6" fmla="*/ 5422 w 8296"/>
                  <a:gd name="T7" fmla="*/ 171 h 2865"/>
                  <a:gd name="T8" fmla="*/ 4686 w 8296"/>
                  <a:gd name="T9" fmla="*/ 278 h 2865"/>
                  <a:gd name="T10" fmla="*/ 3987 w 8296"/>
                  <a:gd name="T11" fmla="*/ 409 h 2865"/>
                  <a:gd name="T12" fmla="*/ 3331 w 8296"/>
                  <a:gd name="T13" fmla="*/ 561 h 2865"/>
                  <a:gd name="T14" fmla="*/ 2721 w 8296"/>
                  <a:gd name="T15" fmla="*/ 734 h 2865"/>
                  <a:gd name="T16" fmla="*/ 2436 w 8296"/>
                  <a:gd name="T17" fmla="*/ 827 h 2865"/>
                  <a:gd name="T18" fmla="*/ 2162 w 8296"/>
                  <a:gd name="T19" fmla="*/ 925 h 2865"/>
                  <a:gd name="T20" fmla="*/ 1904 w 8296"/>
                  <a:gd name="T21" fmla="*/ 1029 h 2865"/>
                  <a:gd name="T22" fmla="*/ 1658 w 8296"/>
                  <a:gd name="T23" fmla="*/ 1135 h 2865"/>
                  <a:gd name="T24" fmla="*/ 1428 w 8296"/>
                  <a:gd name="T25" fmla="*/ 1247 h 2865"/>
                  <a:gd name="T26" fmla="*/ 1212 w 8296"/>
                  <a:gd name="T27" fmla="*/ 1362 h 2865"/>
                  <a:gd name="T28" fmla="*/ 1013 w 8296"/>
                  <a:gd name="T29" fmla="*/ 1481 h 2865"/>
                  <a:gd name="T30" fmla="*/ 830 w 8296"/>
                  <a:gd name="T31" fmla="*/ 1604 h 2865"/>
                  <a:gd name="T32" fmla="*/ 663 w 8296"/>
                  <a:gd name="T33" fmla="*/ 1731 h 2865"/>
                  <a:gd name="T34" fmla="*/ 513 w 8296"/>
                  <a:gd name="T35" fmla="*/ 1861 h 2865"/>
                  <a:gd name="T36" fmla="*/ 381 w 8296"/>
                  <a:gd name="T37" fmla="*/ 1995 h 2865"/>
                  <a:gd name="T38" fmla="*/ 268 w 8296"/>
                  <a:gd name="T39" fmla="*/ 2131 h 2865"/>
                  <a:gd name="T40" fmla="*/ 174 w 8296"/>
                  <a:gd name="T41" fmla="*/ 2272 h 2865"/>
                  <a:gd name="T42" fmla="*/ 99 w 8296"/>
                  <a:gd name="T43" fmla="*/ 2416 h 2865"/>
                  <a:gd name="T44" fmla="*/ 44 w 8296"/>
                  <a:gd name="T45" fmla="*/ 2563 h 2865"/>
                  <a:gd name="T46" fmla="*/ 11 w 8296"/>
                  <a:gd name="T47" fmla="*/ 2713 h 2865"/>
                  <a:gd name="T48" fmla="*/ 0 w 8296"/>
                  <a:gd name="T49" fmla="*/ 2865 h 2865"/>
                  <a:gd name="T50" fmla="*/ 106 w 8296"/>
                  <a:gd name="T51" fmla="*/ 2761 h 2865"/>
                  <a:gd name="T52" fmla="*/ 131 w 8296"/>
                  <a:gd name="T53" fmla="*/ 2625 h 2865"/>
                  <a:gd name="T54" fmla="*/ 175 w 8296"/>
                  <a:gd name="T55" fmla="*/ 2490 h 2865"/>
                  <a:gd name="T56" fmla="*/ 240 w 8296"/>
                  <a:gd name="T57" fmla="*/ 2357 h 2865"/>
                  <a:gd name="T58" fmla="*/ 324 w 8296"/>
                  <a:gd name="T59" fmla="*/ 2224 h 2865"/>
                  <a:gd name="T60" fmla="*/ 427 w 8296"/>
                  <a:gd name="T61" fmla="*/ 2094 h 2865"/>
                  <a:gd name="T62" fmla="*/ 548 w 8296"/>
                  <a:gd name="T63" fmla="*/ 1966 h 2865"/>
                  <a:gd name="T64" fmla="*/ 688 w 8296"/>
                  <a:gd name="T65" fmla="*/ 1839 h 2865"/>
                  <a:gd name="T66" fmla="*/ 845 w 8296"/>
                  <a:gd name="T67" fmla="*/ 1716 h 2865"/>
                  <a:gd name="T68" fmla="*/ 1020 w 8296"/>
                  <a:gd name="T69" fmla="*/ 1596 h 2865"/>
                  <a:gd name="T70" fmla="*/ 1211 w 8296"/>
                  <a:gd name="T71" fmla="*/ 1478 h 2865"/>
                  <a:gd name="T72" fmla="*/ 1418 w 8296"/>
                  <a:gd name="T73" fmla="*/ 1364 h 2865"/>
                  <a:gd name="T74" fmla="*/ 1642 w 8296"/>
                  <a:gd name="T75" fmla="*/ 1253 h 2865"/>
                  <a:gd name="T76" fmla="*/ 1880 w 8296"/>
                  <a:gd name="T77" fmla="*/ 1147 h 2865"/>
                  <a:gd name="T78" fmla="*/ 2132 w 8296"/>
                  <a:gd name="T79" fmla="*/ 1044 h 2865"/>
                  <a:gd name="T80" fmla="*/ 2398 w 8296"/>
                  <a:gd name="T81" fmla="*/ 946 h 2865"/>
                  <a:gd name="T82" fmla="*/ 2679 w 8296"/>
                  <a:gd name="T83" fmla="*/ 852 h 2865"/>
                  <a:gd name="T84" fmla="*/ 3199 w 8296"/>
                  <a:gd name="T85" fmla="*/ 700 h 2865"/>
                  <a:gd name="T86" fmla="*/ 3839 w 8296"/>
                  <a:gd name="T87" fmla="*/ 543 h 2865"/>
                  <a:gd name="T88" fmla="*/ 4524 w 8296"/>
                  <a:gd name="T89" fmla="*/ 408 h 2865"/>
                  <a:gd name="T90" fmla="*/ 5248 w 8296"/>
                  <a:gd name="T91" fmla="*/ 295 h 2865"/>
                  <a:gd name="T92" fmla="*/ 6008 w 8296"/>
                  <a:gd name="T93" fmla="*/ 207 h 2865"/>
                  <a:gd name="T94" fmla="*/ 6798 w 8296"/>
                  <a:gd name="T95" fmla="*/ 144 h 2865"/>
                  <a:gd name="T96" fmla="*/ 7617 w 8296"/>
                  <a:gd name="T97" fmla="*/ 109 h 2865"/>
                  <a:gd name="T98" fmla="*/ 8246 w 8296"/>
                  <a:gd name="T99" fmla="*/ 100 h 2865"/>
                  <a:gd name="T100" fmla="*/ 8263 w 8296"/>
                  <a:gd name="T101" fmla="*/ 98 h 2865"/>
                  <a:gd name="T102" fmla="*/ 8280 w 8296"/>
                  <a:gd name="T103" fmla="*/ 88 h 2865"/>
                  <a:gd name="T104" fmla="*/ 8295 w 8296"/>
                  <a:gd name="T105" fmla="*/ 60 h 2865"/>
                  <a:gd name="T106" fmla="*/ 8289 w 8296"/>
                  <a:gd name="T107" fmla="*/ 24 h 2865"/>
                  <a:gd name="T108" fmla="*/ 8272 w 8296"/>
                  <a:gd name="T109" fmla="*/ 6 h 2865"/>
                  <a:gd name="T110" fmla="*/ 8252 w 8296"/>
                  <a:gd name="T111" fmla="*/ 0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296" h="2865">
                    <a:moveTo>
                      <a:pt x="8246" y="0"/>
                    </a:moveTo>
                    <a:lnTo>
                      <a:pt x="8246" y="0"/>
                    </a:lnTo>
                    <a:lnTo>
                      <a:pt x="8034" y="1"/>
                    </a:lnTo>
                    <a:lnTo>
                      <a:pt x="7823" y="4"/>
                    </a:lnTo>
                    <a:lnTo>
                      <a:pt x="7614" y="8"/>
                    </a:lnTo>
                    <a:lnTo>
                      <a:pt x="7407" y="14"/>
                    </a:lnTo>
                    <a:lnTo>
                      <a:pt x="7200" y="23"/>
                    </a:lnTo>
                    <a:lnTo>
                      <a:pt x="6995" y="33"/>
                    </a:lnTo>
                    <a:lnTo>
                      <a:pt x="6792" y="45"/>
                    </a:lnTo>
                    <a:lnTo>
                      <a:pt x="6591" y="57"/>
                    </a:lnTo>
                    <a:lnTo>
                      <a:pt x="6391" y="72"/>
                    </a:lnTo>
                    <a:lnTo>
                      <a:pt x="6193" y="89"/>
                    </a:lnTo>
                    <a:lnTo>
                      <a:pt x="5998" y="108"/>
                    </a:lnTo>
                    <a:lnTo>
                      <a:pt x="5804" y="127"/>
                    </a:lnTo>
                    <a:lnTo>
                      <a:pt x="5612" y="148"/>
                    </a:lnTo>
                    <a:lnTo>
                      <a:pt x="5422" y="171"/>
                    </a:lnTo>
                    <a:lnTo>
                      <a:pt x="5235" y="196"/>
                    </a:lnTo>
                    <a:lnTo>
                      <a:pt x="5049" y="221"/>
                    </a:lnTo>
                    <a:lnTo>
                      <a:pt x="4866" y="249"/>
                    </a:lnTo>
                    <a:lnTo>
                      <a:pt x="4686" y="278"/>
                    </a:lnTo>
                    <a:lnTo>
                      <a:pt x="4507" y="308"/>
                    </a:lnTo>
                    <a:lnTo>
                      <a:pt x="4331" y="341"/>
                    </a:lnTo>
                    <a:lnTo>
                      <a:pt x="4158" y="374"/>
                    </a:lnTo>
                    <a:lnTo>
                      <a:pt x="3987" y="409"/>
                    </a:lnTo>
                    <a:lnTo>
                      <a:pt x="3819" y="445"/>
                    </a:lnTo>
                    <a:lnTo>
                      <a:pt x="3653" y="482"/>
                    </a:lnTo>
                    <a:lnTo>
                      <a:pt x="3491" y="521"/>
                    </a:lnTo>
                    <a:lnTo>
                      <a:pt x="3331" y="561"/>
                    </a:lnTo>
                    <a:lnTo>
                      <a:pt x="3173" y="602"/>
                    </a:lnTo>
                    <a:lnTo>
                      <a:pt x="3020" y="645"/>
                    </a:lnTo>
                    <a:lnTo>
                      <a:pt x="2869" y="689"/>
                    </a:lnTo>
                    <a:lnTo>
                      <a:pt x="2721" y="734"/>
                    </a:lnTo>
                    <a:lnTo>
                      <a:pt x="2649" y="757"/>
                    </a:lnTo>
                    <a:lnTo>
                      <a:pt x="2577" y="780"/>
                    </a:lnTo>
                    <a:lnTo>
                      <a:pt x="2506" y="803"/>
                    </a:lnTo>
                    <a:lnTo>
                      <a:pt x="2436" y="827"/>
                    </a:lnTo>
                    <a:lnTo>
                      <a:pt x="2365" y="852"/>
                    </a:lnTo>
                    <a:lnTo>
                      <a:pt x="2297" y="876"/>
                    </a:lnTo>
                    <a:lnTo>
                      <a:pt x="2229" y="900"/>
                    </a:lnTo>
                    <a:lnTo>
                      <a:pt x="2162" y="925"/>
                    </a:lnTo>
                    <a:lnTo>
                      <a:pt x="2096" y="951"/>
                    </a:lnTo>
                    <a:lnTo>
                      <a:pt x="2030" y="976"/>
                    </a:lnTo>
                    <a:lnTo>
                      <a:pt x="1967" y="1002"/>
                    </a:lnTo>
                    <a:lnTo>
                      <a:pt x="1904" y="1029"/>
                    </a:lnTo>
                    <a:lnTo>
                      <a:pt x="1841" y="1055"/>
                    </a:lnTo>
                    <a:lnTo>
                      <a:pt x="1779" y="1082"/>
                    </a:lnTo>
                    <a:lnTo>
                      <a:pt x="1718" y="1109"/>
                    </a:lnTo>
                    <a:lnTo>
                      <a:pt x="1658" y="1135"/>
                    </a:lnTo>
                    <a:lnTo>
                      <a:pt x="1600" y="1163"/>
                    </a:lnTo>
                    <a:lnTo>
                      <a:pt x="1541" y="1190"/>
                    </a:lnTo>
                    <a:lnTo>
                      <a:pt x="1484" y="1218"/>
                    </a:lnTo>
                    <a:lnTo>
                      <a:pt x="1428" y="1247"/>
                    </a:lnTo>
                    <a:lnTo>
                      <a:pt x="1373" y="1275"/>
                    </a:lnTo>
                    <a:lnTo>
                      <a:pt x="1318" y="1304"/>
                    </a:lnTo>
                    <a:lnTo>
                      <a:pt x="1265" y="1333"/>
                    </a:lnTo>
                    <a:lnTo>
                      <a:pt x="1212" y="1362"/>
                    </a:lnTo>
                    <a:lnTo>
                      <a:pt x="1162" y="1391"/>
                    </a:lnTo>
                    <a:lnTo>
                      <a:pt x="1111" y="1421"/>
                    </a:lnTo>
                    <a:lnTo>
                      <a:pt x="1062" y="1451"/>
                    </a:lnTo>
                    <a:lnTo>
                      <a:pt x="1013" y="1481"/>
                    </a:lnTo>
                    <a:lnTo>
                      <a:pt x="966" y="1511"/>
                    </a:lnTo>
                    <a:lnTo>
                      <a:pt x="919" y="1542"/>
                    </a:lnTo>
                    <a:lnTo>
                      <a:pt x="874" y="1573"/>
                    </a:lnTo>
                    <a:lnTo>
                      <a:pt x="830" y="1604"/>
                    </a:lnTo>
                    <a:lnTo>
                      <a:pt x="786" y="1635"/>
                    </a:lnTo>
                    <a:lnTo>
                      <a:pt x="744" y="1666"/>
                    </a:lnTo>
                    <a:lnTo>
                      <a:pt x="703" y="1698"/>
                    </a:lnTo>
                    <a:lnTo>
                      <a:pt x="663" y="1731"/>
                    </a:lnTo>
                    <a:lnTo>
                      <a:pt x="624" y="1763"/>
                    </a:lnTo>
                    <a:lnTo>
                      <a:pt x="586" y="1795"/>
                    </a:lnTo>
                    <a:lnTo>
                      <a:pt x="549" y="1828"/>
                    </a:lnTo>
                    <a:lnTo>
                      <a:pt x="513" y="1861"/>
                    </a:lnTo>
                    <a:lnTo>
                      <a:pt x="479" y="1894"/>
                    </a:lnTo>
                    <a:lnTo>
                      <a:pt x="445" y="1927"/>
                    </a:lnTo>
                    <a:lnTo>
                      <a:pt x="413" y="1960"/>
                    </a:lnTo>
                    <a:lnTo>
                      <a:pt x="381" y="1995"/>
                    </a:lnTo>
                    <a:lnTo>
                      <a:pt x="351" y="2029"/>
                    </a:lnTo>
                    <a:lnTo>
                      <a:pt x="323" y="2063"/>
                    </a:lnTo>
                    <a:lnTo>
                      <a:pt x="295" y="2097"/>
                    </a:lnTo>
                    <a:lnTo>
                      <a:pt x="268" y="2131"/>
                    </a:lnTo>
                    <a:lnTo>
                      <a:pt x="243" y="2166"/>
                    </a:lnTo>
                    <a:lnTo>
                      <a:pt x="219" y="2202"/>
                    </a:lnTo>
                    <a:lnTo>
                      <a:pt x="196" y="2237"/>
                    </a:lnTo>
                    <a:lnTo>
                      <a:pt x="174" y="2272"/>
                    </a:lnTo>
                    <a:lnTo>
                      <a:pt x="154" y="2308"/>
                    </a:lnTo>
                    <a:lnTo>
                      <a:pt x="134" y="2343"/>
                    </a:lnTo>
                    <a:lnTo>
                      <a:pt x="115" y="2380"/>
                    </a:lnTo>
                    <a:lnTo>
                      <a:pt x="99" y="2416"/>
                    </a:lnTo>
                    <a:lnTo>
                      <a:pt x="83" y="2452"/>
                    </a:lnTo>
                    <a:lnTo>
                      <a:pt x="69" y="2489"/>
                    </a:lnTo>
                    <a:lnTo>
                      <a:pt x="56" y="2525"/>
                    </a:lnTo>
                    <a:lnTo>
                      <a:pt x="44" y="2563"/>
                    </a:lnTo>
                    <a:lnTo>
                      <a:pt x="34" y="2600"/>
                    </a:lnTo>
                    <a:lnTo>
                      <a:pt x="25" y="2637"/>
                    </a:lnTo>
                    <a:lnTo>
                      <a:pt x="18" y="2676"/>
                    </a:lnTo>
                    <a:lnTo>
                      <a:pt x="11" y="2713"/>
                    </a:lnTo>
                    <a:lnTo>
                      <a:pt x="6" y="2750"/>
                    </a:lnTo>
                    <a:lnTo>
                      <a:pt x="3" y="2788"/>
                    </a:lnTo>
                    <a:lnTo>
                      <a:pt x="1" y="2827"/>
                    </a:lnTo>
                    <a:lnTo>
                      <a:pt x="0" y="2865"/>
                    </a:lnTo>
                    <a:lnTo>
                      <a:pt x="100" y="2865"/>
                    </a:lnTo>
                    <a:lnTo>
                      <a:pt x="101" y="2830"/>
                    </a:lnTo>
                    <a:lnTo>
                      <a:pt x="102" y="2796"/>
                    </a:lnTo>
                    <a:lnTo>
                      <a:pt x="106" y="2761"/>
                    </a:lnTo>
                    <a:lnTo>
                      <a:pt x="110" y="2727"/>
                    </a:lnTo>
                    <a:lnTo>
                      <a:pt x="115" y="2693"/>
                    </a:lnTo>
                    <a:lnTo>
                      <a:pt x="123" y="2659"/>
                    </a:lnTo>
                    <a:lnTo>
                      <a:pt x="131" y="2625"/>
                    </a:lnTo>
                    <a:lnTo>
                      <a:pt x="140" y="2592"/>
                    </a:lnTo>
                    <a:lnTo>
                      <a:pt x="150" y="2558"/>
                    </a:lnTo>
                    <a:lnTo>
                      <a:pt x="163" y="2524"/>
                    </a:lnTo>
                    <a:lnTo>
                      <a:pt x="175" y="2490"/>
                    </a:lnTo>
                    <a:lnTo>
                      <a:pt x="190" y="2457"/>
                    </a:lnTo>
                    <a:lnTo>
                      <a:pt x="205" y="2423"/>
                    </a:lnTo>
                    <a:lnTo>
                      <a:pt x="223" y="2390"/>
                    </a:lnTo>
                    <a:lnTo>
                      <a:pt x="240" y="2357"/>
                    </a:lnTo>
                    <a:lnTo>
                      <a:pt x="260" y="2324"/>
                    </a:lnTo>
                    <a:lnTo>
                      <a:pt x="279" y="2291"/>
                    </a:lnTo>
                    <a:lnTo>
                      <a:pt x="301" y="2257"/>
                    </a:lnTo>
                    <a:lnTo>
                      <a:pt x="324" y="2224"/>
                    </a:lnTo>
                    <a:lnTo>
                      <a:pt x="348" y="2192"/>
                    </a:lnTo>
                    <a:lnTo>
                      <a:pt x="373" y="2159"/>
                    </a:lnTo>
                    <a:lnTo>
                      <a:pt x="400" y="2127"/>
                    </a:lnTo>
                    <a:lnTo>
                      <a:pt x="427" y="2094"/>
                    </a:lnTo>
                    <a:lnTo>
                      <a:pt x="456" y="2062"/>
                    </a:lnTo>
                    <a:lnTo>
                      <a:pt x="485" y="2030"/>
                    </a:lnTo>
                    <a:lnTo>
                      <a:pt x="516" y="1998"/>
                    </a:lnTo>
                    <a:lnTo>
                      <a:pt x="548" y="1966"/>
                    </a:lnTo>
                    <a:lnTo>
                      <a:pt x="581" y="1934"/>
                    </a:lnTo>
                    <a:lnTo>
                      <a:pt x="616" y="1902"/>
                    </a:lnTo>
                    <a:lnTo>
                      <a:pt x="651" y="1871"/>
                    </a:lnTo>
                    <a:lnTo>
                      <a:pt x="688" y="1839"/>
                    </a:lnTo>
                    <a:lnTo>
                      <a:pt x="726" y="1808"/>
                    </a:lnTo>
                    <a:lnTo>
                      <a:pt x="765" y="1777"/>
                    </a:lnTo>
                    <a:lnTo>
                      <a:pt x="804" y="1747"/>
                    </a:lnTo>
                    <a:lnTo>
                      <a:pt x="845" y="1716"/>
                    </a:lnTo>
                    <a:lnTo>
                      <a:pt x="887" y="1686"/>
                    </a:lnTo>
                    <a:lnTo>
                      <a:pt x="931" y="1656"/>
                    </a:lnTo>
                    <a:lnTo>
                      <a:pt x="975" y="1625"/>
                    </a:lnTo>
                    <a:lnTo>
                      <a:pt x="1020" y="1596"/>
                    </a:lnTo>
                    <a:lnTo>
                      <a:pt x="1066" y="1566"/>
                    </a:lnTo>
                    <a:lnTo>
                      <a:pt x="1113" y="1537"/>
                    </a:lnTo>
                    <a:lnTo>
                      <a:pt x="1162" y="1507"/>
                    </a:lnTo>
                    <a:lnTo>
                      <a:pt x="1211" y="1478"/>
                    </a:lnTo>
                    <a:lnTo>
                      <a:pt x="1262" y="1449"/>
                    </a:lnTo>
                    <a:lnTo>
                      <a:pt x="1313" y="1421"/>
                    </a:lnTo>
                    <a:lnTo>
                      <a:pt x="1366" y="1392"/>
                    </a:lnTo>
                    <a:lnTo>
                      <a:pt x="1418" y="1364"/>
                    </a:lnTo>
                    <a:lnTo>
                      <a:pt x="1473" y="1336"/>
                    </a:lnTo>
                    <a:lnTo>
                      <a:pt x="1529" y="1308"/>
                    </a:lnTo>
                    <a:lnTo>
                      <a:pt x="1584" y="1281"/>
                    </a:lnTo>
                    <a:lnTo>
                      <a:pt x="1642" y="1253"/>
                    </a:lnTo>
                    <a:lnTo>
                      <a:pt x="1700" y="1227"/>
                    </a:lnTo>
                    <a:lnTo>
                      <a:pt x="1758" y="1200"/>
                    </a:lnTo>
                    <a:lnTo>
                      <a:pt x="1819" y="1174"/>
                    </a:lnTo>
                    <a:lnTo>
                      <a:pt x="1880" y="1147"/>
                    </a:lnTo>
                    <a:lnTo>
                      <a:pt x="1941" y="1121"/>
                    </a:lnTo>
                    <a:lnTo>
                      <a:pt x="2004" y="1095"/>
                    </a:lnTo>
                    <a:lnTo>
                      <a:pt x="2068" y="1070"/>
                    </a:lnTo>
                    <a:lnTo>
                      <a:pt x="2132" y="1044"/>
                    </a:lnTo>
                    <a:lnTo>
                      <a:pt x="2197" y="1020"/>
                    </a:lnTo>
                    <a:lnTo>
                      <a:pt x="2263" y="995"/>
                    </a:lnTo>
                    <a:lnTo>
                      <a:pt x="2330" y="971"/>
                    </a:lnTo>
                    <a:lnTo>
                      <a:pt x="2398" y="946"/>
                    </a:lnTo>
                    <a:lnTo>
                      <a:pt x="2467" y="922"/>
                    </a:lnTo>
                    <a:lnTo>
                      <a:pt x="2538" y="898"/>
                    </a:lnTo>
                    <a:lnTo>
                      <a:pt x="2608" y="876"/>
                    </a:lnTo>
                    <a:lnTo>
                      <a:pt x="2679" y="852"/>
                    </a:lnTo>
                    <a:lnTo>
                      <a:pt x="2751" y="830"/>
                    </a:lnTo>
                    <a:lnTo>
                      <a:pt x="2897" y="785"/>
                    </a:lnTo>
                    <a:lnTo>
                      <a:pt x="3047" y="741"/>
                    </a:lnTo>
                    <a:lnTo>
                      <a:pt x="3199" y="700"/>
                    </a:lnTo>
                    <a:lnTo>
                      <a:pt x="3355" y="658"/>
                    </a:lnTo>
                    <a:lnTo>
                      <a:pt x="3514" y="619"/>
                    </a:lnTo>
                    <a:lnTo>
                      <a:pt x="3675" y="580"/>
                    </a:lnTo>
                    <a:lnTo>
                      <a:pt x="3839" y="543"/>
                    </a:lnTo>
                    <a:lnTo>
                      <a:pt x="4007" y="507"/>
                    </a:lnTo>
                    <a:lnTo>
                      <a:pt x="4176" y="473"/>
                    </a:lnTo>
                    <a:lnTo>
                      <a:pt x="4350" y="440"/>
                    </a:lnTo>
                    <a:lnTo>
                      <a:pt x="4524" y="408"/>
                    </a:lnTo>
                    <a:lnTo>
                      <a:pt x="4702" y="378"/>
                    </a:lnTo>
                    <a:lnTo>
                      <a:pt x="4881" y="349"/>
                    </a:lnTo>
                    <a:lnTo>
                      <a:pt x="5064" y="321"/>
                    </a:lnTo>
                    <a:lnTo>
                      <a:pt x="5248" y="295"/>
                    </a:lnTo>
                    <a:lnTo>
                      <a:pt x="5435" y="271"/>
                    </a:lnTo>
                    <a:lnTo>
                      <a:pt x="5623" y="248"/>
                    </a:lnTo>
                    <a:lnTo>
                      <a:pt x="5814" y="227"/>
                    </a:lnTo>
                    <a:lnTo>
                      <a:pt x="6008" y="207"/>
                    </a:lnTo>
                    <a:lnTo>
                      <a:pt x="6203" y="189"/>
                    </a:lnTo>
                    <a:lnTo>
                      <a:pt x="6400" y="173"/>
                    </a:lnTo>
                    <a:lnTo>
                      <a:pt x="6597" y="157"/>
                    </a:lnTo>
                    <a:lnTo>
                      <a:pt x="6798" y="144"/>
                    </a:lnTo>
                    <a:lnTo>
                      <a:pt x="7000" y="132"/>
                    </a:lnTo>
                    <a:lnTo>
                      <a:pt x="7205" y="123"/>
                    </a:lnTo>
                    <a:lnTo>
                      <a:pt x="7410" y="115"/>
                    </a:lnTo>
                    <a:lnTo>
                      <a:pt x="7617" y="109"/>
                    </a:lnTo>
                    <a:lnTo>
                      <a:pt x="7825" y="105"/>
                    </a:lnTo>
                    <a:lnTo>
                      <a:pt x="8034" y="101"/>
                    </a:lnTo>
                    <a:lnTo>
                      <a:pt x="8246" y="100"/>
                    </a:lnTo>
                    <a:lnTo>
                      <a:pt x="8246" y="100"/>
                    </a:lnTo>
                    <a:lnTo>
                      <a:pt x="8246" y="100"/>
                    </a:lnTo>
                    <a:lnTo>
                      <a:pt x="8252" y="100"/>
                    </a:lnTo>
                    <a:lnTo>
                      <a:pt x="8257" y="99"/>
                    </a:lnTo>
                    <a:lnTo>
                      <a:pt x="8263" y="98"/>
                    </a:lnTo>
                    <a:lnTo>
                      <a:pt x="8267" y="96"/>
                    </a:lnTo>
                    <a:lnTo>
                      <a:pt x="8272" y="94"/>
                    </a:lnTo>
                    <a:lnTo>
                      <a:pt x="8276" y="91"/>
                    </a:lnTo>
                    <a:lnTo>
                      <a:pt x="8280" y="88"/>
                    </a:lnTo>
                    <a:lnTo>
                      <a:pt x="8284" y="85"/>
                    </a:lnTo>
                    <a:lnTo>
                      <a:pt x="8289" y="78"/>
                    </a:lnTo>
                    <a:lnTo>
                      <a:pt x="8293" y="68"/>
                    </a:lnTo>
                    <a:lnTo>
                      <a:pt x="8295" y="60"/>
                    </a:lnTo>
                    <a:lnTo>
                      <a:pt x="8296" y="51"/>
                    </a:lnTo>
                    <a:lnTo>
                      <a:pt x="8295" y="41"/>
                    </a:lnTo>
                    <a:lnTo>
                      <a:pt x="8293" y="32"/>
                    </a:lnTo>
                    <a:lnTo>
                      <a:pt x="8289" y="24"/>
                    </a:lnTo>
                    <a:lnTo>
                      <a:pt x="8284" y="16"/>
                    </a:lnTo>
                    <a:lnTo>
                      <a:pt x="8280" y="12"/>
                    </a:lnTo>
                    <a:lnTo>
                      <a:pt x="8276" y="9"/>
                    </a:lnTo>
                    <a:lnTo>
                      <a:pt x="8272" y="6"/>
                    </a:lnTo>
                    <a:lnTo>
                      <a:pt x="8267" y="4"/>
                    </a:lnTo>
                    <a:lnTo>
                      <a:pt x="8263" y="2"/>
                    </a:lnTo>
                    <a:lnTo>
                      <a:pt x="8257" y="1"/>
                    </a:lnTo>
                    <a:lnTo>
                      <a:pt x="8252" y="0"/>
                    </a:lnTo>
                    <a:lnTo>
                      <a:pt x="8246" y="0"/>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13" name="Freeform 254"/>
              <p:cNvSpPr>
                <a:spLocks/>
              </p:cNvSpPr>
              <p:nvPr>
                <p:custDataLst>
                  <p:tags r:id="rId66"/>
                </p:custDataLst>
              </p:nvPr>
            </p:nvSpPr>
            <p:spPr bwMode="auto">
              <a:xfrm>
                <a:off x="728" y="3354"/>
                <a:ext cx="358" cy="115"/>
              </a:xfrm>
              <a:custGeom>
                <a:avLst/>
                <a:gdLst>
                  <a:gd name="T0" fmla="*/ 8239 w 8245"/>
                  <a:gd name="T1" fmla="*/ 2750 h 2865"/>
                  <a:gd name="T2" fmla="*/ 8211 w 8245"/>
                  <a:gd name="T3" fmla="*/ 2600 h 2865"/>
                  <a:gd name="T4" fmla="*/ 8162 w 8245"/>
                  <a:gd name="T5" fmla="*/ 2452 h 2865"/>
                  <a:gd name="T6" fmla="*/ 8091 w 8245"/>
                  <a:gd name="T7" fmla="*/ 2308 h 2865"/>
                  <a:gd name="T8" fmla="*/ 8002 w 8245"/>
                  <a:gd name="T9" fmla="*/ 2166 h 2865"/>
                  <a:gd name="T10" fmla="*/ 7894 w 8245"/>
                  <a:gd name="T11" fmla="*/ 2029 h 2865"/>
                  <a:gd name="T12" fmla="*/ 7766 w 8245"/>
                  <a:gd name="T13" fmla="*/ 1894 h 2865"/>
                  <a:gd name="T14" fmla="*/ 7620 w 8245"/>
                  <a:gd name="T15" fmla="*/ 1763 h 2865"/>
                  <a:gd name="T16" fmla="*/ 7459 w 8245"/>
                  <a:gd name="T17" fmla="*/ 1635 h 2865"/>
                  <a:gd name="T18" fmla="*/ 7279 w 8245"/>
                  <a:gd name="T19" fmla="*/ 1511 h 2865"/>
                  <a:gd name="T20" fmla="*/ 7083 w 8245"/>
                  <a:gd name="T21" fmla="*/ 1391 h 2865"/>
                  <a:gd name="T22" fmla="*/ 6872 w 8245"/>
                  <a:gd name="T23" fmla="*/ 1275 h 2865"/>
                  <a:gd name="T24" fmla="*/ 6645 w 8245"/>
                  <a:gd name="T25" fmla="*/ 1163 h 2865"/>
                  <a:gd name="T26" fmla="*/ 6404 w 8245"/>
                  <a:gd name="T27" fmla="*/ 1055 h 2865"/>
                  <a:gd name="T28" fmla="*/ 6149 w 8245"/>
                  <a:gd name="T29" fmla="*/ 951 h 2865"/>
                  <a:gd name="T30" fmla="*/ 5880 w 8245"/>
                  <a:gd name="T31" fmla="*/ 852 h 2865"/>
                  <a:gd name="T32" fmla="*/ 5596 w 8245"/>
                  <a:gd name="T33" fmla="*/ 757 h 2865"/>
                  <a:gd name="T34" fmla="*/ 5072 w 8245"/>
                  <a:gd name="T35" fmla="*/ 602 h 2865"/>
                  <a:gd name="T36" fmla="*/ 4426 w 8245"/>
                  <a:gd name="T37" fmla="*/ 445 h 2865"/>
                  <a:gd name="T38" fmla="*/ 3738 w 8245"/>
                  <a:gd name="T39" fmla="*/ 308 h 2865"/>
                  <a:gd name="T40" fmla="*/ 3010 w 8245"/>
                  <a:gd name="T41" fmla="*/ 196 h 2865"/>
                  <a:gd name="T42" fmla="*/ 2246 w 8245"/>
                  <a:gd name="T43" fmla="*/ 108 h 2865"/>
                  <a:gd name="T44" fmla="*/ 1453 w 8245"/>
                  <a:gd name="T45" fmla="*/ 45 h 2865"/>
                  <a:gd name="T46" fmla="*/ 631 w 8245"/>
                  <a:gd name="T47" fmla="*/ 8 h 2865"/>
                  <a:gd name="T48" fmla="*/ 0 w 8245"/>
                  <a:gd name="T49" fmla="*/ 100 h 2865"/>
                  <a:gd name="T50" fmla="*/ 835 w 8245"/>
                  <a:gd name="T51" fmla="*/ 115 h 2865"/>
                  <a:gd name="T52" fmla="*/ 1648 w 8245"/>
                  <a:gd name="T53" fmla="*/ 157 h 2865"/>
                  <a:gd name="T54" fmla="*/ 2431 w 8245"/>
                  <a:gd name="T55" fmla="*/ 227 h 2865"/>
                  <a:gd name="T56" fmla="*/ 3181 w 8245"/>
                  <a:gd name="T57" fmla="*/ 321 h 2865"/>
                  <a:gd name="T58" fmla="*/ 3895 w 8245"/>
                  <a:gd name="T59" fmla="*/ 440 h 2865"/>
                  <a:gd name="T60" fmla="*/ 4570 w 8245"/>
                  <a:gd name="T61" fmla="*/ 580 h 2865"/>
                  <a:gd name="T62" fmla="*/ 5198 w 8245"/>
                  <a:gd name="T63" fmla="*/ 741 h 2865"/>
                  <a:gd name="T64" fmla="*/ 5637 w 8245"/>
                  <a:gd name="T65" fmla="*/ 876 h 2865"/>
                  <a:gd name="T66" fmla="*/ 5915 w 8245"/>
                  <a:gd name="T67" fmla="*/ 971 h 2865"/>
                  <a:gd name="T68" fmla="*/ 6177 w 8245"/>
                  <a:gd name="T69" fmla="*/ 1070 h 2865"/>
                  <a:gd name="T70" fmla="*/ 6426 w 8245"/>
                  <a:gd name="T71" fmla="*/ 1174 h 2865"/>
                  <a:gd name="T72" fmla="*/ 6661 w 8245"/>
                  <a:gd name="T73" fmla="*/ 1281 h 2865"/>
                  <a:gd name="T74" fmla="*/ 6879 w 8245"/>
                  <a:gd name="T75" fmla="*/ 1392 h 2865"/>
                  <a:gd name="T76" fmla="*/ 7083 w 8245"/>
                  <a:gd name="T77" fmla="*/ 1507 h 2865"/>
                  <a:gd name="T78" fmla="*/ 7270 w 8245"/>
                  <a:gd name="T79" fmla="*/ 1625 h 2865"/>
                  <a:gd name="T80" fmla="*/ 7440 w 8245"/>
                  <a:gd name="T81" fmla="*/ 1747 h 2865"/>
                  <a:gd name="T82" fmla="*/ 7594 w 8245"/>
                  <a:gd name="T83" fmla="*/ 1871 h 2865"/>
                  <a:gd name="T84" fmla="*/ 7729 w 8245"/>
                  <a:gd name="T85" fmla="*/ 1998 h 2865"/>
                  <a:gd name="T86" fmla="*/ 7845 w 8245"/>
                  <a:gd name="T87" fmla="*/ 2127 h 2865"/>
                  <a:gd name="T88" fmla="*/ 7943 w 8245"/>
                  <a:gd name="T89" fmla="*/ 2257 h 2865"/>
                  <a:gd name="T90" fmla="*/ 8022 w 8245"/>
                  <a:gd name="T91" fmla="*/ 2390 h 2865"/>
                  <a:gd name="T92" fmla="*/ 8082 w 8245"/>
                  <a:gd name="T93" fmla="*/ 2524 h 2865"/>
                  <a:gd name="T94" fmla="*/ 8122 w 8245"/>
                  <a:gd name="T95" fmla="*/ 2659 h 2865"/>
                  <a:gd name="T96" fmla="*/ 8142 w 8245"/>
                  <a:gd name="T97" fmla="*/ 2796 h 2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45" h="2865">
                    <a:moveTo>
                      <a:pt x="8245" y="2865"/>
                    </a:moveTo>
                    <a:lnTo>
                      <a:pt x="8244" y="2827"/>
                    </a:lnTo>
                    <a:lnTo>
                      <a:pt x="8242" y="2788"/>
                    </a:lnTo>
                    <a:lnTo>
                      <a:pt x="8239" y="2750"/>
                    </a:lnTo>
                    <a:lnTo>
                      <a:pt x="8234" y="2713"/>
                    </a:lnTo>
                    <a:lnTo>
                      <a:pt x="8227" y="2676"/>
                    </a:lnTo>
                    <a:lnTo>
                      <a:pt x="8219" y="2637"/>
                    </a:lnTo>
                    <a:lnTo>
                      <a:pt x="8211" y="2600"/>
                    </a:lnTo>
                    <a:lnTo>
                      <a:pt x="8201" y="2563"/>
                    </a:lnTo>
                    <a:lnTo>
                      <a:pt x="8188" y="2525"/>
                    </a:lnTo>
                    <a:lnTo>
                      <a:pt x="8176" y="2489"/>
                    </a:lnTo>
                    <a:lnTo>
                      <a:pt x="8162" y="2452"/>
                    </a:lnTo>
                    <a:lnTo>
                      <a:pt x="8146" y="2416"/>
                    </a:lnTo>
                    <a:lnTo>
                      <a:pt x="8130" y="2380"/>
                    </a:lnTo>
                    <a:lnTo>
                      <a:pt x="8111" y="2343"/>
                    </a:lnTo>
                    <a:lnTo>
                      <a:pt x="8091" y="2308"/>
                    </a:lnTo>
                    <a:lnTo>
                      <a:pt x="8071" y="2272"/>
                    </a:lnTo>
                    <a:lnTo>
                      <a:pt x="8049" y="2237"/>
                    </a:lnTo>
                    <a:lnTo>
                      <a:pt x="8026" y="2202"/>
                    </a:lnTo>
                    <a:lnTo>
                      <a:pt x="8002" y="2166"/>
                    </a:lnTo>
                    <a:lnTo>
                      <a:pt x="7977" y="2131"/>
                    </a:lnTo>
                    <a:lnTo>
                      <a:pt x="7950" y="2097"/>
                    </a:lnTo>
                    <a:lnTo>
                      <a:pt x="7922" y="2063"/>
                    </a:lnTo>
                    <a:lnTo>
                      <a:pt x="7894" y="2029"/>
                    </a:lnTo>
                    <a:lnTo>
                      <a:pt x="7864" y="1995"/>
                    </a:lnTo>
                    <a:lnTo>
                      <a:pt x="7832" y="1960"/>
                    </a:lnTo>
                    <a:lnTo>
                      <a:pt x="7800" y="1927"/>
                    </a:lnTo>
                    <a:lnTo>
                      <a:pt x="7766" y="1894"/>
                    </a:lnTo>
                    <a:lnTo>
                      <a:pt x="7732" y="1861"/>
                    </a:lnTo>
                    <a:lnTo>
                      <a:pt x="7696" y="1828"/>
                    </a:lnTo>
                    <a:lnTo>
                      <a:pt x="7659" y="1795"/>
                    </a:lnTo>
                    <a:lnTo>
                      <a:pt x="7620" y="1763"/>
                    </a:lnTo>
                    <a:lnTo>
                      <a:pt x="7582" y="1731"/>
                    </a:lnTo>
                    <a:lnTo>
                      <a:pt x="7542" y="1698"/>
                    </a:lnTo>
                    <a:lnTo>
                      <a:pt x="7501" y="1666"/>
                    </a:lnTo>
                    <a:lnTo>
                      <a:pt x="7459" y="1635"/>
                    </a:lnTo>
                    <a:lnTo>
                      <a:pt x="7415" y="1604"/>
                    </a:lnTo>
                    <a:lnTo>
                      <a:pt x="7371" y="1573"/>
                    </a:lnTo>
                    <a:lnTo>
                      <a:pt x="7326" y="1542"/>
                    </a:lnTo>
                    <a:lnTo>
                      <a:pt x="7279" y="1511"/>
                    </a:lnTo>
                    <a:lnTo>
                      <a:pt x="7232" y="1481"/>
                    </a:lnTo>
                    <a:lnTo>
                      <a:pt x="7183" y="1451"/>
                    </a:lnTo>
                    <a:lnTo>
                      <a:pt x="7134" y="1421"/>
                    </a:lnTo>
                    <a:lnTo>
                      <a:pt x="7083" y="1391"/>
                    </a:lnTo>
                    <a:lnTo>
                      <a:pt x="7032" y="1362"/>
                    </a:lnTo>
                    <a:lnTo>
                      <a:pt x="6980" y="1333"/>
                    </a:lnTo>
                    <a:lnTo>
                      <a:pt x="6927" y="1304"/>
                    </a:lnTo>
                    <a:lnTo>
                      <a:pt x="6872" y="1275"/>
                    </a:lnTo>
                    <a:lnTo>
                      <a:pt x="6817" y="1247"/>
                    </a:lnTo>
                    <a:lnTo>
                      <a:pt x="6761" y="1218"/>
                    </a:lnTo>
                    <a:lnTo>
                      <a:pt x="6704" y="1190"/>
                    </a:lnTo>
                    <a:lnTo>
                      <a:pt x="6645" y="1163"/>
                    </a:lnTo>
                    <a:lnTo>
                      <a:pt x="6587" y="1135"/>
                    </a:lnTo>
                    <a:lnTo>
                      <a:pt x="6527" y="1109"/>
                    </a:lnTo>
                    <a:lnTo>
                      <a:pt x="6466" y="1082"/>
                    </a:lnTo>
                    <a:lnTo>
                      <a:pt x="6404" y="1055"/>
                    </a:lnTo>
                    <a:lnTo>
                      <a:pt x="6341" y="1029"/>
                    </a:lnTo>
                    <a:lnTo>
                      <a:pt x="6278" y="1002"/>
                    </a:lnTo>
                    <a:lnTo>
                      <a:pt x="6214" y="976"/>
                    </a:lnTo>
                    <a:lnTo>
                      <a:pt x="6149" y="951"/>
                    </a:lnTo>
                    <a:lnTo>
                      <a:pt x="6083" y="925"/>
                    </a:lnTo>
                    <a:lnTo>
                      <a:pt x="6016" y="900"/>
                    </a:lnTo>
                    <a:lnTo>
                      <a:pt x="5948" y="876"/>
                    </a:lnTo>
                    <a:lnTo>
                      <a:pt x="5880" y="852"/>
                    </a:lnTo>
                    <a:lnTo>
                      <a:pt x="5809" y="827"/>
                    </a:lnTo>
                    <a:lnTo>
                      <a:pt x="5739" y="803"/>
                    </a:lnTo>
                    <a:lnTo>
                      <a:pt x="5668" y="780"/>
                    </a:lnTo>
                    <a:lnTo>
                      <a:pt x="5596" y="757"/>
                    </a:lnTo>
                    <a:lnTo>
                      <a:pt x="5524" y="734"/>
                    </a:lnTo>
                    <a:lnTo>
                      <a:pt x="5376" y="689"/>
                    </a:lnTo>
                    <a:lnTo>
                      <a:pt x="5225" y="645"/>
                    </a:lnTo>
                    <a:lnTo>
                      <a:pt x="5072" y="602"/>
                    </a:lnTo>
                    <a:lnTo>
                      <a:pt x="4914" y="561"/>
                    </a:lnTo>
                    <a:lnTo>
                      <a:pt x="4754" y="521"/>
                    </a:lnTo>
                    <a:lnTo>
                      <a:pt x="4592" y="482"/>
                    </a:lnTo>
                    <a:lnTo>
                      <a:pt x="4426" y="445"/>
                    </a:lnTo>
                    <a:lnTo>
                      <a:pt x="4258" y="409"/>
                    </a:lnTo>
                    <a:lnTo>
                      <a:pt x="4087" y="374"/>
                    </a:lnTo>
                    <a:lnTo>
                      <a:pt x="3914" y="341"/>
                    </a:lnTo>
                    <a:lnTo>
                      <a:pt x="3738" y="308"/>
                    </a:lnTo>
                    <a:lnTo>
                      <a:pt x="3559" y="278"/>
                    </a:lnTo>
                    <a:lnTo>
                      <a:pt x="3379" y="249"/>
                    </a:lnTo>
                    <a:lnTo>
                      <a:pt x="3196" y="221"/>
                    </a:lnTo>
                    <a:lnTo>
                      <a:pt x="3010" y="196"/>
                    </a:lnTo>
                    <a:lnTo>
                      <a:pt x="2823" y="171"/>
                    </a:lnTo>
                    <a:lnTo>
                      <a:pt x="2633" y="148"/>
                    </a:lnTo>
                    <a:lnTo>
                      <a:pt x="2441" y="127"/>
                    </a:lnTo>
                    <a:lnTo>
                      <a:pt x="2246" y="108"/>
                    </a:lnTo>
                    <a:lnTo>
                      <a:pt x="2052" y="89"/>
                    </a:lnTo>
                    <a:lnTo>
                      <a:pt x="1854" y="72"/>
                    </a:lnTo>
                    <a:lnTo>
                      <a:pt x="1654" y="57"/>
                    </a:lnTo>
                    <a:lnTo>
                      <a:pt x="1453" y="45"/>
                    </a:lnTo>
                    <a:lnTo>
                      <a:pt x="1250" y="33"/>
                    </a:lnTo>
                    <a:lnTo>
                      <a:pt x="1045" y="23"/>
                    </a:lnTo>
                    <a:lnTo>
                      <a:pt x="838" y="14"/>
                    </a:lnTo>
                    <a:lnTo>
                      <a:pt x="631" y="8"/>
                    </a:lnTo>
                    <a:lnTo>
                      <a:pt x="422" y="4"/>
                    </a:lnTo>
                    <a:lnTo>
                      <a:pt x="212" y="1"/>
                    </a:lnTo>
                    <a:lnTo>
                      <a:pt x="0" y="0"/>
                    </a:lnTo>
                    <a:lnTo>
                      <a:pt x="0" y="100"/>
                    </a:lnTo>
                    <a:lnTo>
                      <a:pt x="211" y="101"/>
                    </a:lnTo>
                    <a:lnTo>
                      <a:pt x="420" y="105"/>
                    </a:lnTo>
                    <a:lnTo>
                      <a:pt x="628" y="109"/>
                    </a:lnTo>
                    <a:lnTo>
                      <a:pt x="835" y="115"/>
                    </a:lnTo>
                    <a:lnTo>
                      <a:pt x="1040" y="123"/>
                    </a:lnTo>
                    <a:lnTo>
                      <a:pt x="1245" y="132"/>
                    </a:lnTo>
                    <a:lnTo>
                      <a:pt x="1447" y="144"/>
                    </a:lnTo>
                    <a:lnTo>
                      <a:pt x="1648" y="157"/>
                    </a:lnTo>
                    <a:lnTo>
                      <a:pt x="1845" y="173"/>
                    </a:lnTo>
                    <a:lnTo>
                      <a:pt x="2042" y="189"/>
                    </a:lnTo>
                    <a:lnTo>
                      <a:pt x="2237" y="207"/>
                    </a:lnTo>
                    <a:lnTo>
                      <a:pt x="2431" y="227"/>
                    </a:lnTo>
                    <a:lnTo>
                      <a:pt x="2622" y="248"/>
                    </a:lnTo>
                    <a:lnTo>
                      <a:pt x="2810" y="271"/>
                    </a:lnTo>
                    <a:lnTo>
                      <a:pt x="2997" y="295"/>
                    </a:lnTo>
                    <a:lnTo>
                      <a:pt x="3181" y="321"/>
                    </a:lnTo>
                    <a:lnTo>
                      <a:pt x="3364" y="349"/>
                    </a:lnTo>
                    <a:lnTo>
                      <a:pt x="3543" y="378"/>
                    </a:lnTo>
                    <a:lnTo>
                      <a:pt x="3721" y="408"/>
                    </a:lnTo>
                    <a:lnTo>
                      <a:pt x="3895" y="440"/>
                    </a:lnTo>
                    <a:lnTo>
                      <a:pt x="4069" y="473"/>
                    </a:lnTo>
                    <a:lnTo>
                      <a:pt x="4238" y="507"/>
                    </a:lnTo>
                    <a:lnTo>
                      <a:pt x="4405" y="543"/>
                    </a:lnTo>
                    <a:lnTo>
                      <a:pt x="4570" y="580"/>
                    </a:lnTo>
                    <a:lnTo>
                      <a:pt x="4731" y="619"/>
                    </a:lnTo>
                    <a:lnTo>
                      <a:pt x="4890" y="658"/>
                    </a:lnTo>
                    <a:lnTo>
                      <a:pt x="5046" y="700"/>
                    </a:lnTo>
                    <a:lnTo>
                      <a:pt x="5198" y="741"/>
                    </a:lnTo>
                    <a:lnTo>
                      <a:pt x="5348" y="785"/>
                    </a:lnTo>
                    <a:lnTo>
                      <a:pt x="5494" y="830"/>
                    </a:lnTo>
                    <a:lnTo>
                      <a:pt x="5566" y="852"/>
                    </a:lnTo>
                    <a:lnTo>
                      <a:pt x="5637" y="876"/>
                    </a:lnTo>
                    <a:lnTo>
                      <a:pt x="5707" y="898"/>
                    </a:lnTo>
                    <a:lnTo>
                      <a:pt x="5778" y="922"/>
                    </a:lnTo>
                    <a:lnTo>
                      <a:pt x="5847" y="946"/>
                    </a:lnTo>
                    <a:lnTo>
                      <a:pt x="5915" y="971"/>
                    </a:lnTo>
                    <a:lnTo>
                      <a:pt x="5982" y="995"/>
                    </a:lnTo>
                    <a:lnTo>
                      <a:pt x="6048" y="1020"/>
                    </a:lnTo>
                    <a:lnTo>
                      <a:pt x="6113" y="1044"/>
                    </a:lnTo>
                    <a:lnTo>
                      <a:pt x="6177" y="1070"/>
                    </a:lnTo>
                    <a:lnTo>
                      <a:pt x="6241" y="1095"/>
                    </a:lnTo>
                    <a:lnTo>
                      <a:pt x="6304" y="1121"/>
                    </a:lnTo>
                    <a:lnTo>
                      <a:pt x="6365" y="1147"/>
                    </a:lnTo>
                    <a:lnTo>
                      <a:pt x="6426" y="1174"/>
                    </a:lnTo>
                    <a:lnTo>
                      <a:pt x="6487" y="1200"/>
                    </a:lnTo>
                    <a:lnTo>
                      <a:pt x="6545" y="1227"/>
                    </a:lnTo>
                    <a:lnTo>
                      <a:pt x="6603" y="1253"/>
                    </a:lnTo>
                    <a:lnTo>
                      <a:pt x="6661" y="1281"/>
                    </a:lnTo>
                    <a:lnTo>
                      <a:pt x="6716" y="1308"/>
                    </a:lnTo>
                    <a:lnTo>
                      <a:pt x="6772" y="1336"/>
                    </a:lnTo>
                    <a:lnTo>
                      <a:pt x="6827" y="1364"/>
                    </a:lnTo>
                    <a:lnTo>
                      <a:pt x="6879" y="1392"/>
                    </a:lnTo>
                    <a:lnTo>
                      <a:pt x="6932" y="1421"/>
                    </a:lnTo>
                    <a:lnTo>
                      <a:pt x="6983" y="1449"/>
                    </a:lnTo>
                    <a:lnTo>
                      <a:pt x="7034" y="1478"/>
                    </a:lnTo>
                    <a:lnTo>
                      <a:pt x="7083" y="1507"/>
                    </a:lnTo>
                    <a:lnTo>
                      <a:pt x="7132" y="1537"/>
                    </a:lnTo>
                    <a:lnTo>
                      <a:pt x="7178" y="1566"/>
                    </a:lnTo>
                    <a:lnTo>
                      <a:pt x="7225" y="1596"/>
                    </a:lnTo>
                    <a:lnTo>
                      <a:pt x="7270" y="1625"/>
                    </a:lnTo>
                    <a:lnTo>
                      <a:pt x="7314" y="1656"/>
                    </a:lnTo>
                    <a:lnTo>
                      <a:pt x="7358" y="1686"/>
                    </a:lnTo>
                    <a:lnTo>
                      <a:pt x="7400" y="1716"/>
                    </a:lnTo>
                    <a:lnTo>
                      <a:pt x="7440" y="1747"/>
                    </a:lnTo>
                    <a:lnTo>
                      <a:pt x="7480" y="1777"/>
                    </a:lnTo>
                    <a:lnTo>
                      <a:pt x="7519" y="1808"/>
                    </a:lnTo>
                    <a:lnTo>
                      <a:pt x="7557" y="1839"/>
                    </a:lnTo>
                    <a:lnTo>
                      <a:pt x="7594" y="1871"/>
                    </a:lnTo>
                    <a:lnTo>
                      <a:pt x="7629" y="1902"/>
                    </a:lnTo>
                    <a:lnTo>
                      <a:pt x="7664" y="1934"/>
                    </a:lnTo>
                    <a:lnTo>
                      <a:pt x="7697" y="1966"/>
                    </a:lnTo>
                    <a:lnTo>
                      <a:pt x="7729" y="1998"/>
                    </a:lnTo>
                    <a:lnTo>
                      <a:pt x="7760" y="2030"/>
                    </a:lnTo>
                    <a:lnTo>
                      <a:pt x="7789" y="2062"/>
                    </a:lnTo>
                    <a:lnTo>
                      <a:pt x="7818" y="2094"/>
                    </a:lnTo>
                    <a:lnTo>
                      <a:pt x="7845" y="2127"/>
                    </a:lnTo>
                    <a:lnTo>
                      <a:pt x="7872" y="2159"/>
                    </a:lnTo>
                    <a:lnTo>
                      <a:pt x="7897" y="2192"/>
                    </a:lnTo>
                    <a:lnTo>
                      <a:pt x="7920" y="2224"/>
                    </a:lnTo>
                    <a:lnTo>
                      <a:pt x="7943" y="2257"/>
                    </a:lnTo>
                    <a:lnTo>
                      <a:pt x="7966" y="2291"/>
                    </a:lnTo>
                    <a:lnTo>
                      <a:pt x="7985" y="2324"/>
                    </a:lnTo>
                    <a:lnTo>
                      <a:pt x="8005" y="2357"/>
                    </a:lnTo>
                    <a:lnTo>
                      <a:pt x="8022" y="2390"/>
                    </a:lnTo>
                    <a:lnTo>
                      <a:pt x="8039" y="2423"/>
                    </a:lnTo>
                    <a:lnTo>
                      <a:pt x="8055" y="2457"/>
                    </a:lnTo>
                    <a:lnTo>
                      <a:pt x="8069" y="2490"/>
                    </a:lnTo>
                    <a:lnTo>
                      <a:pt x="8082" y="2524"/>
                    </a:lnTo>
                    <a:lnTo>
                      <a:pt x="8095" y="2558"/>
                    </a:lnTo>
                    <a:lnTo>
                      <a:pt x="8105" y="2592"/>
                    </a:lnTo>
                    <a:lnTo>
                      <a:pt x="8114" y="2625"/>
                    </a:lnTo>
                    <a:lnTo>
                      <a:pt x="8122" y="2659"/>
                    </a:lnTo>
                    <a:lnTo>
                      <a:pt x="8130" y="2693"/>
                    </a:lnTo>
                    <a:lnTo>
                      <a:pt x="8135" y="2727"/>
                    </a:lnTo>
                    <a:lnTo>
                      <a:pt x="8139" y="2761"/>
                    </a:lnTo>
                    <a:lnTo>
                      <a:pt x="8142" y="2796"/>
                    </a:lnTo>
                    <a:lnTo>
                      <a:pt x="8144" y="2830"/>
                    </a:lnTo>
                    <a:lnTo>
                      <a:pt x="8145" y="2865"/>
                    </a:lnTo>
                    <a:lnTo>
                      <a:pt x="8245" y="2865"/>
                    </a:lnTo>
                    <a:close/>
                  </a:path>
                </a:pathLst>
              </a:custGeom>
              <a:solidFill>
                <a:srgbClr val="ADD7E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14" name="Freeform 255"/>
              <p:cNvSpPr>
                <a:spLocks/>
              </p:cNvSpPr>
              <p:nvPr>
                <p:custDataLst>
                  <p:tags r:id="rId67"/>
                </p:custDataLst>
              </p:nvPr>
            </p:nvSpPr>
            <p:spPr bwMode="auto">
              <a:xfrm>
                <a:off x="737" y="3387"/>
                <a:ext cx="234" cy="73"/>
              </a:xfrm>
              <a:custGeom>
                <a:avLst/>
                <a:gdLst>
                  <a:gd name="T0" fmla="*/ 0 w 5393"/>
                  <a:gd name="T1" fmla="*/ 1426 h 1828"/>
                  <a:gd name="T2" fmla="*/ 1207 w 5393"/>
                  <a:gd name="T3" fmla="*/ 1828 h 1828"/>
                  <a:gd name="T4" fmla="*/ 4061 w 5393"/>
                  <a:gd name="T5" fmla="*/ 687 h 1828"/>
                  <a:gd name="T6" fmla="*/ 5393 w 5393"/>
                  <a:gd name="T7" fmla="*/ 1013 h 1828"/>
                  <a:gd name="T8" fmla="*/ 4690 w 5393"/>
                  <a:gd name="T9" fmla="*/ 0 h 1828"/>
                  <a:gd name="T10" fmla="*/ 1253 w 5393"/>
                  <a:gd name="T11" fmla="*/ 0 h 1828"/>
                  <a:gd name="T12" fmla="*/ 2690 w 5393"/>
                  <a:gd name="T13" fmla="*/ 352 h 1828"/>
                  <a:gd name="T14" fmla="*/ 0 w 5393"/>
                  <a:gd name="T15" fmla="*/ 1426 h 18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8">
                    <a:moveTo>
                      <a:pt x="0" y="1426"/>
                    </a:moveTo>
                    <a:lnTo>
                      <a:pt x="1207" y="1828"/>
                    </a:lnTo>
                    <a:lnTo>
                      <a:pt x="4061" y="687"/>
                    </a:lnTo>
                    <a:lnTo>
                      <a:pt x="5393" y="1013"/>
                    </a:lnTo>
                    <a:lnTo>
                      <a:pt x="4690" y="0"/>
                    </a:lnTo>
                    <a:lnTo>
                      <a:pt x="1253" y="0"/>
                    </a:lnTo>
                    <a:lnTo>
                      <a:pt x="2690" y="352"/>
                    </a:lnTo>
                    <a:lnTo>
                      <a:pt x="0"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15" name="Freeform 256"/>
              <p:cNvSpPr>
                <a:spLocks/>
              </p:cNvSpPr>
              <p:nvPr>
                <p:custDataLst>
                  <p:tags r:id="rId68"/>
                </p:custDataLst>
              </p:nvPr>
            </p:nvSpPr>
            <p:spPr bwMode="auto">
              <a:xfrm>
                <a:off x="480" y="3474"/>
                <a:ext cx="235" cy="73"/>
              </a:xfrm>
              <a:custGeom>
                <a:avLst/>
                <a:gdLst>
                  <a:gd name="T0" fmla="*/ 5394 w 5394"/>
                  <a:gd name="T1" fmla="*/ 401 h 1827"/>
                  <a:gd name="T2" fmla="*/ 4186 w 5394"/>
                  <a:gd name="T3" fmla="*/ 0 h 1827"/>
                  <a:gd name="T4" fmla="*/ 1332 w 5394"/>
                  <a:gd name="T5" fmla="*/ 1140 h 1827"/>
                  <a:gd name="T6" fmla="*/ 0 w 5394"/>
                  <a:gd name="T7" fmla="*/ 814 h 1827"/>
                  <a:gd name="T8" fmla="*/ 702 w 5394"/>
                  <a:gd name="T9" fmla="*/ 1827 h 1827"/>
                  <a:gd name="T10" fmla="*/ 4140 w 5394"/>
                  <a:gd name="T11" fmla="*/ 1827 h 1827"/>
                  <a:gd name="T12" fmla="*/ 2704 w 5394"/>
                  <a:gd name="T13" fmla="*/ 1476 h 1827"/>
                  <a:gd name="T14" fmla="*/ 5394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5394" y="401"/>
                    </a:moveTo>
                    <a:lnTo>
                      <a:pt x="4186" y="0"/>
                    </a:lnTo>
                    <a:lnTo>
                      <a:pt x="1332" y="1140"/>
                    </a:lnTo>
                    <a:lnTo>
                      <a:pt x="0" y="814"/>
                    </a:lnTo>
                    <a:lnTo>
                      <a:pt x="702" y="1827"/>
                    </a:lnTo>
                    <a:lnTo>
                      <a:pt x="4140" y="1827"/>
                    </a:lnTo>
                    <a:lnTo>
                      <a:pt x="2704" y="1476"/>
                    </a:lnTo>
                    <a:lnTo>
                      <a:pt x="5394"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16" name="Freeform 257"/>
              <p:cNvSpPr>
                <a:spLocks/>
              </p:cNvSpPr>
              <p:nvPr>
                <p:custDataLst>
                  <p:tags r:id="rId69"/>
                </p:custDataLst>
              </p:nvPr>
            </p:nvSpPr>
            <p:spPr bwMode="auto">
              <a:xfrm>
                <a:off x="493" y="3385"/>
                <a:ext cx="235" cy="73"/>
              </a:xfrm>
              <a:custGeom>
                <a:avLst/>
                <a:gdLst>
                  <a:gd name="T0" fmla="*/ 0 w 5394"/>
                  <a:gd name="T1" fmla="*/ 401 h 1827"/>
                  <a:gd name="T2" fmla="*/ 1208 w 5394"/>
                  <a:gd name="T3" fmla="*/ 0 h 1827"/>
                  <a:gd name="T4" fmla="*/ 4062 w 5394"/>
                  <a:gd name="T5" fmla="*/ 1140 h 1827"/>
                  <a:gd name="T6" fmla="*/ 5394 w 5394"/>
                  <a:gd name="T7" fmla="*/ 813 h 1827"/>
                  <a:gd name="T8" fmla="*/ 4691 w 5394"/>
                  <a:gd name="T9" fmla="*/ 1827 h 1827"/>
                  <a:gd name="T10" fmla="*/ 1253 w 5394"/>
                  <a:gd name="T11" fmla="*/ 1827 h 1827"/>
                  <a:gd name="T12" fmla="*/ 2690 w 5394"/>
                  <a:gd name="T13" fmla="*/ 1475 h 1827"/>
                  <a:gd name="T14" fmla="*/ 0 w 5394"/>
                  <a:gd name="T15" fmla="*/ 401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4" h="1827">
                    <a:moveTo>
                      <a:pt x="0" y="401"/>
                    </a:moveTo>
                    <a:lnTo>
                      <a:pt x="1208" y="0"/>
                    </a:lnTo>
                    <a:lnTo>
                      <a:pt x="4062" y="1140"/>
                    </a:lnTo>
                    <a:lnTo>
                      <a:pt x="5394" y="813"/>
                    </a:lnTo>
                    <a:lnTo>
                      <a:pt x="4691" y="1827"/>
                    </a:lnTo>
                    <a:lnTo>
                      <a:pt x="1253" y="1827"/>
                    </a:lnTo>
                    <a:lnTo>
                      <a:pt x="2690" y="1475"/>
                    </a:lnTo>
                    <a:lnTo>
                      <a:pt x="0" y="401"/>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17" name="Freeform 258"/>
              <p:cNvSpPr>
                <a:spLocks/>
              </p:cNvSpPr>
              <p:nvPr>
                <p:custDataLst>
                  <p:tags r:id="rId70"/>
                </p:custDataLst>
              </p:nvPr>
            </p:nvSpPr>
            <p:spPr bwMode="auto">
              <a:xfrm>
                <a:off x="729" y="3479"/>
                <a:ext cx="235" cy="73"/>
              </a:xfrm>
              <a:custGeom>
                <a:avLst/>
                <a:gdLst>
                  <a:gd name="T0" fmla="*/ 5393 w 5393"/>
                  <a:gd name="T1" fmla="*/ 1426 h 1827"/>
                  <a:gd name="T2" fmla="*/ 4186 w 5393"/>
                  <a:gd name="T3" fmla="*/ 1827 h 1827"/>
                  <a:gd name="T4" fmla="*/ 1332 w 5393"/>
                  <a:gd name="T5" fmla="*/ 687 h 1827"/>
                  <a:gd name="T6" fmla="*/ 0 w 5393"/>
                  <a:gd name="T7" fmla="*/ 1012 h 1827"/>
                  <a:gd name="T8" fmla="*/ 702 w 5393"/>
                  <a:gd name="T9" fmla="*/ 0 h 1827"/>
                  <a:gd name="T10" fmla="*/ 4140 w 5393"/>
                  <a:gd name="T11" fmla="*/ 0 h 1827"/>
                  <a:gd name="T12" fmla="*/ 2703 w 5393"/>
                  <a:gd name="T13" fmla="*/ 352 h 1827"/>
                  <a:gd name="T14" fmla="*/ 5393 w 5393"/>
                  <a:gd name="T15" fmla="*/ 1426 h 18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93" h="1827">
                    <a:moveTo>
                      <a:pt x="5393" y="1426"/>
                    </a:moveTo>
                    <a:lnTo>
                      <a:pt x="4186" y="1827"/>
                    </a:lnTo>
                    <a:lnTo>
                      <a:pt x="1332" y="687"/>
                    </a:lnTo>
                    <a:lnTo>
                      <a:pt x="0" y="1012"/>
                    </a:lnTo>
                    <a:lnTo>
                      <a:pt x="702" y="0"/>
                    </a:lnTo>
                    <a:lnTo>
                      <a:pt x="4140" y="0"/>
                    </a:lnTo>
                    <a:lnTo>
                      <a:pt x="2703" y="352"/>
                    </a:lnTo>
                    <a:lnTo>
                      <a:pt x="5393" y="1426"/>
                    </a:lnTo>
                    <a:close/>
                  </a:path>
                </a:pathLst>
              </a:custGeom>
              <a:solidFill>
                <a:srgbClr val="3F60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GB">
                  <a:solidFill>
                    <a:srgbClr val="000000"/>
                  </a:solidFill>
                </a:endParaRPr>
              </a:p>
            </p:txBody>
          </p:sp>
          <p:sp>
            <p:nvSpPr>
              <p:cNvPr id="618" name="Rectangle 259"/>
              <p:cNvSpPr>
                <a:spLocks noChangeArrowheads="1"/>
              </p:cNvSpPr>
              <p:nvPr>
                <p:custDataLst>
                  <p:tags r:id="rId71"/>
                </p:custDataLst>
              </p:nvPr>
            </p:nvSpPr>
            <p:spPr bwMode="auto">
              <a:xfrm>
                <a:off x="369"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19" name="Rectangle 260"/>
              <p:cNvSpPr>
                <a:spLocks noChangeArrowheads="1"/>
              </p:cNvSpPr>
              <p:nvPr>
                <p:custDataLst>
                  <p:tags r:id="rId72"/>
                </p:custDataLst>
              </p:nvPr>
            </p:nvSpPr>
            <p:spPr bwMode="auto">
              <a:xfrm>
                <a:off x="369"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20" name="Rectangle 261"/>
              <p:cNvSpPr>
                <a:spLocks noChangeArrowheads="1"/>
              </p:cNvSpPr>
              <p:nvPr>
                <p:custDataLst>
                  <p:tags r:id="rId73"/>
                </p:custDataLst>
              </p:nvPr>
            </p:nvSpPr>
            <p:spPr bwMode="auto">
              <a:xfrm>
                <a:off x="369"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21" name="Rectangle 262"/>
              <p:cNvSpPr>
                <a:spLocks noChangeArrowheads="1"/>
              </p:cNvSpPr>
              <p:nvPr>
                <p:custDataLst>
                  <p:tags r:id="rId74"/>
                </p:custDataLst>
              </p:nvPr>
            </p:nvSpPr>
            <p:spPr bwMode="auto">
              <a:xfrm>
                <a:off x="1082" y="3469"/>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22" name="Rectangle 263"/>
              <p:cNvSpPr>
                <a:spLocks noChangeArrowheads="1"/>
              </p:cNvSpPr>
              <p:nvPr>
                <p:custDataLst>
                  <p:tags r:id="rId75"/>
                </p:custDataLst>
              </p:nvPr>
            </p:nvSpPr>
            <p:spPr bwMode="auto">
              <a:xfrm>
                <a:off x="1082" y="3471"/>
                <a:ext cx="4" cy="161"/>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sp>
            <p:nvSpPr>
              <p:cNvPr id="623" name="Rectangle 264"/>
              <p:cNvSpPr>
                <a:spLocks noChangeArrowheads="1"/>
              </p:cNvSpPr>
              <p:nvPr>
                <p:custDataLst>
                  <p:tags r:id="rId76"/>
                </p:custDataLst>
              </p:nvPr>
            </p:nvSpPr>
            <p:spPr bwMode="auto">
              <a:xfrm>
                <a:off x="1082" y="3632"/>
                <a:ext cx="4" cy="2"/>
              </a:xfrm>
              <a:prstGeom prst="rect">
                <a:avLst/>
              </a:prstGeom>
              <a:solidFill>
                <a:srgbClr val="ADD7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endParaRPr lang="en-GB">
                  <a:solidFill>
                    <a:srgbClr val="000000"/>
                  </a:solidFill>
                </a:endParaRPr>
              </a:p>
            </p:txBody>
          </p:sp>
        </p:grpSp>
        <p:cxnSp>
          <p:nvCxnSpPr>
            <p:cNvPr id="552" name="AutoShape 265"/>
            <p:cNvCxnSpPr>
              <a:cxnSpLocks noChangeShapeType="1"/>
              <a:stCxn id="791" idx="22"/>
              <a:endCxn id="550" idx="0"/>
            </p:cNvCxnSpPr>
            <p:nvPr>
              <p:custDataLst>
                <p:tags r:id="rId25"/>
              </p:custDataLst>
            </p:nvPr>
          </p:nvCxnSpPr>
          <p:spPr bwMode="auto">
            <a:xfrm flipH="1">
              <a:off x="1500" y="2183"/>
              <a:ext cx="295" cy="196"/>
            </a:xfrm>
            <a:prstGeom prst="straightConnector1">
              <a:avLst/>
            </a:prstGeom>
            <a:noFill/>
            <a:ln w="25400">
              <a:solidFill>
                <a:srgbClr val="3F607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53" name="Oval 266"/>
            <p:cNvSpPr>
              <a:spLocks noChangeArrowheads="1"/>
            </p:cNvSpPr>
            <p:nvPr>
              <p:custDataLst>
                <p:tags r:id="rId26"/>
              </p:custDataLst>
            </p:nvPr>
          </p:nvSpPr>
          <p:spPr bwMode="auto">
            <a:xfrm>
              <a:off x="2230" y="1933"/>
              <a:ext cx="19" cy="20"/>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54" name="Oval 267"/>
            <p:cNvSpPr>
              <a:spLocks noChangeArrowheads="1"/>
            </p:cNvSpPr>
            <p:nvPr>
              <p:custDataLst>
                <p:tags r:id="rId27"/>
              </p:custDataLst>
            </p:nvPr>
          </p:nvSpPr>
          <p:spPr bwMode="auto">
            <a:xfrm>
              <a:off x="2325" y="2059"/>
              <a:ext cx="19" cy="20"/>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55" name="Oval 268"/>
            <p:cNvSpPr>
              <a:spLocks noChangeArrowheads="1"/>
            </p:cNvSpPr>
            <p:nvPr>
              <p:custDataLst>
                <p:tags r:id="rId28"/>
              </p:custDataLst>
            </p:nvPr>
          </p:nvSpPr>
          <p:spPr bwMode="auto">
            <a:xfrm>
              <a:off x="2328" y="2101"/>
              <a:ext cx="19" cy="20"/>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56" name="Oval 269"/>
            <p:cNvSpPr>
              <a:spLocks noChangeArrowheads="1"/>
            </p:cNvSpPr>
            <p:nvPr>
              <p:custDataLst>
                <p:tags r:id="rId29"/>
              </p:custDataLst>
            </p:nvPr>
          </p:nvSpPr>
          <p:spPr bwMode="auto">
            <a:xfrm>
              <a:off x="2152" y="2280"/>
              <a:ext cx="19" cy="21"/>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57" name="Oval 270"/>
            <p:cNvSpPr>
              <a:spLocks noChangeArrowheads="1"/>
            </p:cNvSpPr>
            <p:nvPr>
              <p:custDataLst>
                <p:tags r:id="rId30"/>
              </p:custDataLst>
            </p:nvPr>
          </p:nvSpPr>
          <p:spPr bwMode="auto">
            <a:xfrm>
              <a:off x="1893" y="2126"/>
              <a:ext cx="20" cy="21"/>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58" name="Oval 271"/>
            <p:cNvSpPr>
              <a:spLocks noChangeArrowheads="1"/>
            </p:cNvSpPr>
            <p:nvPr>
              <p:custDataLst>
                <p:tags r:id="rId31"/>
              </p:custDataLst>
            </p:nvPr>
          </p:nvSpPr>
          <p:spPr bwMode="auto">
            <a:xfrm>
              <a:off x="1773" y="2173"/>
              <a:ext cx="15" cy="15"/>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59" name="Oval 272"/>
            <p:cNvSpPr>
              <a:spLocks noChangeArrowheads="1"/>
            </p:cNvSpPr>
            <p:nvPr>
              <p:custDataLst>
                <p:tags r:id="rId32"/>
              </p:custDataLst>
            </p:nvPr>
          </p:nvSpPr>
          <p:spPr bwMode="auto">
            <a:xfrm>
              <a:off x="1786" y="2174"/>
              <a:ext cx="15" cy="15"/>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60" name="Oval 273"/>
            <p:cNvSpPr>
              <a:spLocks noChangeArrowheads="1"/>
            </p:cNvSpPr>
            <p:nvPr>
              <p:custDataLst>
                <p:tags r:id="rId33"/>
              </p:custDataLst>
            </p:nvPr>
          </p:nvSpPr>
          <p:spPr bwMode="auto">
            <a:xfrm>
              <a:off x="1493" y="2370"/>
              <a:ext cx="14" cy="15"/>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61" name="Oval 274"/>
            <p:cNvSpPr>
              <a:spLocks noChangeArrowheads="1"/>
            </p:cNvSpPr>
            <p:nvPr>
              <p:custDataLst>
                <p:tags r:id="rId34"/>
              </p:custDataLst>
            </p:nvPr>
          </p:nvSpPr>
          <p:spPr bwMode="auto">
            <a:xfrm>
              <a:off x="1434" y="2296"/>
              <a:ext cx="15" cy="15"/>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62" name="Oval 275"/>
            <p:cNvSpPr>
              <a:spLocks noChangeArrowheads="1"/>
            </p:cNvSpPr>
            <p:nvPr>
              <p:custDataLst>
                <p:tags r:id="rId35"/>
              </p:custDataLst>
            </p:nvPr>
          </p:nvSpPr>
          <p:spPr bwMode="auto">
            <a:xfrm>
              <a:off x="1502" y="2080"/>
              <a:ext cx="14" cy="15"/>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63" name="Oval 276"/>
            <p:cNvSpPr>
              <a:spLocks noChangeArrowheads="1"/>
            </p:cNvSpPr>
            <p:nvPr>
              <p:custDataLst>
                <p:tags r:id="rId36"/>
              </p:custDataLst>
            </p:nvPr>
          </p:nvSpPr>
          <p:spPr bwMode="auto">
            <a:xfrm>
              <a:off x="1502" y="2066"/>
              <a:ext cx="14" cy="15"/>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64" name="Oval 277"/>
            <p:cNvSpPr>
              <a:spLocks noChangeArrowheads="1"/>
            </p:cNvSpPr>
            <p:nvPr>
              <p:custDataLst>
                <p:tags r:id="rId37"/>
              </p:custDataLst>
            </p:nvPr>
          </p:nvSpPr>
          <p:spPr bwMode="auto">
            <a:xfrm>
              <a:off x="1567" y="1956"/>
              <a:ext cx="14" cy="15"/>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65" name="Oval 278"/>
            <p:cNvSpPr>
              <a:spLocks noChangeArrowheads="1"/>
            </p:cNvSpPr>
            <p:nvPr>
              <p:custDataLst>
                <p:tags r:id="rId38"/>
              </p:custDataLst>
            </p:nvPr>
          </p:nvSpPr>
          <p:spPr bwMode="auto">
            <a:xfrm>
              <a:off x="1479" y="1918"/>
              <a:ext cx="15" cy="15"/>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66" name="Oval 279"/>
            <p:cNvSpPr>
              <a:spLocks noChangeArrowheads="1"/>
            </p:cNvSpPr>
            <p:nvPr>
              <p:custDataLst>
                <p:tags r:id="rId39"/>
              </p:custDataLst>
            </p:nvPr>
          </p:nvSpPr>
          <p:spPr bwMode="auto">
            <a:xfrm>
              <a:off x="1339" y="1907"/>
              <a:ext cx="14" cy="15"/>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67" name="Oval 280"/>
            <p:cNvSpPr>
              <a:spLocks noChangeArrowheads="1"/>
            </p:cNvSpPr>
            <p:nvPr>
              <p:custDataLst>
                <p:tags r:id="rId40"/>
              </p:custDataLst>
            </p:nvPr>
          </p:nvSpPr>
          <p:spPr bwMode="auto">
            <a:xfrm>
              <a:off x="1409" y="2084"/>
              <a:ext cx="15" cy="15"/>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68" name="Oval 281"/>
            <p:cNvSpPr>
              <a:spLocks noChangeArrowheads="1"/>
            </p:cNvSpPr>
            <p:nvPr>
              <p:custDataLst>
                <p:tags r:id="rId41"/>
              </p:custDataLst>
            </p:nvPr>
          </p:nvSpPr>
          <p:spPr bwMode="auto">
            <a:xfrm>
              <a:off x="1246" y="2069"/>
              <a:ext cx="15" cy="15"/>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69" name="Oval 282"/>
            <p:cNvSpPr>
              <a:spLocks noChangeArrowheads="1"/>
            </p:cNvSpPr>
            <p:nvPr>
              <p:custDataLst>
                <p:tags r:id="rId42"/>
              </p:custDataLst>
            </p:nvPr>
          </p:nvSpPr>
          <p:spPr bwMode="auto">
            <a:xfrm>
              <a:off x="1248" y="1922"/>
              <a:ext cx="14" cy="15"/>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70" name="Oval 283"/>
            <p:cNvSpPr>
              <a:spLocks noChangeArrowheads="1"/>
            </p:cNvSpPr>
            <p:nvPr>
              <p:custDataLst>
                <p:tags r:id="rId43"/>
              </p:custDataLst>
            </p:nvPr>
          </p:nvSpPr>
          <p:spPr bwMode="auto">
            <a:xfrm>
              <a:off x="1168" y="2016"/>
              <a:ext cx="15" cy="15"/>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71" name="Text Box 284"/>
            <p:cNvSpPr txBox="1">
              <a:spLocks noChangeArrowheads="1"/>
            </p:cNvSpPr>
            <p:nvPr>
              <p:custDataLst>
                <p:tags r:id="rId44"/>
              </p:custDataLst>
            </p:nvPr>
          </p:nvSpPr>
          <p:spPr bwMode="auto">
            <a:xfrm>
              <a:off x="1175" y="2173"/>
              <a:ext cx="134" cy="30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spAutoFit/>
            </a:bodyPr>
            <a:lstStyle/>
            <a:p>
              <a:pPr algn="ctr"/>
              <a:endParaRPr lang="fr-FR">
                <a:solidFill>
                  <a:srgbClr val="000000"/>
                </a:solidFill>
              </a:endParaRPr>
            </a:p>
          </p:txBody>
        </p:sp>
        <p:sp>
          <p:nvSpPr>
            <p:cNvPr id="572" name="Oval 285"/>
            <p:cNvSpPr>
              <a:spLocks noChangeArrowheads="1"/>
            </p:cNvSpPr>
            <p:nvPr>
              <p:custDataLst>
                <p:tags r:id="rId45"/>
              </p:custDataLst>
            </p:nvPr>
          </p:nvSpPr>
          <p:spPr bwMode="auto">
            <a:xfrm>
              <a:off x="1723" y="2130"/>
              <a:ext cx="14" cy="15"/>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sp>
          <p:nvSpPr>
            <p:cNvPr id="573" name="Oval 286"/>
            <p:cNvSpPr>
              <a:spLocks noChangeArrowheads="1"/>
            </p:cNvSpPr>
            <p:nvPr>
              <p:custDataLst>
                <p:tags r:id="rId46"/>
              </p:custDataLst>
            </p:nvPr>
          </p:nvSpPr>
          <p:spPr bwMode="auto">
            <a:xfrm>
              <a:off x="2325" y="2078"/>
              <a:ext cx="19" cy="20"/>
            </a:xfrm>
            <a:prstGeom prst="ellipse">
              <a:avLst/>
            </a:prstGeom>
            <a:solidFill>
              <a:srgbClr val="A71930"/>
            </a:solidFill>
            <a:ln>
              <a:noFill/>
            </a:ln>
            <a:effectLst/>
            <a:extLst>
              <a:ext uri="{91240B29-F687-4F45-9708-019B960494DF}">
                <a14:hiddenLine xmlns:a14="http://schemas.microsoft.com/office/drawing/2010/main" w="12700">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46800" rIns="54000" bIns="46800" anchor="ctr"/>
            <a:lstStyle/>
            <a:p>
              <a:pPr algn="ctr"/>
              <a:endParaRPr lang="en-GB">
                <a:solidFill>
                  <a:srgbClr val="000000"/>
                </a:solidFill>
              </a:endParaRPr>
            </a:p>
          </p:txBody>
        </p:sp>
        <p:grpSp>
          <p:nvGrpSpPr>
            <p:cNvPr id="574" name="Group 287"/>
            <p:cNvGrpSpPr>
              <a:grpSpLocks noChangeAspect="1"/>
            </p:cNvGrpSpPr>
            <p:nvPr>
              <p:custDataLst>
                <p:tags r:id="rId47"/>
              </p:custDataLst>
            </p:nvPr>
          </p:nvGrpSpPr>
          <p:grpSpPr bwMode="auto">
            <a:xfrm>
              <a:off x="1219" y="2392"/>
              <a:ext cx="53" cy="44"/>
              <a:chOff x="1589" y="3223"/>
              <a:chExt cx="556" cy="552"/>
            </a:xfrm>
          </p:grpSpPr>
          <p:sp>
            <p:nvSpPr>
              <p:cNvPr id="597" name="Freeform 288"/>
              <p:cNvSpPr>
                <a:spLocks noChangeAspect="1"/>
              </p:cNvSpPr>
              <p:nvPr/>
            </p:nvSpPr>
            <p:spPr bwMode="auto">
              <a:xfrm>
                <a:off x="1648" y="3505"/>
                <a:ext cx="444" cy="88"/>
              </a:xfrm>
              <a:custGeom>
                <a:avLst/>
                <a:gdLst>
                  <a:gd name="T0" fmla="*/ 38 w 606"/>
                  <a:gd name="T1" fmla="*/ 0 h 97"/>
                  <a:gd name="T2" fmla="*/ 562 w 606"/>
                  <a:gd name="T3" fmla="*/ 6 h 97"/>
                  <a:gd name="T4" fmla="*/ 606 w 606"/>
                  <a:gd name="T5" fmla="*/ 97 h 97"/>
                  <a:gd name="T6" fmla="*/ 0 w 606"/>
                  <a:gd name="T7" fmla="*/ 97 h 97"/>
                  <a:gd name="T8" fmla="*/ 38 w 606"/>
                  <a:gd name="T9" fmla="*/ 0 h 97"/>
                </a:gdLst>
                <a:ahLst/>
                <a:cxnLst>
                  <a:cxn ang="0">
                    <a:pos x="T0" y="T1"/>
                  </a:cxn>
                  <a:cxn ang="0">
                    <a:pos x="T2" y="T3"/>
                  </a:cxn>
                  <a:cxn ang="0">
                    <a:pos x="T4" y="T5"/>
                  </a:cxn>
                  <a:cxn ang="0">
                    <a:pos x="T6" y="T7"/>
                  </a:cxn>
                  <a:cxn ang="0">
                    <a:pos x="T8" y="T9"/>
                  </a:cxn>
                </a:cxnLst>
                <a:rect l="0" t="0" r="r" b="b"/>
                <a:pathLst>
                  <a:path w="606" h="97">
                    <a:moveTo>
                      <a:pt x="38" y="0"/>
                    </a:moveTo>
                    <a:lnTo>
                      <a:pt x="562" y="6"/>
                    </a:lnTo>
                    <a:lnTo>
                      <a:pt x="606" y="97"/>
                    </a:lnTo>
                    <a:lnTo>
                      <a:pt x="0" y="97"/>
                    </a:lnTo>
                    <a:lnTo>
                      <a:pt x="38" y="0"/>
                    </a:lnTo>
                    <a:close/>
                  </a:path>
                </a:pathLst>
              </a:custGeom>
              <a:solidFill>
                <a:srgbClr val="808080">
                  <a:alpha val="50000"/>
                </a:srgbClr>
              </a:solidFill>
              <a:ln>
                <a:noFill/>
              </a:ln>
              <a:extLst>
                <a:ext uri="{91240B29-F687-4F45-9708-019B960494DF}">
                  <a14:hiddenLine xmlns:a14="http://schemas.microsoft.com/office/drawing/2010/main" w="3175">
                    <a:solidFill>
                      <a:srgbClr val="000000"/>
                    </a:solidFill>
                    <a:round/>
                    <a:headEnd/>
                    <a:tailEnd/>
                  </a14:hiddenLine>
                </a:ext>
              </a:extLst>
            </p:spPr>
            <p:txBody>
              <a:bodyPr/>
              <a:lstStyle/>
              <a:p>
                <a:pPr algn="ctr"/>
                <a:endParaRPr lang="en-GB">
                  <a:solidFill>
                    <a:srgbClr val="000000"/>
                  </a:solidFill>
                </a:endParaRPr>
              </a:p>
            </p:txBody>
          </p:sp>
          <p:sp>
            <p:nvSpPr>
              <p:cNvPr id="598" name="Rectangle 289"/>
              <p:cNvSpPr>
                <a:spLocks noChangeAspect="1" noChangeArrowheads="1"/>
              </p:cNvSpPr>
              <p:nvPr/>
            </p:nvSpPr>
            <p:spPr bwMode="auto">
              <a:xfrm>
                <a:off x="1648" y="3589"/>
                <a:ext cx="441" cy="90"/>
              </a:xfrm>
              <a:prstGeom prst="rect">
                <a:avLst/>
              </a:prstGeom>
              <a:solidFill>
                <a:srgbClr val="C0C0C0">
                  <a:alpha val="50000"/>
                </a:srgbClr>
              </a:solidFill>
              <a:ln w="3175">
                <a:solidFill>
                  <a:srgbClr val="727272"/>
                </a:solidFill>
                <a:miter lim="800000"/>
                <a:headEnd/>
                <a:tailEnd/>
              </a:ln>
            </p:spPr>
            <p:txBody>
              <a:bodyPr/>
              <a:lstStyle/>
              <a:p>
                <a:pPr algn="ctr"/>
                <a:endParaRPr lang="en-GB">
                  <a:solidFill>
                    <a:srgbClr val="000000"/>
                  </a:solidFill>
                </a:endParaRPr>
              </a:p>
            </p:txBody>
          </p:sp>
          <p:sp>
            <p:nvSpPr>
              <p:cNvPr id="599" name="Freeform 290"/>
              <p:cNvSpPr>
                <a:spLocks noChangeAspect="1"/>
              </p:cNvSpPr>
              <p:nvPr/>
            </p:nvSpPr>
            <p:spPr bwMode="auto">
              <a:xfrm>
                <a:off x="1691" y="3223"/>
                <a:ext cx="353" cy="300"/>
              </a:xfrm>
              <a:custGeom>
                <a:avLst/>
                <a:gdLst>
                  <a:gd name="T0" fmla="*/ 0 w 482"/>
                  <a:gd name="T1" fmla="*/ 312 h 325"/>
                  <a:gd name="T2" fmla="*/ 24 w 482"/>
                  <a:gd name="T3" fmla="*/ 325 h 325"/>
                  <a:gd name="T4" fmla="*/ 453 w 482"/>
                  <a:gd name="T5" fmla="*/ 325 h 325"/>
                  <a:gd name="T6" fmla="*/ 482 w 482"/>
                  <a:gd name="T7" fmla="*/ 314 h 325"/>
                  <a:gd name="T8" fmla="*/ 482 w 482"/>
                  <a:gd name="T9" fmla="*/ 18 h 325"/>
                  <a:gd name="T10" fmla="*/ 459 w 482"/>
                  <a:gd name="T11" fmla="*/ 0 h 325"/>
                  <a:gd name="T12" fmla="*/ 26 w 482"/>
                  <a:gd name="T13" fmla="*/ 0 h 325"/>
                  <a:gd name="T14" fmla="*/ 0 w 482"/>
                  <a:gd name="T15" fmla="*/ 16 h 325"/>
                  <a:gd name="T16" fmla="*/ 0 w 482"/>
                  <a:gd name="T17" fmla="*/ 312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2" h="325">
                    <a:moveTo>
                      <a:pt x="0" y="312"/>
                    </a:moveTo>
                    <a:lnTo>
                      <a:pt x="24" y="325"/>
                    </a:lnTo>
                    <a:lnTo>
                      <a:pt x="453" y="325"/>
                    </a:lnTo>
                    <a:lnTo>
                      <a:pt x="482" y="314"/>
                    </a:lnTo>
                    <a:lnTo>
                      <a:pt x="482" y="18"/>
                    </a:lnTo>
                    <a:lnTo>
                      <a:pt x="459" y="0"/>
                    </a:lnTo>
                    <a:lnTo>
                      <a:pt x="26" y="0"/>
                    </a:lnTo>
                    <a:lnTo>
                      <a:pt x="0" y="16"/>
                    </a:lnTo>
                    <a:lnTo>
                      <a:pt x="0" y="312"/>
                    </a:lnTo>
                    <a:close/>
                  </a:path>
                </a:pathLst>
              </a:custGeom>
              <a:solidFill>
                <a:srgbClr val="C0C0C0">
                  <a:alpha val="50000"/>
                </a:srgbClr>
              </a:solidFill>
              <a:ln w="3175">
                <a:solidFill>
                  <a:srgbClr val="727272"/>
                </a:solidFill>
                <a:prstDash val="solid"/>
                <a:round/>
                <a:headEnd/>
                <a:tailEnd/>
              </a:ln>
            </p:spPr>
            <p:txBody>
              <a:bodyPr/>
              <a:lstStyle/>
              <a:p>
                <a:pPr algn="ctr"/>
                <a:endParaRPr lang="en-GB">
                  <a:solidFill>
                    <a:srgbClr val="000000"/>
                  </a:solidFill>
                </a:endParaRPr>
              </a:p>
            </p:txBody>
          </p:sp>
          <p:sp>
            <p:nvSpPr>
              <p:cNvPr id="600" name="Freeform 291"/>
              <p:cNvSpPr>
                <a:spLocks noChangeAspect="1"/>
              </p:cNvSpPr>
              <p:nvPr/>
            </p:nvSpPr>
            <p:spPr bwMode="auto">
              <a:xfrm>
                <a:off x="1729" y="3271"/>
                <a:ext cx="277" cy="213"/>
              </a:xfrm>
              <a:custGeom>
                <a:avLst/>
                <a:gdLst>
                  <a:gd name="T0" fmla="*/ 0 w 377"/>
                  <a:gd name="T1" fmla="*/ 216 h 232"/>
                  <a:gd name="T2" fmla="*/ 13 w 377"/>
                  <a:gd name="T3" fmla="*/ 232 h 232"/>
                  <a:gd name="T4" fmla="*/ 360 w 377"/>
                  <a:gd name="T5" fmla="*/ 232 h 232"/>
                  <a:gd name="T6" fmla="*/ 377 w 377"/>
                  <a:gd name="T7" fmla="*/ 218 h 232"/>
                  <a:gd name="T8" fmla="*/ 377 w 377"/>
                  <a:gd name="T9" fmla="*/ 8 h 232"/>
                  <a:gd name="T10" fmla="*/ 360 w 377"/>
                  <a:gd name="T11" fmla="*/ 0 h 232"/>
                  <a:gd name="T12" fmla="*/ 16 w 377"/>
                  <a:gd name="T13" fmla="*/ 0 h 232"/>
                  <a:gd name="T14" fmla="*/ 0 w 377"/>
                  <a:gd name="T15" fmla="*/ 8 h 232"/>
                  <a:gd name="T16" fmla="*/ 0 w 377"/>
                  <a:gd name="T17" fmla="*/ 21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7" h="232">
                    <a:moveTo>
                      <a:pt x="0" y="216"/>
                    </a:moveTo>
                    <a:lnTo>
                      <a:pt x="13" y="232"/>
                    </a:lnTo>
                    <a:lnTo>
                      <a:pt x="360" y="232"/>
                    </a:lnTo>
                    <a:lnTo>
                      <a:pt x="377" y="218"/>
                    </a:lnTo>
                    <a:lnTo>
                      <a:pt x="377" y="8"/>
                    </a:lnTo>
                    <a:lnTo>
                      <a:pt x="360" y="0"/>
                    </a:lnTo>
                    <a:lnTo>
                      <a:pt x="16" y="0"/>
                    </a:lnTo>
                    <a:lnTo>
                      <a:pt x="0" y="8"/>
                    </a:lnTo>
                    <a:lnTo>
                      <a:pt x="0" y="216"/>
                    </a:lnTo>
                    <a:close/>
                  </a:path>
                </a:pathLst>
              </a:custGeom>
              <a:solidFill>
                <a:srgbClr val="FFFFFF">
                  <a:alpha val="50000"/>
                </a:srgbClr>
              </a:solidFill>
              <a:ln>
                <a:noFill/>
              </a:ln>
              <a:extLst>
                <a:ext uri="{91240B29-F687-4F45-9708-019B960494DF}">
                  <a14:hiddenLine xmlns:a14="http://schemas.microsoft.com/office/drawing/2010/main" w="3175">
                    <a:solidFill>
                      <a:srgbClr val="000000"/>
                    </a:solidFill>
                    <a:round/>
                    <a:headEnd/>
                    <a:tailEnd/>
                  </a14:hiddenLine>
                </a:ext>
              </a:extLst>
            </p:spPr>
            <p:txBody>
              <a:bodyPr/>
              <a:lstStyle/>
              <a:p>
                <a:pPr algn="ctr"/>
                <a:endParaRPr lang="en-GB">
                  <a:solidFill>
                    <a:srgbClr val="000000"/>
                  </a:solidFill>
                </a:endParaRPr>
              </a:p>
            </p:txBody>
          </p:sp>
          <p:sp>
            <p:nvSpPr>
              <p:cNvPr id="601" name="Freeform 292"/>
              <p:cNvSpPr>
                <a:spLocks noChangeAspect="1"/>
              </p:cNvSpPr>
              <p:nvPr/>
            </p:nvSpPr>
            <p:spPr bwMode="auto">
              <a:xfrm>
                <a:off x="1589" y="3694"/>
                <a:ext cx="556" cy="81"/>
              </a:xfrm>
              <a:custGeom>
                <a:avLst/>
                <a:gdLst>
                  <a:gd name="T0" fmla="*/ 23 w 760"/>
                  <a:gd name="T1" fmla="*/ 0 h 89"/>
                  <a:gd name="T2" fmla="*/ 0 w 760"/>
                  <a:gd name="T3" fmla="*/ 89 h 89"/>
                  <a:gd name="T4" fmla="*/ 760 w 760"/>
                  <a:gd name="T5" fmla="*/ 89 h 89"/>
                  <a:gd name="T6" fmla="*/ 729 w 760"/>
                  <a:gd name="T7" fmla="*/ 0 h 89"/>
                  <a:gd name="T8" fmla="*/ 23 w 760"/>
                  <a:gd name="T9" fmla="*/ 0 h 89"/>
                </a:gdLst>
                <a:ahLst/>
                <a:cxnLst>
                  <a:cxn ang="0">
                    <a:pos x="T0" y="T1"/>
                  </a:cxn>
                  <a:cxn ang="0">
                    <a:pos x="T2" y="T3"/>
                  </a:cxn>
                  <a:cxn ang="0">
                    <a:pos x="T4" y="T5"/>
                  </a:cxn>
                  <a:cxn ang="0">
                    <a:pos x="T6" y="T7"/>
                  </a:cxn>
                  <a:cxn ang="0">
                    <a:pos x="T8" y="T9"/>
                  </a:cxn>
                </a:cxnLst>
                <a:rect l="0" t="0" r="r" b="b"/>
                <a:pathLst>
                  <a:path w="760" h="89">
                    <a:moveTo>
                      <a:pt x="23" y="0"/>
                    </a:moveTo>
                    <a:lnTo>
                      <a:pt x="0" y="89"/>
                    </a:lnTo>
                    <a:lnTo>
                      <a:pt x="760" y="89"/>
                    </a:lnTo>
                    <a:lnTo>
                      <a:pt x="729" y="0"/>
                    </a:lnTo>
                    <a:lnTo>
                      <a:pt x="23" y="0"/>
                    </a:lnTo>
                    <a:close/>
                  </a:path>
                </a:pathLst>
              </a:custGeom>
              <a:solidFill>
                <a:srgbClr val="C0C0C0">
                  <a:alpha val="50000"/>
                </a:srgbClr>
              </a:solidFill>
              <a:ln w="3175">
                <a:solidFill>
                  <a:srgbClr val="727272"/>
                </a:solidFill>
                <a:prstDash val="solid"/>
                <a:round/>
                <a:headEnd/>
                <a:tailEnd/>
              </a:ln>
            </p:spPr>
            <p:txBody>
              <a:bodyPr/>
              <a:lstStyle/>
              <a:p>
                <a:pPr algn="ctr"/>
                <a:endParaRPr lang="en-GB">
                  <a:solidFill>
                    <a:srgbClr val="000000"/>
                  </a:solidFill>
                </a:endParaRPr>
              </a:p>
            </p:txBody>
          </p:sp>
        </p:grpSp>
        <p:grpSp>
          <p:nvGrpSpPr>
            <p:cNvPr id="575" name="Group 293"/>
            <p:cNvGrpSpPr>
              <a:grpSpLocks/>
            </p:cNvGrpSpPr>
            <p:nvPr>
              <p:custDataLst>
                <p:tags r:id="rId48"/>
              </p:custDataLst>
            </p:nvPr>
          </p:nvGrpSpPr>
          <p:grpSpPr bwMode="auto">
            <a:xfrm>
              <a:off x="1183" y="2247"/>
              <a:ext cx="54" cy="44"/>
              <a:chOff x="1589" y="3223"/>
              <a:chExt cx="556" cy="552"/>
            </a:xfrm>
          </p:grpSpPr>
          <p:sp>
            <p:nvSpPr>
              <p:cNvPr id="592" name="Freeform 294"/>
              <p:cNvSpPr>
                <a:spLocks/>
              </p:cNvSpPr>
              <p:nvPr/>
            </p:nvSpPr>
            <p:spPr bwMode="auto">
              <a:xfrm>
                <a:off x="1648" y="3505"/>
                <a:ext cx="444" cy="88"/>
              </a:xfrm>
              <a:custGeom>
                <a:avLst/>
                <a:gdLst>
                  <a:gd name="T0" fmla="*/ 38 w 606"/>
                  <a:gd name="T1" fmla="*/ 0 h 97"/>
                  <a:gd name="T2" fmla="*/ 562 w 606"/>
                  <a:gd name="T3" fmla="*/ 6 h 97"/>
                  <a:gd name="T4" fmla="*/ 606 w 606"/>
                  <a:gd name="T5" fmla="*/ 97 h 97"/>
                  <a:gd name="T6" fmla="*/ 0 w 606"/>
                  <a:gd name="T7" fmla="*/ 97 h 97"/>
                  <a:gd name="T8" fmla="*/ 38 w 606"/>
                  <a:gd name="T9" fmla="*/ 0 h 97"/>
                </a:gdLst>
                <a:ahLst/>
                <a:cxnLst>
                  <a:cxn ang="0">
                    <a:pos x="T0" y="T1"/>
                  </a:cxn>
                  <a:cxn ang="0">
                    <a:pos x="T2" y="T3"/>
                  </a:cxn>
                  <a:cxn ang="0">
                    <a:pos x="T4" y="T5"/>
                  </a:cxn>
                  <a:cxn ang="0">
                    <a:pos x="T6" y="T7"/>
                  </a:cxn>
                  <a:cxn ang="0">
                    <a:pos x="T8" y="T9"/>
                  </a:cxn>
                </a:cxnLst>
                <a:rect l="0" t="0" r="r" b="b"/>
                <a:pathLst>
                  <a:path w="606" h="97">
                    <a:moveTo>
                      <a:pt x="38" y="0"/>
                    </a:moveTo>
                    <a:lnTo>
                      <a:pt x="562" y="6"/>
                    </a:lnTo>
                    <a:lnTo>
                      <a:pt x="606" y="97"/>
                    </a:lnTo>
                    <a:lnTo>
                      <a:pt x="0" y="97"/>
                    </a:lnTo>
                    <a:lnTo>
                      <a:pt x="38" y="0"/>
                    </a:lnTo>
                    <a:close/>
                  </a:path>
                </a:pathLst>
              </a:custGeom>
              <a:solidFill>
                <a:srgbClr val="808080">
                  <a:alpha val="50000"/>
                </a:srgbClr>
              </a:solidFill>
              <a:ln>
                <a:noFill/>
              </a:ln>
              <a:extLst>
                <a:ext uri="{91240B29-F687-4F45-9708-019B960494DF}">
                  <a14:hiddenLine xmlns:a14="http://schemas.microsoft.com/office/drawing/2010/main" w="3175">
                    <a:solidFill>
                      <a:srgbClr val="000000"/>
                    </a:solidFill>
                    <a:round/>
                    <a:headEnd/>
                    <a:tailEnd/>
                  </a14:hiddenLine>
                </a:ext>
              </a:extLst>
            </p:spPr>
            <p:txBody>
              <a:bodyPr/>
              <a:lstStyle/>
              <a:p>
                <a:pPr algn="ctr"/>
                <a:endParaRPr lang="en-GB">
                  <a:solidFill>
                    <a:srgbClr val="000000"/>
                  </a:solidFill>
                </a:endParaRPr>
              </a:p>
            </p:txBody>
          </p:sp>
          <p:sp>
            <p:nvSpPr>
              <p:cNvPr id="593" name="Rectangle 295"/>
              <p:cNvSpPr>
                <a:spLocks noChangeArrowheads="1"/>
              </p:cNvSpPr>
              <p:nvPr/>
            </p:nvSpPr>
            <p:spPr bwMode="auto">
              <a:xfrm>
                <a:off x="1648" y="3589"/>
                <a:ext cx="441" cy="90"/>
              </a:xfrm>
              <a:prstGeom prst="rect">
                <a:avLst/>
              </a:prstGeom>
              <a:solidFill>
                <a:srgbClr val="C0C0C0">
                  <a:alpha val="50000"/>
                </a:srgbClr>
              </a:solidFill>
              <a:ln w="3175">
                <a:solidFill>
                  <a:srgbClr val="727272"/>
                </a:solidFill>
                <a:miter lim="800000"/>
                <a:headEnd/>
                <a:tailEnd/>
              </a:ln>
            </p:spPr>
            <p:txBody>
              <a:bodyPr/>
              <a:lstStyle/>
              <a:p>
                <a:pPr algn="ctr"/>
                <a:endParaRPr lang="en-GB">
                  <a:solidFill>
                    <a:srgbClr val="000000"/>
                  </a:solidFill>
                </a:endParaRPr>
              </a:p>
            </p:txBody>
          </p:sp>
          <p:sp>
            <p:nvSpPr>
              <p:cNvPr id="594" name="Freeform 296"/>
              <p:cNvSpPr>
                <a:spLocks/>
              </p:cNvSpPr>
              <p:nvPr/>
            </p:nvSpPr>
            <p:spPr bwMode="auto">
              <a:xfrm>
                <a:off x="1691" y="3223"/>
                <a:ext cx="353" cy="300"/>
              </a:xfrm>
              <a:custGeom>
                <a:avLst/>
                <a:gdLst>
                  <a:gd name="T0" fmla="*/ 0 w 482"/>
                  <a:gd name="T1" fmla="*/ 312 h 325"/>
                  <a:gd name="T2" fmla="*/ 24 w 482"/>
                  <a:gd name="T3" fmla="*/ 325 h 325"/>
                  <a:gd name="T4" fmla="*/ 453 w 482"/>
                  <a:gd name="T5" fmla="*/ 325 h 325"/>
                  <a:gd name="T6" fmla="*/ 482 w 482"/>
                  <a:gd name="T7" fmla="*/ 314 h 325"/>
                  <a:gd name="T8" fmla="*/ 482 w 482"/>
                  <a:gd name="T9" fmla="*/ 18 h 325"/>
                  <a:gd name="T10" fmla="*/ 459 w 482"/>
                  <a:gd name="T11" fmla="*/ 0 h 325"/>
                  <a:gd name="T12" fmla="*/ 26 w 482"/>
                  <a:gd name="T13" fmla="*/ 0 h 325"/>
                  <a:gd name="T14" fmla="*/ 0 w 482"/>
                  <a:gd name="T15" fmla="*/ 16 h 325"/>
                  <a:gd name="T16" fmla="*/ 0 w 482"/>
                  <a:gd name="T17" fmla="*/ 312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2" h="325">
                    <a:moveTo>
                      <a:pt x="0" y="312"/>
                    </a:moveTo>
                    <a:lnTo>
                      <a:pt x="24" y="325"/>
                    </a:lnTo>
                    <a:lnTo>
                      <a:pt x="453" y="325"/>
                    </a:lnTo>
                    <a:lnTo>
                      <a:pt x="482" y="314"/>
                    </a:lnTo>
                    <a:lnTo>
                      <a:pt x="482" y="18"/>
                    </a:lnTo>
                    <a:lnTo>
                      <a:pt x="459" y="0"/>
                    </a:lnTo>
                    <a:lnTo>
                      <a:pt x="26" y="0"/>
                    </a:lnTo>
                    <a:lnTo>
                      <a:pt x="0" y="16"/>
                    </a:lnTo>
                    <a:lnTo>
                      <a:pt x="0" y="312"/>
                    </a:lnTo>
                    <a:close/>
                  </a:path>
                </a:pathLst>
              </a:custGeom>
              <a:solidFill>
                <a:srgbClr val="C0C0C0">
                  <a:alpha val="50000"/>
                </a:srgbClr>
              </a:solidFill>
              <a:ln w="3175">
                <a:solidFill>
                  <a:srgbClr val="727272"/>
                </a:solidFill>
                <a:prstDash val="solid"/>
                <a:round/>
                <a:headEnd/>
                <a:tailEnd/>
              </a:ln>
            </p:spPr>
            <p:txBody>
              <a:bodyPr/>
              <a:lstStyle/>
              <a:p>
                <a:pPr algn="ctr"/>
                <a:endParaRPr lang="en-GB">
                  <a:solidFill>
                    <a:srgbClr val="000000"/>
                  </a:solidFill>
                </a:endParaRPr>
              </a:p>
            </p:txBody>
          </p:sp>
          <p:sp>
            <p:nvSpPr>
              <p:cNvPr id="595" name="Freeform 297"/>
              <p:cNvSpPr>
                <a:spLocks/>
              </p:cNvSpPr>
              <p:nvPr/>
            </p:nvSpPr>
            <p:spPr bwMode="auto">
              <a:xfrm>
                <a:off x="1729" y="3271"/>
                <a:ext cx="277" cy="213"/>
              </a:xfrm>
              <a:custGeom>
                <a:avLst/>
                <a:gdLst>
                  <a:gd name="T0" fmla="*/ 0 w 377"/>
                  <a:gd name="T1" fmla="*/ 216 h 232"/>
                  <a:gd name="T2" fmla="*/ 13 w 377"/>
                  <a:gd name="T3" fmla="*/ 232 h 232"/>
                  <a:gd name="T4" fmla="*/ 360 w 377"/>
                  <a:gd name="T5" fmla="*/ 232 h 232"/>
                  <a:gd name="T6" fmla="*/ 377 w 377"/>
                  <a:gd name="T7" fmla="*/ 218 h 232"/>
                  <a:gd name="T8" fmla="*/ 377 w 377"/>
                  <a:gd name="T9" fmla="*/ 8 h 232"/>
                  <a:gd name="T10" fmla="*/ 360 w 377"/>
                  <a:gd name="T11" fmla="*/ 0 h 232"/>
                  <a:gd name="T12" fmla="*/ 16 w 377"/>
                  <a:gd name="T13" fmla="*/ 0 h 232"/>
                  <a:gd name="T14" fmla="*/ 0 w 377"/>
                  <a:gd name="T15" fmla="*/ 8 h 232"/>
                  <a:gd name="T16" fmla="*/ 0 w 377"/>
                  <a:gd name="T17" fmla="*/ 21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7" h="232">
                    <a:moveTo>
                      <a:pt x="0" y="216"/>
                    </a:moveTo>
                    <a:lnTo>
                      <a:pt x="13" y="232"/>
                    </a:lnTo>
                    <a:lnTo>
                      <a:pt x="360" y="232"/>
                    </a:lnTo>
                    <a:lnTo>
                      <a:pt x="377" y="218"/>
                    </a:lnTo>
                    <a:lnTo>
                      <a:pt x="377" y="8"/>
                    </a:lnTo>
                    <a:lnTo>
                      <a:pt x="360" y="0"/>
                    </a:lnTo>
                    <a:lnTo>
                      <a:pt x="16" y="0"/>
                    </a:lnTo>
                    <a:lnTo>
                      <a:pt x="0" y="8"/>
                    </a:lnTo>
                    <a:lnTo>
                      <a:pt x="0" y="216"/>
                    </a:lnTo>
                    <a:close/>
                  </a:path>
                </a:pathLst>
              </a:custGeom>
              <a:solidFill>
                <a:srgbClr val="FFFFFF">
                  <a:alpha val="50000"/>
                </a:srgbClr>
              </a:solidFill>
              <a:ln>
                <a:noFill/>
              </a:ln>
              <a:extLst>
                <a:ext uri="{91240B29-F687-4F45-9708-019B960494DF}">
                  <a14:hiddenLine xmlns:a14="http://schemas.microsoft.com/office/drawing/2010/main" w="3175">
                    <a:solidFill>
                      <a:srgbClr val="000000"/>
                    </a:solidFill>
                    <a:round/>
                    <a:headEnd/>
                    <a:tailEnd/>
                  </a14:hiddenLine>
                </a:ext>
              </a:extLst>
            </p:spPr>
            <p:txBody>
              <a:bodyPr/>
              <a:lstStyle/>
              <a:p>
                <a:pPr algn="ctr"/>
                <a:endParaRPr lang="en-GB">
                  <a:solidFill>
                    <a:srgbClr val="000000"/>
                  </a:solidFill>
                </a:endParaRPr>
              </a:p>
            </p:txBody>
          </p:sp>
          <p:sp>
            <p:nvSpPr>
              <p:cNvPr id="596" name="Freeform 298"/>
              <p:cNvSpPr>
                <a:spLocks/>
              </p:cNvSpPr>
              <p:nvPr/>
            </p:nvSpPr>
            <p:spPr bwMode="auto">
              <a:xfrm>
                <a:off x="1589" y="3694"/>
                <a:ext cx="556" cy="81"/>
              </a:xfrm>
              <a:custGeom>
                <a:avLst/>
                <a:gdLst>
                  <a:gd name="T0" fmla="*/ 23 w 760"/>
                  <a:gd name="T1" fmla="*/ 0 h 89"/>
                  <a:gd name="T2" fmla="*/ 0 w 760"/>
                  <a:gd name="T3" fmla="*/ 89 h 89"/>
                  <a:gd name="T4" fmla="*/ 760 w 760"/>
                  <a:gd name="T5" fmla="*/ 89 h 89"/>
                  <a:gd name="T6" fmla="*/ 729 w 760"/>
                  <a:gd name="T7" fmla="*/ 0 h 89"/>
                  <a:gd name="T8" fmla="*/ 23 w 760"/>
                  <a:gd name="T9" fmla="*/ 0 h 89"/>
                </a:gdLst>
                <a:ahLst/>
                <a:cxnLst>
                  <a:cxn ang="0">
                    <a:pos x="T0" y="T1"/>
                  </a:cxn>
                  <a:cxn ang="0">
                    <a:pos x="T2" y="T3"/>
                  </a:cxn>
                  <a:cxn ang="0">
                    <a:pos x="T4" y="T5"/>
                  </a:cxn>
                  <a:cxn ang="0">
                    <a:pos x="T6" y="T7"/>
                  </a:cxn>
                  <a:cxn ang="0">
                    <a:pos x="T8" y="T9"/>
                  </a:cxn>
                </a:cxnLst>
                <a:rect l="0" t="0" r="r" b="b"/>
                <a:pathLst>
                  <a:path w="760" h="89">
                    <a:moveTo>
                      <a:pt x="23" y="0"/>
                    </a:moveTo>
                    <a:lnTo>
                      <a:pt x="0" y="89"/>
                    </a:lnTo>
                    <a:lnTo>
                      <a:pt x="760" y="89"/>
                    </a:lnTo>
                    <a:lnTo>
                      <a:pt x="729" y="0"/>
                    </a:lnTo>
                    <a:lnTo>
                      <a:pt x="23" y="0"/>
                    </a:lnTo>
                    <a:close/>
                  </a:path>
                </a:pathLst>
              </a:custGeom>
              <a:solidFill>
                <a:srgbClr val="C0C0C0">
                  <a:alpha val="50000"/>
                </a:srgbClr>
              </a:solidFill>
              <a:ln w="3175">
                <a:solidFill>
                  <a:srgbClr val="727272"/>
                </a:solidFill>
                <a:prstDash val="solid"/>
                <a:round/>
                <a:headEnd/>
                <a:tailEnd/>
              </a:ln>
            </p:spPr>
            <p:txBody>
              <a:bodyPr/>
              <a:lstStyle/>
              <a:p>
                <a:pPr algn="ctr"/>
                <a:endParaRPr lang="en-GB">
                  <a:solidFill>
                    <a:srgbClr val="000000"/>
                  </a:solidFill>
                </a:endParaRPr>
              </a:p>
            </p:txBody>
          </p:sp>
        </p:grpSp>
        <p:cxnSp>
          <p:nvCxnSpPr>
            <p:cNvPr id="576" name="AutoShape 299"/>
            <p:cNvCxnSpPr>
              <a:cxnSpLocks noChangeShapeType="1"/>
              <a:stCxn id="596" idx="3"/>
              <a:endCxn id="624" idx="2"/>
            </p:cNvCxnSpPr>
            <p:nvPr>
              <p:custDataLst>
                <p:tags r:id="rId49"/>
              </p:custDataLst>
            </p:nvPr>
          </p:nvCxnSpPr>
          <p:spPr bwMode="auto">
            <a:xfrm>
              <a:off x="1235" y="2284"/>
              <a:ext cx="116" cy="36"/>
            </a:xfrm>
            <a:prstGeom prst="straightConnector1">
              <a:avLst/>
            </a:prstGeom>
            <a:noFill/>
            <a:ln w="1905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7" name="AutoShape 300"/>
            <p:cNvCxnSpPr>
              <a:cxnSpLocks noChangeShapeType="1"/>
              <a:stCxn id="599" idx="3"/>
              <a:endCxn id="624" idx="3"/>
            </p:cNvCxnSpPr>
            <p:nvPr>
              <p:custDataLst>
                <p:tags r:id="rId50"/>
              </p:custDataLst>
            </p:nvPr>
          </p:nvCxnSpPr>
          <p:spPr bwMode="auto">
            <a:xfrm flipV="1">
              <a:off x="1263" y="2345"/>
              <a:ext cx="125" cy="70"/>
            </a:xfrm>
            <a:prstGeom prst="straightConnector1">
              <a:avLst/>
            </a:prstGeom>
            <a:noFill/>
            <a:ln w="1905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78" name="Group 301"/>
            <p:cNvGrpSpPr>
              <a:grpSpLocks noChangeAspect="1"/>
            </p:cNvGrpSpPr>
            <p:nvPr>
              <p:custDataLst>
                <p:tags r:id="rId51"/>
              </p:custDataLst>
            </p:nvPr>
          </p:nvGrpSpPr>
          <p:grpSpPr bwMode="auto">
            <a:xfrm>
              <a:off x="1159" y="1814"/>
              <a:ext cx="54" cy="44"/>
              <a:chOff x="1589" y="3223"/>
              <a:chExt cx="556" cy="552"/>
            </a:xfrm>
          </p:grpSpPr>
          <p:sp>
            <p:nvSpPr>
              <p:cNvPr id="587" name="Freeform 302"/>
              <p:cNvSpPr>
                <a:spLocks noChangeAspect="1"/>
              </p:cNvSpPr>
              <p:nvPr/>
            </p:nvSpPr>
            <p:spPr bwMode="auto">
              <a:xfrm>
                <a:off x="1648" y="3505"/>
                <a:ext cx="444" cy="88"/>
              </a:xfrm>
              <a:custGeom>
                <a:avLst/>
                <a:gdLst>
                  <a:gd name="T0" fmla="*/ 38 w 606"/>
                  <a:gd name="T1" fmla="*/ 0 h 97"/>
                  <a:gd name="T2" fmla="*/ 562 w 606"/>
                  <a:gd name="T3" fmla="*/ 6 h 97"/>
                  <a:gd name="T4" fmla="*/ 606 w 606"/>
                  <a:gd name="T5" fmla="*/ 97 h 97"/>
                  <a:gd name="T6" fmla="*/ 0 w 606"/>
                  <a:gd name="T7" fmla="*/ 97 h 97"/>
                  <a:gd name="T8" fmla="*/ 38 w 606"/>
                  <a:gd name="T9" fmla="*/ 0 h 97"/>
                </a:gdLst>
                <a:ahLst/>
                <a:cxnLst>
                  <a:cxn ang="0">
                    <a:pos x="T0" y="T1"/>
                  </a:cxn>
                  <a:cxn ang="0">
                    <a:pos x="T2" y="T3"/>
                  </a:cxn>
                  <a:cxn ang="0">
                    <a:pos x="T4" y="T5"/>
                  </a:cxn>
                  <a:cxn ang="0">
                    <a:pos x="T6" y="T7"/>
                  </a:cxn>
                  <a:cxn ang="0">
                    <a:pos x="T8" y="T9"/>
                  </a:cxn>
                </a:cxnLst>
                <a:rect l="0" t="0" r="r" b="b"/>
                <a:pathLst>
                  <a:path w="606" h="97">
                    <a:moveTo>
                      <a:pt x="38" y="0"/>
                    </a:moveTo>
                    <a:lnTo>
                      <a:pt x="562" y="6"/>
                    </a:lnTo>
                    <a:lnTo>
                      <a:pt x="606" y="97"/>
                    </a:lnTo>
                    <a:lnTo>
                      <a:pt x="0" y="97"/>
                    </a:lnTo>
                    <a:lnTo>
                      <a:pt x="38" y="0"/>
                    </a:lnTo>
                    <a:close/>
                  </a:path>
                </a:pathLst>
              </a:custGeom>
              <a:solidFill>
                <a:srgbClr val="808080">
                  <a:alpha val="50000"/>
                </a:srgbClr>
              </a:solidFill>
              <a:ln>
                <a:noFill/>
              </a:ln>
              <a:extLst>
                <a:ext uri="{91240B29-F687-4F45-9708-019B960494DF}">
                  <a14:hiddenLine xmlns:a14="http://schemas.microsoft.com/office/drawing/2010/main" w="3175">
                    <a:solidFill>
                      <a:srgbClr val="000000"/>
                    </a:solidFill>
                    <a:round/>
                    <a:headEnd/>
                    <a:tailEnd/>
                  </a14:hiddenLine>
                </a:ext>
              </a:extLst>
            </p:spPr>
            <p:txBody>
              <a:bodyPr/>
              <a:lstStyle/>
              <a:p>
                <a:pPr algn="ctr"/>
                <a:endParaRPr lang="en-GB">
                  <a:solidFill>
                    <a:srgbClr val="000000"/>
                  </a:solidFill>
                </a:endParaRPr>
              </a:p>
            </p:txBody>
          </p:sp>
          <p:sp>
            <p:nvSpPr>
              <p:cNvPr id="588" name="Rectangle 303"/>
              <p:cNvSpPr>
                <a:spLocks noChangeAspect="1" noChangeArrowheads="1"/>
              </p:cNvSpPr>
              <p:nvPr/>
            </p:nvSpPr>
            <p:spPr bwMode="auto">
              <a:xfrm>
                <a:off x="1648" y="3589"/>
                <a:ext cx="441" cy="90"/>
              </a:xfrm>
              <a:prstGeom prst="rect">
                <a:avLst/>
              </a:prstGeom>
              <a:solidFill>
                <a:srgbClr val="C0C0C0">
                  <a:alpha val="50000"/>
                </a:srgbClr>
              </a:solidFill>
              <a:ln w="3175">
                <a:solidFill>
                  <a:srgbClr val="727272"/>
                </a:solidFill>
                <a:miter lim="800000"/>
                <a:headEnd/>
                <a:tailEnd/>
              </a:ln>
            </p:spPr>
            <p:txBody>
              <a:bodyPr/>
              <a:lstStyle/>
              <a:p>
                <a:pPr algn="ctr"/>
                <a:endParaRPr lang="en-GB">
                  <a:solidFill>
                    <a:srgbClr val="000000"/>
                  </a:solidFill>
                </a:endParaRPr>
              </a:p>
            </p:txBody>
          </p:sp>
          <p:sp>
            <p:nvSpPr>
              <p:cNvPr id="589" name="Freeform 304"/>
              <p:cNvSpPr>
                <a:spLocks noChangeAspect="1"/>
              </p:cNvSpPr>
              <p:nvPr/>
            </p:nvSpPr>
            <p:spPr bwMode="auto">
              <a:xfrm>
                <a:off x="1691" y="3223"/>
                <a:ext cx="353" cy="300"/>
              </a:xfrm>
              <a:custGeom>
                <a:avLst/>
                <a:gdLst>
                  <a:gd name="T0" fmla="*/ 0 w 482"/>
                  <a:gd name="T1" fmla="*/ 312 h 325"/>
                  <a:gd name="T2" fmla="*/ 24 w 482"/>
                  <a:gd name="T3" fmla="*/ 325 h 325"/>
                  <a:gd name="T4" fmla="*/ 453 w 482"/>
                  <a:gd name="T5" fmla="*/ 325 h 325"/>
                  <a:gd name="T6" fmla="*/ 482 w 482"/>
                  <a:gd name="T7" fmla="*/ 314 h 325"/>
                  <a:gd name="T8" fmla="*/ 482 w 482"/>
                  <a:gd name="T9" fmla="*/ 18 h 325"/>
                  <a:gd name="T10" fmla="*/ 459 w 482"/>
                  <a:gd name="T11" fmla="*/ 0 h 325"/>
                  <a:gd name="T12" fmla="*/ 26 w 482"/>
                  <a:gd name="T13" fmla="*/ 0 h 325"/>
                  <a:gd name="T14" fmla="*/ 0 w 482"/>
                  <a:gd name="T15" fmla="*/ 16 h 325"/>
                  <a:gd name="T16" fmla="*/ 0 w 482"/>
                  <a:gd name="T17" fmla="*/ 312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2" h="325">
                    <a:moveTo>
                      <a:pt x="0" y="312"/>
                    </a:moveTo>
                    <a:lnTo>
                      <a:pt x="24" y="325"/>
                    </a:lnTo>
                    <a:lnTo>
                      <a:pt x="453" y="325"/>
                    </a:lnTo>
                    <a:lnTo>
                      <a:pt x="482" y="314"/>
                    </a:lnTo>
                    <a:lnTo>
                      <a:pt x="482" y="18"/>
                    </a:lnTo>
                    <a:lnTo>
                      <a:pt x="459" y="0"/>
                    </a:lnTo>
                    <a:lnTo>
                      <a:pt x="26" y="0"/>
                    </a:lnTo>
                    <a:lnTo>
                      <a:pt x="0" y="16"/>
                    </a:lnTo>
                    <a:lnTo>
                      <a:pt x="0" y="312"/>
                    </a:lnTo>
                    <a:close/>
                  </a:path>
                </a:pathLst>
              </a:custGeom>
              <a:solidFill>
                <a:srgbClr val="C0C0C0">
                  <a:alpha val="50000"/>
                </a:srgbClr>
              </a:solidFill>
              <a:ln w="3175">
                <a:solidFill>
                  <a:srgbClr val="727272"/>
                </a:solidFill>
                <a:prstDash val="solid"/>
                <a:round/>
                <a:headEnd/>
                <a:tailEnd/>
              </a:ln>
            </p:spPr>
            <p:txBody>
              <a:bodyPr/>
              <a:lstStyle/>
              <a:p>
                <a:pPr algn="ctr"/>
                <a:endParaRPr lang="en-GB">
                  <a:solidFill>
                    <a:srgbClr val="000000"/>
                  </a:solidFill>
                </a:endParaRPr>
              </a:p>
            </p:txBody>
          </p:sp>
          <p:sp>
            <p:nvSpPr>
              <p:cNvPr id="590" name="Freeform 305"/>
              <p:cNvSpPr>
                <a:spLocks noChangeAspect="1"/>
              </p:cNvSpPr>
              <p:nvPr/>
            </p:nvSpPr>
            <p:spPr bwMode="auto">
              <a:xfrm>
                <a:off x="1729" y="3271"/>
                <a:ext cx="277" cy="213"/>
              </a:xfrm>
              <a:custGeom>
                <a:avLst/>
                <a:gdLst>
                  <a:gd name="T0" fmla="*/ 0 w 377"/>
                  <a:gd name="T1" fmla="*/ 216 h 232"/>
                  <a:gd name="T2" fmla="*/ 13 w 377"/>
                  <a:gd name="T3" fmla="*/ 232 h 232"/>
                  <a:gd name="T4" fmla="*/ 360 w 377"/>
                  <a:gd name="T5" fmla="*/ 232 h 232"/>
                  <a:gd name="T6" fmla="*/ 377 w 377"/>
                  <a:gd name="T7" fmla="*/ 218 h 232"/>
                  <a:gd name="T8" fmla="*/ 377 w 377"/>
                  <a:gd name="T9" fmla="*/ 8 h 232"/>
                  <a:gd name="T10" fmla="*/ 360 w 377"/>
                  <a:gd name="T11" fmla="*/ 0 h 232"/>
                  <a:gd name="T12" fmla="*/ 16 w 377"/>
                  <a:gd name="T13" fmla="*/ 0 h 232"/>
                  <a:gd name="T14" fmla="*/ 0 w 377"/>
                  <a:gd name="T15" fmla="*/ 8 h 232"/>
                  <a:gd name="T16" fmla="*/ 0 w 377"/>
                  <a:gd name="T17" fmla="*/ 21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7" h="232">
                    <a:moveTo>
                      <a:pt x="0" y="216"/>
                    </a:moveTo>
                    <a:lnTo>
                      <a:pt x="13" y="232"/>
                    </a:lnTo>
                    <a:lnTo>
                      <a:pt x="360" y="232"/>
                    </a:lnTo>
                    <a:lnTo>
                      <a:pt x="377" y="218"/>
                    </a:lnTo>
                    <a:lnTo>
                      <a:pt x="377" y="8"/>
                    </a:lnTo>
                    <a:lnTo>
                      <a:pt x="360" y="0"/>
                    </a:lnTo>
                    <a:lnTo>
                      <a:pt x="16" y="0"/>
                    </a:lnTo>
                    <a:lnTo>
                      <a:pt x="0" y="8"/>
                    </a:lnTo>
                    <a:lnTo>
                      <a:pt x="0" y="216"/>
                    </a:lnTo>
                    <a:close/>
                  </a:path>
                </a:pathLst>
              </a:custGeom>
              <a:solidFill>
                <a:srgbClr val="FFFFFF">
                  <a:alpha val="50000"/>
                </a:srgbClr>
              </a:solidFill>
              <a:ln>
                <a:noFill/>
              </a:ln>
              <a:extLst>
                <a:ext uri="{91240B29-F687-4F45-9708-019B960494DF}">
                  <a14:hiddenLine xmlns:a14="http://schemas.microsoft.com/office/drawing/2010/main" w="3175">
                    <a:solidFill>
                      <a:srgbClr val="000000"/>
                    </a:solidFill>
                    <a:round/>
                    <a:headEnd/>
                    <a:tailEnd/>
                  </a14:hiddenLine>
                </a:ext>
              </a:extLst>
            </p:spPr>
            <p:txBody>
              <a:bodyPr/>
              <a:lstStyle/>
              <a:p>
                <a:pPr algn="ctr"/>
                <a:endParaRPr lang="en-GB">
                  <a:solidFill>
                    <a:srgbClr val="000000"/>
                  </a:solidFill>
                </a:endParaRPr>
              </a:p>
            </p:txBody>
          </p:sp>
          <p:sp>
            <p:nvSpPr>
              <p:cNvPr id="591" name="Freeform 306"/>
              <p:cNvSpPr>
                <a:spLocks noChangeAspect="1"/>
              </p:cNvSpPr>
              <p:nvPr/>
            </p:nvSpPr>
            <p:spPr bwMode="auto">
              <a:xfrm>
                <a:off x="1589" y="3694"/>
                <a:ext cx="556" cy="81"/>
              </a:xfrm>
              <a:custGeom>
                <a:avLst/>
                <a:gdLst>
                  <a:gd name="T0" fmla="*/ 23 w 760"/>
                  <a:gd name="T1" fmla="*/ 0 h 89"/>
                  <a:gd name="T2" fmla="*/ 0 w 760"/>
                  <a:gd name="T3" fmla="*/ 89 h 89"/>
                  <a:gd name="T4" fmla="*/ 760 w 760"/>
                  <a:gd name="T5" fmla="*/ 89 h 89"/>
                  <a:gd name="T6" fmla="*/ 729 w 760"/>
                  <a:gd name="T7" fmla="*/ 0 h 89"/>
                  <a:gd name="T8" fmla="*/ 23 w 760"/>
                  <a:gd name="T9" fmla="*/ 0 h 89"/>
                </a:gdLst>
                <a:ahLst/>
                <a:cxnLst>
                  <a:cxn ang="0">
                    <a:pos x="T0" y="T1"/>
                  </a:cxn>
                  <a:cxn ang="0">
                    <a:pos x="T2" y="T3"/>
                  </a:cxn>
                  <a:cxn ang="0">
                    <a:pos x="T4" y="T5"/>
                  </a:cxn>
                  <a:cxn ang="0">
                    <a:pos x="T6" y="T7"/>
                  </a:cxn>
                  <a:cxn ang="0">
                    <a:pos x="T8" y="T9"/>
                  </a:cxn>
                </a:cxnLst>
                <a:rect l="0" t="0" r="r" b="b"/>
                <a:pathLst>
                  <a:path w="760" h="89">
                    <a:moveTo>
                      <a:pt x="23" y="0"/>
                    </a:moveTo>
                    <a:lnTo>
                      <a:pt x="0" y="89"/>
                    </a:lnTo>
                    <a:lnTo>
                      <a:pt x="760" y="89"/>
                    </a:lnTo>
                    <a:lnTo>
                      <a:pt x="729" y="0"/>
                    </a:lnTo>
                    <a:lnTo>
                      <a:pt x="23" y="0"/>
                    </a:lnTo>
                    <a:close/>
                  </a:path>
                </a:pathLst>
              </a:custGeom>
              <a:solidFill>
                <a:srgbClr val="C0C0C0">
                  <a:alpha val="50000"/>
                </a:srgbClr>
              </a:solidFill>
              <a:ln w="3175">
                <a:solidFill>
                  <a:srgbClr val="727272"/>
                </a:solidFill>
                <a:prstDash val="solid"/>
                <a:round/>
                <a:headEnd/>
                <a:tailEnd/>
              </a:ln>
            </p:spPr>
            <p:txBody>
              <a:bodyPr/>
              <a:lstStyle/>
              <a:p>
                <a:pPr algn="ctr"/>
                <a:endParaRPr lang="en-GB">
                  <a:solidFill>
                    <a:srgbClr val="000000"/>
                  </a:solidFill>
                </a:endParaRPr>
              </a:p>
            </p:txBody>
          </p:sp>
        </p:grpSp>
        <p:cxnSp>
          <p:nvCxnSpPr>
            <p:cNvPr id="579" name="AutoShape 307"/>
            <p:cNvCxnSpPr>
              <a:cxnSpLocks noChangeShapeType="1"/>
              <a:endCxn id="591" idx="2"/>
            </p:cNvCxnSpPr>
            <p:nvPr>
              <p:custDataLst>
                <p:tags r:id="rId52"/>
              </p:custDataLst>
            </p:nvPr>
          </p:nvCxnSpPr>
          <p:spPr bwMode="auto">
            <a:xfrm flipH="1" flipV="1">
              <a:off x="1213" y="1858"/>
              <a:ext cx="50" cy="41"/>
            </a:xfrm>
            <a:prstGeom prst="straightConnector1">
              <a:avLst/>
            </a:prstGeom>
            <a:noFill/>
            <a:ln w="1905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80" name="Group 308"/>
            <p:cNvGrpSpPr>
              <a:grpSpLocks noChangeAspect="1"/>
            </p:cNvGrpSpPr>
            <p:nvPr>
              <p:custDataLst>
                <p:tags r:id="rId53"/>
              </p:custDataLst>
            </p:nvPr>
          </p:nvGrpSpPr>
          <p:grpSpPr bwMode="auto">
            <a:xfrm>
              <a:off x="1346" y="1814"/>
              <a:ext cx="53" cy="44"/>
              <a:chOff x="1589" y="3223"/>
              <a:chExt cx="556" cy="552"/>
            </a:xfrm>
          </p:grpSpPr>
          <p:sp>
            <p:nvSpPr>
              <p:cNvPr id="582" name="Freeform 309"/>
              <p:cNvSpPr>
                <a:spLocks noChangeAspect="1"/>
              </p:cNvSpPr>
              <p:nvPr/>
            </p:nvSpPr>
            <p:spPr bwMode="auto">
              <a:xfrm>
                <a:off x="1648" y="3505"/>
                <a:ext cx="444" cy="88"/>
              </a:xfrm>
              <a:custGeom>
                <a:avLst/>
                <a:gdLst>
                  <a:gd name="T0" fmla="*/ 38 w 606"/>
                  <a:gd name="T1" fmla="*/ 0 h 97"/>
                  <a:gd name="T2" fmla="*/ 562 w 606"/>
                  <a:gd name="T3" fmla="*/ 6 h 97"/>
                  <a:gd name="T4" fmla="*/ 606 w 606"/>
                  <a:gd name="T5" fmla="*/ 97 h 97"/>
                  <a:gd name="T6" fmla="*/ 0 w 606"/>
                  <a:gd name="T7" fmla="*/ 97 h 97"/>
                  <a:gd name="T8" fmla="*/ 38 w 606"/>
                  <a:gd name="T9" fmla="*/ 0 h 97"/>
                </a:gdLst>
                <a:ahLst/>
                <a:cxnLst>
                  <a:cxn ang="0">
                    <a:pos x="T0" y="T1"/>
                  </a:cxn>
                  <a:cxn ang="0">
                    <a:pos x="T2" y="T3"/>
                  </a:cxn>
                  <a:cxn ang="0">
                    <a:pos x="T4" y="T5"/>
                  </a:cxn>
                  <a:cxn ang="0">
                    <a:pos x="T6" y="T7"/>
                  </a:cxn>
                  <a:cxn ang="0">
                    <a:pos x="T8" y="T9"/>
                  </a:cxn>
                </a:cxnLst>
                <a:rect l="0" t="0" r="r" b="b"/>
                <a:pathLst>
                  <a:path w="606" h="97">
                    <a:moveTo>
                      <a:pt x="38" y="0"/>
                    </a:moveTo>
                    <a:lnTo>
                      <a:pt x="562" y="6"/>
                    </a:lnTo>
                    <a:lnTo>
                      <a:pt x="606" y="97"/>
                    </a:lnTo>
                    <a:lnTo>
                      <a:pt x="0" y="97"/>
                    </a:lnTo>
                    <a:lnTo>
                      <a:pt x="38" y="0"/>
                    </a:lnTo>
                    <a:close/>
                  </a:path>
                </a:pathLst>
              </a:custGeom>
              <a:solidFill>
                <a:srgbClr val="808080">
                  <a:alpha val="50000"/>
                </a:srgbClr>
              </a:solidFill>
              <a:ln>
                <a:noFill/>
              </a:ln>
              <a:extLst>
                <a:ext uri="{91240B29-F687-4F45-9708-019B960494DF}">
                  <a14:hiddenLine xmlns:a14="http://schemas.microsoft.com/office/drawing/2010/main" w="3175">
                    <a:solidFill>
                      <a:srgbClr val="000000"/>
                    </a:solidFill>
                    <a:round/>
                    <a:headEnd/>
                    <a:tailEnd/>
                  </a14:hiddenLine>
                </a:ext>
              </a:extLst>
            </p:spPr>
            <p:txBody>
              <a:bodyPr/>
              <a:lstStyle/>
              <a:p>
                <a:pPr algn="ctr"/>
                <a:endParaRPr lang="en-GB">
                  <a:solidFill>
                    <a:srgbClr val="000000"/>
                  </a:solidFill>
                </a:endParaRPr>
              </a:p>
            </p:txBody>
          </p:sp>
          <p:sp>
            <p:nvSpPr>
              <p:cNvPr id="583" name="Rectangle 310"/>
              <p:cNvSpPr>
                <a:spLocks noChangeAspect="1" noChangeArrowheads="1"/>
              </p:cNvSpPr>
              <p:nvPr/>
            </p:nvSpPr>
            <p:spPr bwMode="auto">
              <a:xfrm>
                <a:off x="1648" y="3589"/>
                <a:ext cx="441" cy="90"/>
              </a:xfrm>
              <a:prstGeom prst="rect">
                <a:avLst/>
              </a:prstGeom>
              <a:solidFill>
                <a:srgbClr val="C0C0C0">
                  <a:alpha val="50000"/>
                </a:srgbClr>
              </a:solidFill>
              <a:ln w="3175">
                <a:solidFill>
                  <a:srgbClr val="727272"/>
                </a:solidFill>
                <a:miter lim="800000"/>
                <a:headEnd/>
                <a:tailEnd/>
              </a:ln>
            </p:spPr>
            <p:txBody>
              <a:bodyPr/>
              <a:lstStyle/>
              <a:p>
                <a:pPr algn="ctr"/>
                <a:endParaRPr lang="en-GB">
                  <a:solidFill>
                    <a:srgbClr val="000000"/>
                  </a:solidFill>
                </a:endParaRPr>
              </a:p>
            </p:txBody>
          </p:sp>
          <p:sp>
            <p:nvSpPr>
              <p:cNvPr id="584" name="Freeform 311"/>
              <p:cNvSpPr>
                <a:spLocks noChangeAspect="1"/>
              </p:cNvSpPr>
              <p:nvPr/>
            </p:nvSpPr>
            <p:spPr bwMode="auto">
              <a:xfrm>
                <a:off x="1691" y="3223"/>
                <a:ext cx="353" cy="300"/>
              </a:xfrm>
              <a:custGeom>
                <a:avLst/>
                <a:gdLst>
                  <a:gd name="T0" fmla="*/ 0 w 482"/>
                  <a:gd name="T1" fmla="*/ 312 h 325"/>
                  <a:gd name="T2" fmla="*/ 24 w 482"/>
                  <a:gd name="T3" fmla="*/ 325 h 325"/>
                  <a:gd name="T4" fmla="*/ 453 w 482"/>
                  <a:gd name="T5" fmla="*/ 325 h 325"/>
                  <a:gd name="T6" fmla="*/ 482 w 482"/>
                  <a:gd name="T7" fmla="*/ 314 h 325"/>
                  <a:gd name="T8" fmla="*/ 482 w 482"/>
                  <a:gd name="T9" fmla="*/ 18 h 325"/>
                  <a:gd name="T10" fmla="*/ 459 w 482"/>
                  <a:gd name="T11" fmla="*/ 0 h 325"/>
                  <a:gd name="T12" fmla="*/ 26 w 482"/>
                  <a:gd name="T13" fmla="*/ 0 h 325"/>
                  <a:gd name="T14" fmla="*/ 0 w 482"/>
                  <a:gd name="T15" fmla="*/ 16 h 325"/>
                  <a:gd name="T16" fmla="*/ 0 w 482"/>
                  <a:gd name="T17" fmla="*/ 312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2" h="325">
                    <a:moveTo>
                      <a:pt x="0" y="312"/>
                    </a:moveTo>
                    <a:lnTo>
                      <a:pt x="24" y="325"/>
                    </a:lnTo>
                    <a:lnTo>
                      <a:pt x="453" y="325"/>
                    </a:lnTo>
                    <a:lnTo>
                      <a:pt x="482" y="314"/>
                    </a:lnTo>
                    <a:lnTo>
                      <a:pt x="482" y="18"/>
                    </a:lnTo>
                    <a:lnTo>
                      <a:pt x="459" y="0"/>
                    </a:lnTo>
                    <a:lnTo>
                      <a:pt x="26" y="0"/>
                    </a:lnTo>
                    <a:lnTo>
                      <a:pt x="0" y="16"/>
                    </a:lnTo>
                    <a:lnTo>
                      <a:pt x="0" y="312"/>
                    </a:lnTo>
                    <a:close/>
                  </a:path>
                </a:pathLst>
              </a:custGeom>
              <a:solidFill>
                <a:srgbClr val="C0C0C0">
                  <a:alpha val="50000"/>
                </a:srgbClr>
              </a:solidFill>
              <a:ln w="3175">
                <a:solidFill>
                  <a:srgbClr val="727272"/>
                </a:solidFill>
                <a:prstDash val="solid"/>
                <a:round/>
                <a:headEnd/>
                <a:tailEnd/>
              </a:ln>
            </p:spPr>
            <p:txBody>
              <a:bodyPr/>
              <a:lstStyle/>
              <a:p>
                <a:pPr algn="ctr"/>
                <a:endParaRPr lang="en-GB">
                  <a:solidFill>
                    <a:srgbClr val="000000"/>
                  </a:solidFill>
                </a:endParaRPr>
              </a:p>
            </p:txBody>
          </p:sp>
          <p:sp>
            <p:nvSpPr>
              <p:cNvPr id="585" name="Freeform 312"/>
              <p:cNvSpPr>
                <a:spLocks noChangeAspect="1"/>
              </p:cNvSpPr>
              <p:nvPr/>
            </p:nvSpPr>
            <p:spPr bwMode="auto">
              <a:xfrm>
                <a:off x="1729" y="3271"/>
                <a:ext cx="277" cy="213"/>
              </a:xfrm>
              <a:custGeom>
                <a:avLst/>
                <a:gdLst>
                  <a:gd name="T0" fmla="*/ 0 w 377"/>
                  <a:gd name="T1" fmla="*/ 216 h 232"/>
                  <a:gd name="T2" fmla="*/ 13 w 377"/>
                  <a:gd name="T3" fmla="*/ 232 h 232"/>
                  <a:gd name="T4" fmla="*/ 360 w 377"/>
                  <a:gd name="T5" fmla="*/ 232 h 232"/>
                  <a:gd name="T6" fmla="*/ 377 w 377"/>
                  <a:gd name="T7" fmla="*/ 218 h 232"/>
                  <a:gd name="T8" fmla="*/ 377 w 377"/>
                  <a:gd name="T9" fmla="*/ 8 h 232"/>
                  <a:gd name="T10" fmla="*/ 360 w 377"/>
                  <a:gd name="T11" fmla="*/ 0 h 232"/>
                  <a:gd name="T12" fmla="*/ 16 w 377"/>
                  <a:gd name="T13" fmla="*/ 0 h 232"/>
                  <a:gd name="T14" fmla="*/ 0 w 377"/>
                  <a:gd name="T15" fmla="*/ 8 h 232"/>
                  <a:gd name="T16" fmla="*/ 0 w 377"/>
                  <a:gd name="T17" fmla="*/ 21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7" h="232">
                    <a:moveTo>
                      <a:pt x="0" y="216"/>
                    </a:moveTo>
                    <a:lnTo>
                      <a:pt x="13" y="232"/>
                    </a:lnTo>
                    <a:lnTo>
                      <a:pt x="360" y="232"/>
                    </a:lnTo>
                    <a:lnTo>
                      <a:pt x="377" y="218"/>
                    </a:lnTo>
                    <a:lnTo>
                      <a:pt x="377" y="8"/>
                    </a:lnTo>
                    <a:lnTo>
                      <a:pt x="360" y="0"/>
                    </a:lnTo>
                    <a:lnTo>
                      <a:pt x="16" y="0"/>
                    </a:lnTo>
                    <a:lnTo>
                      <a:pt x="0" y="8"/>
                    </a:lnTo>
                    <a:lnTo>
                      <a:pt x="0" y="216"/>
                    </a:lnTo>
                    <a:close/>
                  </a:path>
                </a:pathLst>
              </a:custGeom>
              <a:solidFill>
                <a:srgbClr val="FFFFFF">
                  <a:alpha val="50000"/>
                </a:srgbClr>
              </a:solidFill>
              <a:ln>
                <a:noFill/>
              </a:ln>
              <a:extLst>
                <a:ext uri="{91240B29-F687-4F45-9708-019B960494DF}">
                  <a14:hiddenLine xmlns:a14="http://schemas.microsoft.com/office/drawing/2010/main" w="3175">
                    <a:solidFill>
                      <a:srgbClr val="000000"/>
                    </a:solidFill>
                    <a:round/>
                    <a:headEnd/>
                    <a:tailEnd/>
                  </a14:hiddenLine>
                </a:ext>
              </a:extLst>
            </p:spPr>
            <p:txBody>
              <a:bodyPr/>
              <a:lstStyle/>
              <a:p>
                <a:pPr algn="ctr"/>
                <a:endParaRPr lang="en-GB">
                  <a:solidFill>
                    <a:srgbClr val="000000"/>
                  </a:solidFill>
                </a:endParaRPr>
              </a:p>
            </p:txBody>
          </p:sp>
          <p:sp>
            <p:nvSpPr>
              <p:cNvPr id="586" name="Freeform 313"/>
              <p:cNvSpPr>
                <a:spLocks noChangeAspect="1"/>
              </p:cNvSpPr>
              <p:nvPr/>
            </p:nvSpPr>
            <p:spPr bwMode="auto">
              <a:xfrm>
                <a:off x="1589" y="3694"/>
                <a:ext cx="556" cy="81"/>
              </a:xfrm>
              <a:custGeom>
                <a:avLst/>
                <a:gdLst>
                  <a:gd name="T0" fmla="*/ 23 w 760"/>
                  <a:gd name="T1" fmla="*/ 0 h 89"/>
                  <a:gd name="T2" fmla="*/ 0 w 760"/>
                  <a:gd name="T3" fmla="*/ 89 h 89"/>
                  <a:gd name="T4" fmla="*/ 760 w 760"/>
                  <a:gd name="T5" fmla="*/ 89 h 89"/>
                  <a:gd name="T6" fmla="*/ 729 w 760"/>
                  <a:gd name="T7" fmla="*/ 0 h 89"/>
                  <a:gd name="T8" fmla="*/ 23 w 760"/>
                  <a:gd name="T9" fmla="*/ 0 h 89"/>
                </a:gdLst>
                <a:ahLst/>
                <a:cxnLst>
                  <a:cxn ang="0">
                    <a:pos x="T0" y="T1"/>
                  </a:cxn>
                  <a:cxn ang="0">
                    <a:pos x="T2" y="T3"/>
                  </a:cxn>
                  <a:cxn ang="0">
                    <a:pos x="T4" y="T5"/>
                  </a:cxn>
                  <a:cxn ang="0">
                    <a:pos x="T6" y="T7"/>
                  </a:cxn>
                  <a:cxn ang="0">
                    <a:pos x="T8" y="T9"/>
                  </a:cxn>
                </a:cxnLst>
                <a:rect l="0" t="0" r="r" b="b"/>
                <a:pathLst>
                  <a:path w="760" h="89">
                    <a:moveTo>
                      <a:pt x="23" y="0"/>
                    </a:moveTo>
                    <a:lnTo>
                      <a:pt x="0" y="89"/>
                    </a:lnTo>
                    <a:lnTo>
                      <a:pt x="760" y="89"/>
                    </a:lnTo>
                    <a:lnTo>
                      <a:pt x="729" y="0"/>
                    </a:lnTo>
                    <a:lnTo>
                      <a:pt x="23" y="0"/>
                    </a:lnTo>
                    <a:close/>
                  </a:path>
                </a:pathLst>
              </a:custGeom>
              <a:solidFill>
                <a:srgbClr val="C0C0C0">
                  <a:alpha val="50000"/>
                </a:srgbClr>
              </a:solidFill>
              <a:ln w="3175">
                <a:solidFill>
                  <a:srgbClr val="727272"/>
                </a:solidFill>
                <a:prstDash val="solid"/>
                <a:round/>
                <a:headEnd/>
                <a:tailEnd/>
              </a:ln>
            </p:spPr>
            <p:txBody>
              <a:bodyPr/>
              <a:lstStyle/>
              <a:p>
                <a:pPr algn="ctr"/>
                <a:endParaRPr lang="en-GB">
                  <a:solidFill>
                    <a:srgbClr val="000000"/>
                  </a:solidFill>
                </a:endParaRPr>
              </a:p>
            </p:txBody>
          </p:sp>
        </p:grpSp>
        <p:cxnSp>
          <p:nvCxnSpPr>
            <p:cNvPr id="581" name="AutoShape 314"/>
            <p:cNvCxnSpPr>
              <a:cxnSpLocks noChangeShapeType="1"/>
              <a:stCxn id="586" idx="4"/>
              <a:endCxn id="672" idx="0"/>
            </p:cNvCxnSpPr>
            <p:nvPr>
              <p:custDataLst>
                <p:tags r:id="rId54"/>
              </p:custDataLst>
            </p:nvPr>
          </p:nvCxnSpPr>
          <p:spPr bwMode="auto">
            <a:xfrm flipH="1">
              <a:off x="1310" y="1851"/>
              <a:ext cx="37" cy="40"/>
            </a:xfrm>
            <a:prstGeom prst="straightConnector1">
              <a:avLst/>
            </a:prstGeom>
            <a:noFill/>
            <a:ln w="1905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0" name="Curved Right Arrow 19"/>
          <p:cNvSpPr/>
          <p:nvPr/>
        </p:nvSpPr>
        <p:spPr bwMode="auto">
          <a:xfrm rot="13154590">
            <a:off x="6841791" y="3386865"/>
            <a:ext cx="898284" cy="3182468"/>
          </a:xfrm>
          <a:prstGeom prst="curvedRightArrow">
            <a:avLst/>
          </a:prstGeom>
          <a:solidFill>
            <a:srgbClr val="A71930"/>
          </a:solidFill>
          <a:ln w="12700" cap="flat" cmpd="sng" algn="ctr">
            <a:noFill/>
            <a:prstDash val="solid"/>
            <a:round/>
            <a:headEnd type="none" w="med" len="med"/>
            <a:tailEnd type="none" w="med" len="med"/>
          </a:ln>
          <a:effectLst/>
          <a:extLst/>
        </p:spPr>
        <p:txBody>
          <a:bodyPr vert="horz" wrap="square" lIns="54000" tIns="46800" rIns="54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600" b="0" i="0" u="none" strike="noStrike" cap="none" normalizeH="0" baseline="0" smtClean="0">
              <a:ln>
                <a:noFill/>
              </a:ln>
              <a:solidFill>
                <a:schemeClr val="bg1"/>
              </a:solidFill>
              <a:effectLst/>
              <a:latin typeface="Arial" charset="0"/>
            </a:endParaRPr>
          </a:p>
        </p:txBody>
      </p:sp>
      <p:sp>
        <p:nvSpPr>
          <p:cNvPr id="409" name="Curved Right Arrow 408"/>
          <p:cNvSpPr/>
          <p:nvPr/>
        </p:nvSpPr>
        <p:spPr bwMode="auto">
          <a:xfrm rot="2777881">
            <a:off x="5949138" y="2477948"/>
            <a:ext cx="829185" cy="3447674"/>
          </a:xfrm>
          <a:prstGeom prst="curvedRightArrow">
            <a:avLst/>
          </a:prstGeom>
          <a:solidFill>
            <a:srgbClr val="A71930"/>
          </a:solidFill>
          <a:ln w="12700" cap="flat" cmpd="sng" algn="ctr">
            <a:noFill/>
            <a:prstDash val="solid"/>
            <a:round/>
            <a:headEnd type="none" w="med" len="med"/>
            <a:tailEnd type="none" w="med" len="med"/>
          </a:ln>
          <a:effectLst/>
          <a:extLst/>
        </p:spPr>
        <p:txBody>
          <a:bodyPr vert="horz" wrap="square" lIns="54000" tIns="46800" rIns="54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fr-FR" sz="1600" b="0" i="0" u="none" strike="noStrike" cap="none" normalizeH="0" baseline="0" smtClean="0">
              <a:ln>
                <a:noFill/>
              </a:ln>
              <a:solidFill>
                <a:schemeClr val="bg1"/>
              </a:solidFill>
              <a:effectLst/>
              <a:latin typeface="Arial" charset="0"/>
            </a:endParaRPr>
          </a:p>
        </p:txBody>
      </p:sp>
      <p:sp>
        <p:nvSpPr>
          <p:cNvPr id="418" name="AutoShape 4"/>
          <p:cNvSpPr>
            <a:spLocks noChangeArrowheads="1"/>
          </p:cNvSpPr>
          <p:nvPr/>
        </p:nvSpPr>
        <p:spPr bwMode="auto">
          <a:xfrm rot="16200000">
            <a:off x="4507342" y="3625579"/>
            <a:ext cx="929552" cy="1968233"/>
          </a:xfrm>
          <a:prstGeom prst="rightArrowCallout">
            <a:avLst>
              <a:gd name="adj1" fmla="val 0"/>
              <a:gd name="adj2" fmla="val 0"/>
              <a:gd name="adj3" fmla="val 0"/>
              <a:gd name="adj4" fmla="val 100000"/>
            </a:avLst>
          </a:prstGeom>
          <a:solidFill>
            <a:srgbClr val="B8CAD8"/>
          </a:solidFill>
          <a:ln w="12700">
            <a:noFill/>
            <a:miter lim="800000"/>
            <a:headEnd/>
            <a:tailEnd/>
          </a:ln>
          <a:effectLst/>
        </p:spPr>
        <p:txBody>
          <a:bodyPr vert="vert" lIns="18000" tIns="46800" rIns="126000" bIns="46800" anchor="t"/>
          <a:lstStyle/>
          <a:p>
            <a:pPr algn="ctr"/>
            <a:r>
              <a:rPr lang="en-GB" sz="1300" dirty="0" smtClean="0">
                <a:solidFill>
                  <a:srgbClr val="000000"/>
                </a:solidFill>
              </a:rPr>
              <a:t>Business case by</a:t>
            </a:r>
            <a:br>
              <a:rPr lang="en-GB" sz="1300" dirty="0" smtClean="0">
                <a:solidFill>
                  <a:srgbClr val="000000"/>
                </a:solidFill>
              </a:rPr>
            </a:br>
            <a:r>
              <a:rPr lang="en-GB" sz="1300" dirty="0" smtClean="0">
                <a:solidFill>
                  <a:srgbClr val="000000"/>
                </a:solidFill>
              </a:rPr>
              <a:t> geotype</a:t>
            </a:r>
            <a:r>
              <a:rPr lang="en-GB" sz="1300" dirty="0">
                <a:solidFill>
                  <a:srgbClr val="000000"/>
                </a:solidFill>
              </a:rPr>
              <a:t> </a:t>
            </a:r>
            <a:r>
              <a:rPr lang="en-GB" sz="1300" dirty="0" smtClean="0">
                <a:solidFill>
                  <a:srgbClr val="000000"/>
                </a:solidFill>
              </a:rPr>
              <a:t>and technology</a:t>
            </a:r>
            <a:endParaRPr lang="en-GB" sz="1300" dirty="0">
              <a:solidFill>
                <a:srgbClr val="000000"/>
              </a:solidFill>
            </a:endParaRPr>
          </a:p>
        </p:txBody>
      </p:sp>
      <p:sp>
        <p:nvSpPr>
          <p:cNvPr id="383" name="Text Box 2"/>
          <p:cNvSpPr txBox="1">
            <a:spLocks noChangeArrowheads="1"/>
          </p:cNvSpPr>
          <p:nvPr/>
        </p:nvSpPr>
        <p:spPr bwMode="auto">
          <a:xfrm>
            <a:off x="2457583" y="260351"/>
            <a:ext cx="6049656" cy="461657"/>
          </a:xfrm>
          <a:prstGeom prst="rect">
            <a:avLst/>
          </a:prstGeom>
          <a:solidFill>
            <a:srgbClr val="C0C0C0"/>
          </a:solidFill>
          <a:ln w="9525">
            <a:solidFill>
              <a:schemeClr val="tx1"/>
            </a:solidFill>
            <a:miter lim="800000"/>
            <a:headEnd/>
            <a:tailEnd/>
          </a:ln>
        </p:spPr>
        <p:txBody>
          <a:bodyPr wrap="square" lIns="91430" tIns="45716" rIns="91430" bIns="45716">
            <a:spAutoFit/>
          </a:bodyPr>
          <a:lstStyle>
            <a:lvl1pPr defTabSz="912813" eaLnBrk="0" hangingPunct="0">
              <a:defRPr sz="3600">
                <a:solidFill>
                  <a:schemeClr val="tx1"/>
                </a:solidFill>
                <a:latin typeface="Arial" charset="0"/>
                <a:cs typeface="Arial" charset="0"/>
              </a:defRPr>
            </a:lvl1pPr>
            <a:lvl2pPr marL="742950" indent="-285750" defTabSz="912813" eaLnBrk="0" hangingPunct="0">
              <a:defRPr sz="3600">
                <a:solidFill>
                  <a:schemeClr val="tx1"/>
                </a:solidFill>
                <a:latin typeface="Arial" charset="0"/>
                <a:cs typeface="Arial" charset="0"/>
              </a:defRPr>
            </a:lvl2pPr>
            <a:lvl3pPr marL="1143000" indent="-228600" defTabSz="912813" eaLnBrk="0" hangingPunct="0">
              <a:defRPr sz="3600">
                <a:solidFill>
                  <a:schemeClr val="tx1"/>
                </a:solidFill>
                <a:latin typeface="Arial" charset="0"/>
                <a:cs typeface="Arial" charset="0"/>
              </a:defRPr>
            </a:lvl3pPr>
            <a:lvl4pPr marL="1600200" indent="-228600" defTabSz="912813" eaLnBrk="0" hangingPunct="0">
              <a:defRPr sz="3600">
                <a:solidFill>
                  <a:schemeClr val="tx1"/>
                </a:solidFill>
                <a:latin typeface="Arial" charset="0"/>
                <a:cs typeface="Arial" charset="0"/>
              </a:defRPr>
            </a:lvl4pPr>
            <a:lvl5pPr marL="2057400" indent="-228600" defTabSz="912813" eaLnBrk="0" hangingPunct="0">
              <a:defRPr sz="3600">
                <a:solidFill>
                  <a:schemeClr val="tx1"/>
                </a:solidFill>
                <a:latin typeface="Arial" charset="0"/>
                <a:cs typeface="Arial" charset="0"/>
              </a:defRPr>
            </a:lvl5pPr>
            <a:lvl6pPr marL="2514600" indent="-228600" defTabSz="912813" eaLnBrk="0" fontAlgn="base" hangingPunct="0">
              <a:spcBef>
                <a:spcPct val="0"/>
              </a:spcBef>
              <a:spcAft>
                <a:spcPct val="0"/>
              </a:spcAft>
              <a:defRPr sz="3600">
                <a:solidFill>
                  <a:schemeClr val="tx1"/>
                </a:solidFill>
                <a:latin typeface="Arial" charset="0"/>
                <a:cs typeface="Arial" charset="0"/>
              </a:defRPr>
            </a:lvl6pPr>
            <a:lvl7pPr marL="2971800" indent="-228600" defTabSz="912813" eaLnBrk="0" fontAlgn="base" hangingPunct="0">
              <a:spcBef>
                <a:spcPct val="0"/>
              </a:spcBef>
              <a:spcAft>
                <a:spcPct val="0"/>
              </a:spcAft>
              <a:defRPr sz="3600">
                <a:solidFill>
                  <a:schemeClr val="tx1"/>
                </a:solidFill>
                <a:latin typeface="Arial" charset="0"/>
                <a:cs typeface="Arial" charset="0"/>
              </a:defRPr>
            </a:lvl7pPr>
            <a:lvl8pPr marL="3429000" indent="-228600" defTabSz="912813" eaLnBrk="0" fontAlgn="base" hangingPunct="0">
              <a:spcBef>
                <a:spcPct val="0"/>
              </a:spcBef>
              <a:spcAft>
                <a:spcPct val="0"/>
              </a:spcAft>
              <a:defRPr sz="3600">
                <a:solidFill>
                  <a:schemeClr val="tx1"/>
                </a:solidFill>
                <a:latin typeface="Arial" charset="0"/>
                <a:cs typeface="Arial" charset="0"/>
              </a:defRPr>
            </a:lvl8pPr>
            <a:lvl9pPr marL="3886200" indent="-228600" defTabSz="912813" eaLnBrk="0" fontAlgn="base" hangingPunct="0">
              <a:spcBef>
                <a:spcPct val="0"/>
              </a:spcBef>
              <a:spcAft>
                <a:spcPct val="0"/>
              </a:spcAft>
              <a:defRPr sz="3600">
                <a:solidFill>
                  <a:schemeClr val="tx1"/>
                </a:solidFill>
                <a:latin typeface="Arial" charset="0"/>
                <a:cs typeface="Arial" charset="0"/>
              </a:defRPr>
            </a:lvl9pPr>
          </a:lstStyle>
          <a:p>
            <a:pPr algn="ctr"/>
            <a:r>
              <a:rPr lang="fr-FR" sz="2400" b="1" i="1" dirty="0" smtClean="0">
                <a:solidFill>
                  <a:srgbClr val="0560E5"/>
                </a:solidFill>
                <a:latin typeface="Century Gothic" pitchFamily="34" charset="0"/>
              </a:rPr>
              <a:t>Architecture de l’étude (2/2)</a:t>
            </a:r>
            <a:endParaRPr lang="fr-FR" sz="2400" b="1" i="1" dirty="0">
              <a:solidFill>
                <a:srgbClr val="0560E5"/>
              </a:solidFill>
              <a:latin typeface="Century Gothic" pitchFamily="34" charset="0"/>
            </a:endParaRPr>
          </a:p>
        </p:txBody>
      </p:sp>
      <p:pic>
        <p:nvPicPr>
          <p:cNvPr id="382" name="Image 381"/>
          <p:cNvPicPr/>
          <p:nvPr/>
        </p:nvPicPr>
        <p:blipFill>
          <a:blip r:embed="rId280">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37310059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ChangeArrowheads="1"/>
          </p:cNvSpPr>
          <p:nvPr/>
        </p:nvSpPr>
        <p:spPr bwMode="auto">
          <a:xfrm>
            <a:off x="0" y="2714625"/>
            <a:ext cx="9906000" cy="928688"/>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nchor="ctr"/>
          <a:lstStyle/>
          <a:p>
            <a:pPr algn="ctr" defTabSz="912813"/>
            <a:r>
              <a:rPr lang="fr-FR" sz="2000" b="1" i="1">
                <a:solidFill>
                  <a:srgbClr val="00B0F0"/>
                </a:solidFill>
                <a:latin typeface="Century Gothic" pitchFamily="34" charset="0"/>
              </a:rPr>
              <a:t>Etat de la couverture des réseaux de télécommunications nationaux</a:t>
            </a:r>
          </a:p>
        </p:txBody>
      </p:sp>
      <p:pic>
        <p:nvPicPr>
          <p:cNvPr id="3" name="Image 2"/>
          <p:cNvPicPr/>
          <p:nvPr/>
        </p:nvPicPr>
        <p:blipFill>
          <a:blip r:embed="rId3">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131180375"/>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ext Box 2"/>
          <p:cNvSpPr txBox="1">
            <a:spLocks noChangeArrowheads="1"/>
          </p:cNvSpPr>
          <p:nvPr/>
        </p:nvSpPr>
        <p:spPr bwMode="auto">
          <a:xfrm>
            <a:off x="2301081" y="285751"/>
            <a:ext cx="6174179" cy="615545"/>
          </a:xfrm>
          <a:prstGeom prst="rect">
            <a:avLst/>
          </a:prstGeom>
          <a:solidFill>
            <a:srgbClr val="C0C0C0"/>
          </a:solidFill>
          <a:ln w="9525">
            <a:solidFill>
              <a:schemeClr val="tx1"/>
            </a:solidFill>
            <a:miter lim="800000"/>
            <a:headEnd/>
            <a:tailEnd/>
          </a:ln>
        </p:spPr>
        <p:txBody>
          <a:bodyPr wrap="square" lIns="91430" tIns="45716" rIns="91430" bIns="45716">
            <a:spAutoFit/>
          </a:bodyPr>
          <a:lstStyle>
            <a:lvl1pPr defTabSz="912813" eaLnBrk="0" hangingPunct="0">
              <a:defRPr sz="3600">
                <a:solidFill>
                  <a:schemeClr val="tx1"/>
                </a:solidFill>
                <a:latin typeface="Arial" charset="0"/>
                <a:cs typeface="Arial" charset="0"/>
              </a:defRPr>
            </a:lvl1pPr>
            <a:lvl2pPr marL="742950" indent="-285750" defTabSz="912813" eaLnBrk="0" hangingPunct="0">
              <a:defRPr sz="3600">
                <a:solidFill>
                  <a:schemeClr val="tx1"/>
                </a:solidFill>
                <a:latin typeface="Arial" charset="0"/>
                <a:cs typeface="Arial" charset="0"/>
              </a:defRPr>
            </a:lvl2pPr>
            <a:lvl3pPr marL="1143000" indent="-228600" defTabSz="912813" eaLnBrk="0" hangingPunct="0">
              <a:defRPr sz="3600">
                <a:solidFill>
                  <a:schemeClr val="tx1"/>
                </a:solidFill>
                <a:latin typeface="Arial" charset="0"/>
                <a:cs typeface="Arial" charset="0"/>
              </a:defRPr>
            </a:lvl3pPr>
            <a:lvl4pPr marL="1600200" indent="-228600" defTabSz="912813" eaLnBrk="0" hangingPunct="0">
              <a:defRPr sz="3600">
                <a:solidFill>
                  <a:schemeClr val="tx1"/>
                </a:solidFill>
                <a:latin typeface="Arial" charset="0"/>
                <a:cs typeface="Arial" charset="0"/>
              </a:defRPr>
            </a:lvl4pPr>
            <a:lvl5pPr marL="2057400" indent="-228600" defTabSz="912813" eaLnBrk="0" hangingPunct="0">
              <a:defRPr sz="3600">
                <a:solidFill>
                  <a:schemeClr val="tx1"/>
                </a:solidFill>
                <a:latin typeface="Arial" charset="0"/>
                <a:cs typeface="Arial" charset="0"/>
              </a:defRPr>
            </a:lvl5pPr>
            <a:lvl6pPr marL="2514600" indent="-228600" defTabSz="912813" eaLnBrk="0" fontAlgn="base" hangingPunct="0">
              <a:spcBef>
                <a:spcPct val="0"/>
              </a:spcBef>
              <a:spcAft>
                <a:spcPct val="0"/>
              </a:spcAft>
              <a:defRPr sz="3600">
                <a:solidFill>
                  <a:schemeClr val="tx1"/>
                </a:solidFill>
                <a:latin typeface="Arial" charset="0"/>
                <a:cs typeface="Arial" charset="0"/>
              </a:defRPr>
            </a:lvl6pPr>
            <a:lvl7pPr marL="2971800" indent="-228600" defTabSz="912813" eaLnBrk="0" fontAlgn="base" hangingPunct="0">
              <a:spcBef>
                <a:spcPct val="0"/>
              </a:spcBef>
              <a:spcAft>
                <a:spcPct val="0"/>
              </a:spcAft>
              <a:defRPr sz="3600">
                <a:solidFill>
                  <a:schemeClr val="tx1"/>
                </a:solidFill>
                <a:latin typeface="Arial" charset="0"/>
                <a:cs typeface="Arial" charset="0"/>
              </a:defRPr>
            </a:lvl7pPr>
            <a:lvl8pPr marL="3429000" indent="-228600" defTabSz="912813" eaLnBrk="0" fontAlgn="base" hangingPunct="0">
              <a:spcBef>
                <a:spcPct val="0"/>
              </a:spcBef>
              <a:spcAft>
                <a:spcPct val="0"/>
              </a:spcAft>
              <a:defRPr sz="3600">
                <a:solidFill>
                  <a:schemeClr val="tx1"/>
                </a:solidFill>
                <a:latin typeface="Arial" charset="0"/>
                <a:cs typeface="Arial" charset="0"/>
              </a:defRPr>
            </a:lvl8pPr>
            <a:lvl9pPr marL="3886200" indent="-228600" defTabSz="912813" eaLnBrk="0" fontAlgn="base" hangingPunct="0">
              <a:spcBef>
                <a:spcPct val="0"/>
              </a:spcBef>
              <a:spcAft>
                <a:spcPct val="0"/>
              </a:spcAft>
              <a:defRPr sz="3600">
                <a:solidFill>
                  <a:schemeClr val="tx1"/>
                </a:solidFill>
                <a:latin typeface="Arial" charset="0"/>
                <a:cs typeface="Arial" charset="0"/>
              </a:defRPr>
            </a:lvl9pPr>
          </a:lstStyle>
          <a:p>
            <a:pPr algn="ctr"/>
            <a:r>
              <a:rPr lang="fr-FR" sz="1700" b="1" i="1" dirty="0">
                <a:solidFill>
                  <a:srgbClr val="0560E5"/>
                </a:solidFill>
                <a:latin typeface="Century Gothic" pitchFamily="34" charset="0"/>
              </a:rPr>
              <a:t>Etat </a:t>
            </a:r>
            <a:r>
              <a:rPr lang="fr-FR" sz="1700" b="1" i="1" dirty="0" smtClean="0">
                <a:solidFill>
                  <a:srgbClr val="0560E5"/>
                </a:solidFill>
                <a:latin typeface="Century Gothic" pitchFamily="34" charset="0"/>
              </a:rPr>
              <a:t>des lieux de </a:t>
            </a:r>
            <a:r>
              <a:rPr lang="fr-FR" sz="1700" b="1" i="1" dirty="0">
                <a:solidFill>
                  <a:srgbClr val="0560E5"/>
                </a:solidFill>
                <a:latin typeface="Century Gothic" pitchFamily="34" charset="0"/>
              </a:rPr>
              <a:t>la </a:t>
            </a:r>
            <a:r>
              <a:rPr lang="fr-FR" sz="1700" b="1" i="1" dirty="0" smtClean="0">
                <a:solidFill>
                  <a:srgbClr val="0560E5"/>
                </a:solidFill>
                <a:latin typeface="Century Gothic" pitchFamily="34" charset="0"/>
              </a:rPr>
              <a:t>couverture</a:t>
            </a:r>
          </a:p>
          <a:p>
            <a:pPr algn="ctr"/>
            <a:r>
              <a:rPr lang="fr-FR" sz="1700" b="1" i="1" dirty="0" smtClean="0">
                <a:solidFill>
                  <a:srgbClr val="0560E5"/>
                </a:solidFill>
                <a:latin typeface="Century Gothic" pitchFamily="34" charset="0"/>
              </a:rPr>
              <a:t> </a:t>
            </a:r>
            <a:r>
              <a:rPr lang="fr-FR" sz="1700" b="1" i="1" dirty="0">
                <a:solidFill>
                  <a:srgbClr val="0560E5"/>
                </a:solidFill>
                <a:latin typeface="Century Gothic" pitchFamily="34" charset="0"/>
              </a:rPr>
              <a:t>des réseaux télécoms nationaux </a:t>
            </a:r>
            <a:r>
              <a:rPr lang="fr-FR" sz="1400" b="1" i="1" dirty="0" smtClean="0">
                <a:solidFill>
                  <a:srgbClr val="0560E5"/>
                </a:solidFill>
                <a:latin typeface="Century Gothic" pitchFamily="34" charset="0"/>
              </a:rPr>
              <a:t> </a:t>
            </a:r>
            <a:endParaRPr lang="fr-FR" sz="1400" b="1" i="1" dirty="0">
              <a:solidFill>
                <a:srgbClr val="0560E5"/>
              </a:solidFill>
              <a:latin typeface="Century Gothic" pitchFamily="34" charset="0"/>
            </a:endParaRPr>
          </a:p>
        </p:txBody>
      </p:sp>
      <p:sp>
        <p:nvSpPr>
          <p:cNvPr id="4" name="KMA6C131B"/>
          <p:cNvSpPr>
            <a:spLocks noChangeArrowheads="1"/>
          </p:cNvSpPr>
          <p:nvPr>
            <p:custDataLst>
              <p:tags r:id="rId1"/>
            </p:custDataLst>
          </p:nvPr>
        </p:nvSpPr>
        <p:spPr bwMode="auto">
          <a:xfrm>
            <a:off x="0" y="1052514"/>
            <a:ext cx="9906000" cy="5318125"/>
          </a:xfrm>
          <a:prstGeom prst="rect">
            <a:avLst/>
          </a:prstGeom>
          <a:noFill/>
          <a:ln w="9525" algn="ctr">
            <a:noFill/>
            <a:miter lim="800000"/>
            <a:headEnd/>
            <a:tailEnd/>
          </a:ln>
        </p:spPr>
        <p:txBody>
          <a:bodyPr lIns="42579" tIns="42579" rIns="42579" bIns="42579">
            <a:spAutoFit/>
          </a:bodyPr>
          <a:lstStyle/>
          <a:p>
            <a:pPr marL="273050" lvl="1" indent="-273050" algn="just" eaLnBrk="0" hangingPunct="0">
              <a:buClr>
                <a:schemeClr val="tx1"/>
              </a:buClr>
              <a:buFont typeface="Wingdings" pitchFamily="2" charset="2"/>
              <a:buChar char="ü"/>
              <a:defRPr/>
            </a:pPr>
            <a:r>
              <a:rPr lang="fr-FR" sz="2000" b="1" i="1" dirty="0">
                <a:solidFill>
                  <a:srgbClr val="C00000"/>
                </a:solidFill>
                <a:latin typeface="Century Gothic" pitchFamily="34" charset="0"/>
                <a:cs typeface="Arial" pitchFamily="34" charset="0"/>
              </a:rPr>
              <a:t>Sur les 1535 communes que compte le pays  :</a:t>
            </a:r>
          </a:p>
          <a:p>
            <a:pPr marL="908050" lvl="1" indent="-450850">
              <a:buFont typeface="Wingdings" pitchFamily="2" charset="2"/>
              <a:buChar char="q"/>
              <a:defRPr/>
            </a:pPr>
            <a:r>
              <a:rPr lang="fr-FR" sz="2000" b="1" dirty="0">
                <a:solidFill>
                  <a:srgbClr val="000080"/>
                </a:solidFill>
                <a:latin typeface="Century Gothic" pitchFamily="34" charset="0"/>
                <a:cs typeface="Arial" pitchFamily="34" charset="0"/>
              </a:rPr>
              <a:t>50% des communes, représentant au plus 75 % de la population, sont couvertes par l’Internet fixe de type ADSL offrant des services Internet haut débit ;</a:t>
            </a:r>
          </a:p>
          <a:p>
            <a:pPr marL="908050" lvl="1" indent="-450850" algn="just">
              <a:buFont typeface="Wingdings" pitchFamily="2" charset="2"/>
              <a:buChar char="q"/>
              <a:defRPr/>
            </a:pPr>
            <a:r>
              <a:rPr lang="fr-FR" sz="2000" b="1" dirty="0">
                <a:solidFill>
                  <a:srgbClr val="000080"/>
                </a:solidFill>
                <a:latin typeface="Century Gothic" pitchFamily="34" charset="0"/>
                <a:cs typeface="Arial" pitchFamily="34" charset="0"/>
              </a:rPr>
              <a:t>99% des communes, représentant 99% de la population, sont couvertes par les technologies mobiles de type GSM offrant des services Voix et Internet bas débit ;</a:t>
            </a:r>
          </a:p>
          <a:p>
            <a:pPr marL="908050" lvl="1" indent="-450850" algn="just">
              <a:buFont typeface="Wingdings" pitchFamily="2" charset="2"/>
              <a:buChar char="q"/>
              <a:defRPr/>
            </a:pPr>
            <a:r>
              <a:rPr lang="fr-FR" sz="2000" b="1" dirty="0">
                <a:solidFill>
                  <a:srgbClr val="000080"/>
                </a:solidFill>
                <a:latin typeface="Century Gothic" pitchFamily="34" charset="0"/>
                <a:cs typeface="Arial" pitchFamily="34" charset="0"/>
              </a:rPr>
              <a:t>55% des communes, représentant 80% de la population, sont couvertes par les technologies mobiles de 3</a:t>
            </a:r>
            <a:r>
              <a:rPr lang="fr-FR" sz="2000" b="1" baseline="30000" dirty="0">
                <a:solidFill>
                  <a:srgbClr val="000080"/>
                </a:solidFill>
                <a:latin typeface="Century Gothic" pitchFamily="34" charset="0"/>
                <a:cs typeface="Arial" pitchFamily="34" charset="0"/>
              </a:rPr>
              <a:t>ème</a:t>
            </a:r>
            <a:r>
              <a:rPr lang="fr-FR" sz="2000" b="1" dirty="0">
                <a:solidFill>
                  <a:srgbClr val="000080"/>
                </a:solidFill>
                <a:latin typeface="Century Gothic" pitchFamily="34" charset="0"/>
                <a:cs typeface="Arial" pitchFamily="34" charset="0"/>
              </a:rPr>
              <a:t> génération offrant des services Internet haut débit mobile.</a:t>
            </a:r>
          </a:p>
          <a:p>
            <a:pPr>
              <a:defRPr/>
            </a:pPr>
            <a:endParaRPr lang="fr-FR" sz="2000" b="1" dirty="0">
              <a:solidFill>
                <a:srgbClr val="000080"/>
              </a:solidFill>
              <a:latin typeface="Century Gothic" pitchFamily="34" charset="0"/>
              <a:cs typeface="Arial" pitchFamily="34" charset="0"/>
            </a:endParaRPr>
          </a:p>
          <a:p>
            <a:pPr marL="273050" lvl="1" indent="-273050" algn="just" eaLnBrk="0" hangingPunct="0">
              <a:buClr>
                <a:schemeClr val="tx1"/>
              </a:buClr>
              <a:buFont typeface="Wingdings" pitchFamily="2" charset="2"/>
              <a:buChar char="ü"/>
              <a:defRPr/>
            </a:pPr>
            <a:r>
              <a:rPr lang="fr-FR" sz="2000" b="1" i="1" dirty="0">
                <a:solidFill>
                  <a:srgbClr val="C00000"/>
                </a:solidFill>
                <a:latin typeface="Century Gothic" pitchFamily="34" charset="0"/>
                <a:cs typeface="Arial" pitchFamily="34" charset="0"/>
              </a:rPr>
              <a:t>Les réseaux de collecte et de transmission des opérateurs </a:t>
            </a:r>
            <a:r>
              <a:rPr lang="fr-FR" sz="2000" b="1" i="1" dirty="0" smtClean="0">
                <a:solidFill>
                  <a:srgbClr val="C00000"/>
                </a:solidFill>
                <a:latin typeface="Century Gothic" pitchFamily="34" charset="0"/>
                <a:cs typeface="Arial" pitchFamily="34" charset="0"/>
              </a:rPr>
              <a:t>(</a:t>
            </a:r>
            <a:r>
              <a:rPr lang="fr-FR" sz="2000" b="1" i="1" dirty="0" err="1" smtClean="0">
                <a:solidFill>
                  <a:srgbClr val="C00000"/>
                </a:solidFill>
                <a:latin typeface="Century Gothic" pitchFamily="34" charset="0"/>
                <a:cs typeface="Arial" pitchFamily="34" charset="0"/>
              </a:rPr>
              <a:t>backhaul</a:t>
            </a:r>
            <a:r>
              <a:rPr lang="fr-FR" sz="2000" b="1" i="1" dirty="0" smtClean="0">
                <a:solidFill>
                  <a:srgbClr val="C00000"/>
                </a:solidFill>
                <a:latin typeface="Century Gothic" pitchFamily="34" charset="0"/>
                <a:cs typeface="Arial" pitchFamily="34" charset="0"/>
              </a:rPr>
              <a:t>) </a:t>
            </a:r>
            <a:r>
              <a:rPr lang="fr-FR" sz="2000" b="1" dirty="0" smtClean="0">
                <a:solidFill>
                  <a:srgbClr val="000080"/>
                </a:solidFill>
                <a:latin typeface="Century Gothic" pitchFamily="34" charset="0"/>
                <a:cs typeface="Arial" pitchFamily="34" charset="0"/>
              </a:rPr>
              <a:t>sont </a:t>
            </a:r>
            <a:r>
              <a:rPr lang="fr-FR" sz="2000" b="1" dirty="0">
                <a:solidFill>
                  <a:srgbClr val="000080"/>
                </a:solidFill>
                <a:latin typeface="Century Gothic" pitchFamily="34" charset="0"/>
                <a:cs typeface="Arial" pitchFamily="34" charset="0"/>
              </a:rPr>
              <a:t>principalement en faisceaux hertziens limitant la fourniture de services haut/très haut débit.</a:t>
            </a:r>
          </a:p>
          <a:p>
            <a:pPr marL="273050" lvl="1" indent="-273050" algn="just" eaLnBrk="0" hangingPunct="0">
              <a:buClr>
                <a:schemeClr val="tx1"/>
              </a:buClr>
              <a:defRPr/>
            </a:pPr>
            <a:endParaRPr lang="fr-FR" sz="2000" b="1" dirty="0">
              <a:solidFill>
                <a:srgbClr val="000080"/>
              </a:solidFill>
              <a:latin typeface="Century Gothic" pitchFamily="34" charset="0"/>
              <a:cs typeface="Arial" pitchFamily="34" charset="0"/>
            </a:endParaRPr>
          </a:p>
          <a:p>
            <a:pPr marL="273050" lvl="1" indent="-273050" algn="just" eaLnBrk="0" hangingPunct="0">
              <a:buClr>
                <a:schemeClr val="tx1"/>
              </a:buClr>
              <a:buFont typeface="Wingdings" pitchFamily="2" charset="2"/>
              <a:buChar char="ü"/>
              <a:defRPr/>
            </a:pPr>
            <a:r>
              <a:rPr lang="fr-FR" sz="2000" b="1" i="1" dirty="0">
                <a:solidFill>
                  <a:srgbClr val="C00000"/>
                </a:solidFill>
                <a:latin typeface="Century Gothic" pitchFamily="34" charset="0"/>
                <a:cs typeface="Arial" pitchFamily="34" charset="0"/>
              </a:rPr>
              <a:t>Les réseaux dorsaux </a:t>
            </a:r>
            <a:r>
              <a:rPr lang="fr-FR" sz="2000" b="1" i="1" dirty="0" smtClean="0">
                <a:solidFill>
                  <a:srgbClr val="C00000"/>
                </a:solidFill>
                <a:latin typeface="Century Gothic" pitchFamily="34" charset="0"/>
                <a:cs typeface="Arial" pitchFamily="34" charset="0"/>
              </a:rPr>
              <a:t>(</a:t>
            </a:r>
            <a:r>
              <a:rPr lang="fr-FR" sz="2000" b="1" i="1" dirty="0" err="1" smtClean="0">
                <a:solidFill>
                  <a:srgbClr val="C00000"/>
                </a:solidFill>
                <a:latin typeface="Century Gothic" pitchFamily="34" charset="0"/>
                <a:cs typeface="Arial" pitchFamily="34" charset="0"/>
              </a:rPr>
              <a:t>backbone</a:t>
            </a:r>
            <a:r>
              <a:rPr lang="fr-FR" sz="2000" b="1" i="1" dirty="0" smtClean="0">
                <a:solidFill>
                  <a:srgbClr val="C00000"/>
                </a:solidFill>
                <a:latin typeface="Century Gothic" pitchFamily="34" charset="0"/>
                <a:cs typeface="Arial" pitchFamily="34" charset="0"/>
              </a:rPr>
              <a:t>) </a:t>
            </a:r>
            <a:r>
              <a:rPr lang="fr-FR" sz="2000" b="1" dirty="0" smtClean="0">
                <a:solidFill>
                  <a:srgbClr val="000080"/>
                </a:solidFill>
                <a:latin typeface="Century Gothic" pitchFamily="34" charset="0"/>
                <a:cs typeface="Arial" pitchFamily="34" charset="0"/>
              </a:rPr>
              <a:t>des </a:t>
            </a:r>
            <a:r>
              <a:rPr lang="fr-FR" sz="2000" b="1" dirty="0">
                <a:solidFill>
                  <a:srgbClr val="000080"/>
                </a:solidFill>
                <a:latin typeface="Century Gothic" pitchFamily="34" charset="0"/>
                <a:cs typeface="Arial" pitchFamily="34" charset="0"/>
              </a:rPr>
              <a:t>opérateurs sont constitués en fibre optique mais  couvrent uniquement les grands et principaux centres urbains.</a:t>
            </a:r>
          </a:p>
        </p:txBody>
      </p:sp>
      <p:pic>
        <p:nvPicPr>
          <p:cNvPr id="5" name="Image 4"/>
          <p:cNvPicPr/>
          <p:nvPr/>
        </p:nvPicPr>
        <p:blipFill>
          <a:blip r:embed="rId4">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103215542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1000"/>
                                        <p:tgtEl>
                                          <p:spTgt spid="4">
                                            <p:txEl>
                                              <p:pRg st="1" end="1"/>
                                            </p:txEl>
                                          </p:spTgt>
                                        </p:tgtEl>
                                      </p:cBhvr>
                                    </p:animEffect>
                                    <p:anim calcmode="lin" valueType="num">
                                      <p:cBhvr>
                                        <p:cTn id="8"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xEl>
                                              <p:pRg st="2" end="2"/>
                                            </p:txEl>
                                          </p:spTgt>
                                        </p:tgtEl>
                                        <p:attrNameLst>
                                          <p:attrName>style.visibility</p:attrName>
                                        </p:attrNameLst>
                                      </p:cBhvr>
                                      <p:to>
                                        <p:strVal val="visible"/>
                                      </p:to>
                                    </p:set>
                                    <p:animEffect transition="in" filter="fade">
                                      <p:cBhvr>
                                        <p:cTn id="14" dur="1000"/>
                                        <p:tgtEl>
                                          <p:spTgt spid="4">
                                            <p:txEl>
                                              <p:pRg st="2" end="2"/>
                                            </p:txEl>
                                          </p:spTgt>
                                        </p:tgtEl>
                                      </p:cBhvr>
                                    </p:animEffect>
                                    <p:anim calcmode="lin" valueType="num">
                                      <p:cBhvr>
                                        <p:cTn id="15"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
                                            <p:txEl>
                                              <p:pRg st="3" end="3"/>
                                            </p:txEl>
                                          </p:spTgt>
                                        </p:tgtEl>
                                        <p:attrNameLst>
                                          <p:attrName>style.visibility</p:attrName>
                                        </p:attrNameLst>
                                      </p:cBhvr>
                                      <p:to>
                                        <p:strVal val="visible"/>
                                      </p:to>
                                    </p:set>
                                    <p:animEffect transition="in" filter="fade">
                                      <p:cBhvr>
                                        <p:cTn id="21" dur="1000"/>
                                        <p:tgtEl>
                                          <p:spTgt spid="4">
                                            <p:txEl>
                                              <p:pRg st="3" end="3"/>
                                            </p:txEl>
                                          </p:spTgt>
                                        </p:tgtEl>
                                      </p:cBhvr>
                                    </p:animEffect>
                                    <p:anim calcmode="lin" valueType="num">
                                      <p:cBhvr>
                                        <p:cTn id="22"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4">
                                            <p:txEl>
                                              <p:pRg st="5" end="5"/>
                                            </p:txEl>
                                          </p:spTgt>
                                        </p:tgtEl>
                                        <p:attrNameLst>
                                          <p:attrName>style.visibility</p:attrName>
                                        </p:attrNameLst>
                                      </p:cBhvr>
                                      <p:to>
                                        <p:strVal val="visible"/>
                                      </p:to>
                                    </p:set>
                                    <p:animEffect transition="in" filter="fade">
                                      <p:cBhvr>
                                        <p:cTn id="28" dur="1000"/>
                                        <p:tgtEl>
                                          <p:spTgt spid="4">
                                            <p:txEl>
                                              <p:pRg st="5" end="5"/>
                                            </p:txEl>
                                          </p:spTgt>
                                        </p:tgtEl>
                                      </p:cBhvr>
                                    </p:animEffect>
                                    <p:anim calcmode="lin" valueType="num">
                                      <p:cBhvr>
                                        <p:cTn id="29" dur="10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30" dur="1000" fill="hold"/>
                                        <p:tgtEl>
                                          <p:spTgt spid="4">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animEffect transition="in" filter="fade">
                                      <p:cBhvr>
                                        <p:cTn id="35" dur="1000"/>
                                        <p:tgtEl>
                                          <p:spTgt spid="4">
                                            <p:txEl>
                                              <p:pRg st="7" end="7"/>
                                            </p:txEl>
                                          </p:spTgt>
                                        </p:tgtEl>
                                      </p:cBhvr>
                                    </p:animEffect>
                                    <p:anim calcmode="lin" valueType="num">
                                      <p:cBhvr>
                                        <p:cTn id="36" dur="1000" fill="hold"/>
                                        <p:tgtEl>
                                          <p:spTgt spid="4">
                                            <p:txEl>
                                              <p:pRg st="7" end="7"/>
                                            </p:txEl>
                                          </p:spTgt>
                                        </p:tgtEl>
                                        <p:attrNameLst>
                                          <p:attrName>ppt_x</p:attrName>
                                        </p:attrNameLst>
                                      </p:cBhvr>
                                      <p:tavLst>
                                        <p:tav tm="0">
                                          <p:val>
                                            <p:strVal val="#ppt_x"/>
                                          </p:val>
                                        </p:tav>
                                        <p:tav tm="100000">
                                          <p:val>
                                            <p:strVal val="#ppt_x"/>
                                          </p:val>
                                        </p:tav>
                                      </p:tavLst>
                                    </p:anim>
                                    <p:anim calcmode="lin" valueType="num">
                                      <p:cBhvr>
                                        <p:cTn id="37" dur="1000" fill="hold"/>
                                        <p:tgtEl>
                                          <p:spTgt spid="4">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ChangeArrowheads="1"/>
          </p:cNvSpPr>
          <p:nvPr/>
        </p:nvSpPr>
        <p:spPr bwMode="auto">
          <a:xfrm>
            <a:off x="0" y="2033515"/>
            <a:ext cx="9906000" cy="3835021"/>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nchor="ct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0"/>
              </a:spcBef>
              <a:buFontTx/>
              <a:buNone/>
            </a:pPr>
            <a:r>
              <a:rPr lang="fr-FR" altLang="fr-FR" sz="2800" dirty="0" smtClean="0">
                <a:solidFill>
                  <a:srgbClr val="C00000"/>
                </a:solidFill>
                <a:latin typeface="Arial" charset="0"/>
                <a:cs typeface="Arial" charset="0"/>
              </a:rPr>
              <a:t>PLAN DE LA PRESENTATION :</a:t>
            </a:r>
          </a:p>
          <a:p>
            <a:pPr algn="ctr" eaLnBrk="1" hangingPunct="1">
              <a:spcBef>
                <a:spcPct val="0"/>
              </a:spcBef>
              <a:buFontTx/>
              <a:buNone/>
            </a:pPr>
            <a:endParaRPr lang="fr-FR" altLang="fr-FR" sz="2800" dirty="0" smtClean="0">
              <a:solidFill>
                <a:srgbClr val="C00000"/>
              </a:solidFill>
              <a:latin typeface="Arial" charset="0"/>
              <a:cs typeface="Arial" charset="0"/>
            </a:endParaRPr>
          </a:p>
          <a:p>
            <a:pPr eaLnBrk="1" hangingPunct="1">
              <a:spcBef>
                <a:spcPct val="0"/>
              </a:spcBef>
              <a:buFontTx/>
              <a:buNone/>
            </a:pPr>
            <a:r>
              <a:rPr lang="fr-FR" altLang="fr-FR" sz="2800" dirty="0">
                <a:solidFill>
                  <a:srgbClr val="0005A1"/>
                </a:solidFill>
                <a:latin typeface="Arial" charset="0"/>
              </a:rPr>
              <a:t>Partie 1 : Secteur des télécommunications </a:t>
            </a:r>
            <a:r>
              <a:rPr lang="fr-FR" altLang="fr-FR" sz="2800" dirty="0" smtClean="0">
                <a:solidFill>
                  <a:srgbClr val="0005A1"/>
                </a:solidFill>
                <a:latin typeface="Arial" charset="0"/>
              </a:rPr>
              <a:t>au Maroc en chiffres : des évolutions positives…</a:t>
            </a:r>
          </a:p>
          <a:p>
            <a:pPr eaLnBrk="1" hangingPunct="1">
              <a:spcBef>
                <a:spcPct val="0"/>
              </a:spcBef>
              <a:buFontTx/>
              <a:buNone/>
            </a:pPr>
            <a:endParaRPr lang="fr-FR" altLang="fr-FR" sz="2800" dirty="0">
              <a:solidFill>
                <a:srgbClr val="0005A1"/>
              </a:solidFill>
              <a:latin typeface="Arial" charset="0"/>
            </a:endParaRPr>
          </a:p>
          <a:p>
            <a:pPr eaLnBrk="1" hangingPunct="1">
              <a:spcBef>
                <a:spcPct val="0"/>
              </a:spcBef>
              <a:buNone/>
            </a:pPr>
            <a:r>
              <a:rPr lang="fr-FR" altLang="fr-FR" sz="2800" dirty="0" smtClean="0">
                <a:solidFill>
                  <a:srgbClr val="0005A1"/>
                </a:solidFill>
                <a:latin typeface="Arial" charset="0"/>
              </a:rPr>
              <a:t>Partie 2 : </a:t>
            </a:r>
            <a:r>
              <a:rPr lang="fr-FR" sz="2800" dirty="0">
                <a:solidFill>
                  <a:srgbClr val="0005A1"/>
                </a:solidFill>
                <a:latin typeface="Arial" charset="0"/>
              </a:rPr>
              <a:t>Plan national de développement du haut et très haut </a:t>
            </a:r>
            <a:r>
              <a:rPr lang="fr-FR" sz="2800" dirty="0" smtClean="0">
                <a:solidFill>
                  <a:srgbClr val="0005A1"/>
                </a:solidFill>
                <a:latin typeface="Arial" charset="0"/>
              </a:rPr>
              <a:t>débit</a:t>
            </a:r>
          </a:p>
          <a:p>
            <a:pPr eaLnBrk="1" hangingPunct="1">
              <a:spcBef>
                <a:spcPct val="0"/>
              </a:spcBef>
              <a:buNone/>
            </a:pPr>
            <a:endParaRPr lang="fr-FR" sz="2800" dirty="0">
              <a:solidFill>
                <a:srgbClr val="0005A1"/>
              </a:solidFill>
              <a:latin typeface="Arial" charset="0"/>
            </a:endParaRPr>
          </a:p>
          <a:p>
            <a:pPr eaLnBrk="1" hangingPunct="1">
              <a:spcBef>
                <a:spcPct val="0"/>
              </a:spcBef>
              <a:buNone/>
            </a:pPr>
            <a:r>
              <a:rPr lang="fr-FR" sz="2800" dirty="0" smtClean="0">
                <a:solidFill>
                  <a:srgbClr val="0005A1"/>
                </a:solidFill>
                <a:latin typeface="Arial" charset="0"/>
              </a:rPr>
              <a:t>Partie 3 : Modalités de mise en œuvre du plan haut </a:t>
            </a:r>
            <a:r>
              <a:rPr lang="fr-FR" sz="2800" dirty="0">
                <a:solidFill>
                  <a:srgbClr val="0005A1"/>
                </a:solidFill>
                <a:latin typeface="Arial" charset="0"/>
              </a:rPr>
              <a:t> </a:t>
            </a:r>
            <a:r>
              <a:rPr lang="fr-FR" sz="2800" dirty="0" smtClean="0">
                <a:solidFill>
                  <a:srgbClr val="0005A1"/>
                </a:solidFill>
                <a:latin typeface="Arial" charset="0"/>
              </a:rPr>
              <a:t>et très haut débit au Maroc</a:t>
            </a:r>
          </a:p>
          <a:p>
            <a:pPr eaLnBrk="1" hangingPunct="1">
              <a:spcBef>
                <a:spcPct val="0"/>
              </a:spcBef>
              <a:buNone/>
            </a:pPr>
            <a:endParaRPr lang="fr-FR" sz="2800" dirty="0">
              <a:solidFill>
                <a:srgbClr val="0005A1"/>
              </a:solidFill>
              <a:latin typeface="Arial" charset="0"/>
            </a:endParaRPr>
          </a:p>
          <a:p>
            <a:pPr algn="ctr" eaLnBrk="1" hangingPunct="1">
              <a:spcBef>
                <a:spcPct val="0"/>
              </a:spcBef>
              <a:buFontTx/>
              <a:buNone/>
            </a:pPr>
            <a:endParaRPr lang="fr-FR" altLang="fr-FR" sz="2800" dirty="0">
              <a:solidFill>
                <a:srgbClr val="C00000"/>
              </a:solidFill>
              <a:latin typeface="Arial" charset="0"/>
              <a:cs typeface="Arial" charset="0"/>
            </a:endParaRPr>
          </a:p>
        </p:txBody>
      </p:sp>
      <p:pic>
        <p:nvPicPr>
          <p:cNvPr id="4" name="Image 3"/>
          <p:cNvPicPr/>
          <p:nvPr/>
        </p:nvPicPr>
        <p:blipFill>
          <a:blip r:embed="rId3">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1902187141"/>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ChangeArrowheads="1"/>
          </p:cNvSpPr>
          <p:nvPr/>
        </p:nvSpPr>
        <p:spPr bwMode="auto">
          <a:xfrm>
            <a:off x="0" y="2714625"/>
            <a:ext cx="9906000" cy="928688"/>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nchor="ctr"/>
          <a:lstStyle/>
          <a:p>
            <a:pPr algn="ctr" defTabSz="912813"/>
            <a:r>
              <a:rPr lang="fr-FR" sz="2000" b="1" i="1">
                <a:solidFill>
                  <a:srgbClr val="00B0F0"/>
                </a:solidFill>
                <a:latin typeface="Century Gothic" pitchFamily="34" charset="0"/>
              </a:rPr>
              <a:t>Besoins et objectifs en haut /très haut débit</a:t>
            </a:r>
          </a:p>
        </p:txBody>
      </p:sp>
      <p:pic>
        <p:nvPicPr>
          <p:cNvPr id="3" name="Image 2"/>
          <p:cNvPicPr/>
          <p:nvPr/>
        </p:nvPicPr>
        <p:blipFill>
          <a:blip r:embed="rId3">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132790815"/>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ext Box 2"/>
          <p:cNvSpPr>
            <a:spLocks noGrp="1" noChangeArrowheads="1"/>
          </p:cNvSpPr>
          <p:nvPr>
            <p:ph type="title"/>
          </p:nvPr>
        </p:nvSpPr>
        <p:spPr>
          <a:xfrm>
            <a:off x="2203054" y="331789"/>
            <a:ext cx="6285853" cy="607594"/>
          </a:xfrm>
          <a:solidFill>
            <a:srgbClr val="C0C0C0"/>
          </a:solidFill>
          <a:ln>
            <a:solidFill>
              <a:schemeClr val="tx1"/>
            </a:solidFill>
            <a:miter lim="800000"/>
            <a:headEnd/>
            <a:tailEnd/>
          </a:ln>
        </p:spPr>
        <p:txBody>
          <a:bodyPr wrap="square" lIns="91430" tIns="45716" rIns="91430" bIns="45716">
            <a:spAutoFit/>
          </a:bodyPr>
          <a:lstStyle/>
          <a:p>
            <a:pPr algn="ctr"/>
            <a:r>
              <a:rPr lang="fr-FR" sz="1800" i="1" dirty="0" smtClean="0">
                <a:solidFill>
                  <a:srgbClr val="0560E5"/>
                </a:solidFill>
                <a:latin typeface="Century Gothic" pitchFamily="34" charset="0"/>
              </a:rPr>
              <a:t>Différentiel entre les capacités commercialisées par les opérateurs et les besoins du marché en haut débit</a:t>
            </a:r>
          </a:p>
        </p:txBody>
      </p:sp>
      <p:pic>
        <p:nvPicPr>
          <p:cNvPr id="72707" name="Picture 11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0838" y="1341438"/>
            <a:ext cx="9283435" cy="482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3"/>
          <p:cNvPicPr/>
          <p:nvPr/>
        </p:nvPicPr>
        <p:blipFill>
          <a:blip r:embed="rId4">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1300412546"/>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2"/>
          <p:cNvSpPr>
            <a:spLocks noGrp="1" noChangeArrowheads="1"/>
          </p:cNvSpPr>
          <p:nvPr>
            <p:ph type="title"/>
          </p:nvPr>
        </p:nvSpPr>
        <p:spPr bwMode="gray">
          <a:xfrm>
            <a:off x="2321719" y="228599"/>
            <a:ext cx="6262723" cy="685801"/>
          </a:xfrm>
          <a:solidFill>
            <a:srgbClr val="C0C0C0"/>
          </a:solidFill>
        </p:spPr>
        <p:txBody>
          <a:bodyPr/>
          <a:lstStyle/>
          <a:p>
            <a:pPr algn="ctr">
              <a:spcBef>
                <a:spcPct val="50000"/>
              </a:spcBef>
              <a:defRPr/>
            </a:pPr>
            <a:r>
              <a:rPr lang="fr-FR" sz="2400" i="1" kern="1200" dirty="0" smtClean="0">
                <a:solidFill>
                  <a:srgbClr val="0560E5"/>
                </a:solidFill>
                <a:latin typeface="Century Gothic" pitchFamily="34" charset="0"/>
                <a:ea typeface="+mn-ea"/>
                <a:cs typeface="Arial" pitchFamily="34" charset="0"/>
              </a:rPr>
              <a:t>Objectifs en haut /très haut débit dans le cadre du plan national</a:t>
            </a:r>
            <a:endParaRPr lang="fr-FR" sz="2400" u="sng" kern="1200" dirty="0" smtClean="0">
              <a:solidFill>
                <a:srgbClr val="C00000"/>
              </a:solidFill>
              <a:latin typeface="Century Gothic" pitchFamily="34" charset="0"/>
              <a:ea typeface="+mn-ea"/>
              <a:cs typeface="Arial" pitchFamily="34" charset="0"/>
            </a:endParaRPr>
          </a:p>
        </p:txBody>
      </p:sp>
      <p:sp>
        <p:nvSpPr>
          <p:cNvPr id="15363" name="KMA6C131B"/>
          <p:cNvSpPr>
            <a:spLocks noChangeArrowheads="1"/>
          </p:cNvSpPr>
          <p:nvPr>
            <p:custDataLst>
              <p:tags r:id="rId1"/>
            </p:custDataLst>
          </p:nvPr>
        </p:nvSpPr>
        <p:spPr bwMode="auto">
          <a:xfrm>
            <a:off x="0" y="1231900"/>
            <a:ext cx="9751219" cy="4610305"/>
          </a:xfrm>
          <a:prstGeom prst="rect">
            <a:avLst/>
          </a:prstGeom>
          <a:noFill/>
          <a:ln w="9525" algn="ctr">
            <a:noFill/>
            <a:miter lim="800000"/>
            <a:headEnd/>
            <a:tailEnd/>
          </a:ln>
        </p:spPr>
        <p:txBody>
          <a:bodyPr lIns="9826" tIns="42579" rIns="9826" bIns="42579">
            <a:spAutoFit/>
          </a:bodyPr>
          <a:lstStyle/>
          <a:p>
            <a:pPr algn="just" defTabSz="892175" eaLnBrk="0" hangingPunct="0">
              <a:buClr>
                <a:schemeClr val="tx1"/>
              </a:buClr>
              <a:defRPr/>
            </a:pPr>
            <a:r>
              <a:rPr lang="fr-FR" sz="2100" dirty="0">
                <a:solidFill>
                  <a:srgbClr val="000080"/>
                </a:solidFill>
                <a:latin typeface="Century Gothic" pitchFamily="34" charset="0"/>
              </a:rPr>
              <a:t>Au regard des expériences internationales, notamment celles des pays développés et pour situer le Maroc, sur horizon de 10 à 15 ans, </a:t>
            </a:r>
            <a:r>
              <a:rPr lang="fr-FR" sz="2100" dirty="0" smtClean="0">
                <a:solidFill>
                  <a:srgbClr val="000080"/>
                </a:solidFill>
                <a:latin typeface="Century Gothic" pitchFamily="34" charset="0"/>
              </a:rPr>
              <a:t>Le plan national du H et THD s’articule sur les trois axes suivants</a:t>
            </a:r>
            <a:r>
              <a:rPr lang="fr-FR" sz="2100" dirty="0">
                <a:solidFill>
                  <a:srgbClr val="000080"/>
                </a:solidFill>
                <a:latin typeface="Century Gothic" pitchFamily="34" charset="0"/>
              </a:rPr>
              <a:t> :</a:t>
            </a:r>
          </a:p>
          <a:p>
            <a:pPr marL="320675" indent="-320675" algn="just" defTabSz="892175" eaLnBrk="0" hangingPunct="0">
              <a:buClr>
                <a:schemeClr val="tx1"/>
              </a:buClr>
              <a:defRPr/>
            </a:pPr>
            <a:endParaRPr lang="fr-FR" sz="2100" b="1" dirty="0">
              <a:solidFill>
                <a:srgbClr val="000080"/>
              </a:solidFill>
              <a:latin typeface="Century Gothic" pitchFamily="34" charset="0"/>
            </a:endParaRPr>
          </a:p>
          <a:p>
            <a:pPr marL="320675" indent="-320675" algn="just" defTabSz="892175" eaLnBrk="0" hangingPunct="0">
              <a:buClr>
                <a:schemeClr val="tx1"/>
              </a:buClr>
              <a:buFont typeface="Wingdings" pitchFamily="2" charset="2"/>
              <a:buChar char="q"/>
              <a:defRPr/>
            </a:pPr>
            <a:r>
              <a:rPr lang="fr-FR" sz="2100" b="1" dirty="0">
                <a:solidFill>
                  <a:srgbClr val="C00000"/>
                </a:solidFill>
                <a:latin typeface="Century Gothic" pitchFamily="34" charset="0"/>
              </a:rPr>
              <a:t>100% de la population </a:t>
            </a:r>
            <a:r>
              <a:rPr lang="fr-FR" sz="2100" dirty="0">
                <a:solidFill>
                  <a:srgbClr val="C00000"/>
                </a:solidFill>
                <a:latin typeface="Century Gothic" pitchFamily="34" charset="0"/>
              </a:rPr>
              <a:t>devrait avoir accès </a:t>
            </a:r>
            <a:r>
              <a:rPr lang="fr-FR" sz="2100" b="1" dirty="0">
                <a:solidFill>
                  <a:srgbClr val="C00000"/>
                </a:solidFill>
                <a:latin typeface="Century Gothic" pitchFamily="34" charset="0"/>
              </a:rPr>
              <a:t>au haut </a:t>
            </a:r>
            <a:r>
              <a:rPr lang="fr-FR" sz="2100" b="1" dirty="0" smtClean="0">
                <a:solidFill>
                  <a:srgbClr val="C00000"/>
                </a:solidFill>
                <a:latin typeface="Century Gothic" pitchFamily="34" charset="0"/>
              </a:rPr>
              <a:t>débit</a:t>
            </a:r>
            <a:r>
              <a:rPr lang="fr-FR" sz="2100" dirty="0" smtClean="0">
                <a:solidFill>
                  <a:srgbClr val="C00000"/>
                </a:solidFill>
                <a:latin typeface="Century Gothic" pitchFamily="34" charset="0"/>
              </a:rPr>
              <a:t>, </a:t>
            </a:r>
            <a:r>
              <a:rPr lang="fr-FR" sz="2100" dirty="0">
                <a:solidFill>
                  <a:srgbClr val="C00000"/>
                </a:solidFill>
                <a:latin typeface="Century Gothic" pitchFamily="34" charset="0"/>
              </a:rPr>
              <a:t>correspondant à toutes les communes du Royaume, </a:t>
            </a:r>
            <a:r>
              <a:rPr lang="fr-FR" sz="2100" b="1" dirty="0">
                <a:solidFill>
                  <a:srgbClr val="C00000"/>
                </a:solidFill>
                <a:latin typeface="Century Gothic" pitchFamily="34" charset="0"/>
              </a:rPr>
              <a:t>sur un </a:t>
            </a:r>
            <a:r>
              <a:rPr lang="fr-FR" sz="2100" b="1" u="sng" dirty="0">
                <a:solidFill>
                  <a:srgbClr val="C00000"/>
                </a:solidFill>
                <a:latin typeface="Century Gothic" pitchFamily="34" charset="0"/>
              </a:rPr>
              <a:t>horizon de dix ans</a:t>
            </a:r>
            <a:r>
              <a:rPr lang="fr-FR" sz="2100" b="1" dirty="0">
                <a:solidFill>
                  <a:srgbClr val="C00000"/>
                </a:solidFill>
                <a:latin typeface="Century Gothic" pitchFamily="34" charset="0"/>
              </a:rPr>
              <a:t>. </a:t>
            </a:r>
            <a:endParaRPr lang="fr-FR" sz="2100" b="1" dirty="0" smtClean="0">
              <a:solidFill>
                <a:srgbClr val="C00000"/>
              </a:solidFill>
              <a:latin typeface="Century Gothic" pitchFamily="34" charset="0"/>
            </a:endParaRPr>
          </a:p>
          <a:p>
            <a:pPr algn="just" defTabSz="892175" eaLnBrk="0" hangingPunct="0">
              <a:buClr>
                <a:schemeClr val="tx1"/>
              </a:buClr>
              <a:defRPr/>
            </a:pPr>
            <a:endParaRPr lang="fr-FR" sz="2100" b="1" dirty="0">
              <a:solidFill>
                <a:srgbClr val="000080"/>
              </a:solidFill>
              <a:latin typeface="Century Gothic" pitchFamily="34" charset="0"/>
            </a:endParaRPr>
          </a:p>
          <a:p>
            <a:pPr marL="320675" indent="-320675" algn="just" defTabSz="892175" eaLnBrk="0" hangingPunct="0">
              <a:buClr>
                <a:schemeClr val="tx1"/>
              </a:buClr>
              <a:buFont typeface="Wingdings" pitchFamily="2" charset="2"/>
              <a:buChar char="q"/>
              <a:defRPr/>
            </a:pPr>
            <a:r>
              <a:rPr lang="fr-FR" sz="2100" b="1" dirty="0">
                <a:solidFill>
                  <a:srgbClr val="00B0F0"/>
                </a:solidFill>
                <a:latin typeface="Century Gothic" pitchFamily="34" charset="0"/>
              </a:rPr>
              <a:t>50% de la population </a:t>
            </a:r>
            <a:r>
              <a:rPr lang="fr-FR" sz="2100" dirty="0">
                <a:solidFill>
                  <a:srgbClr val="00B0F0"/>
                </a:solidFill>
                <a:latin typeface="Century Gothic" pitchFamily="34" charset="0"/>
              </a:rPr>
              <a:t>devrait avoir accès </a:t>
            </a:r>
            <a:r>
              <a:rPr lang="fr-FR" sz="2100" b="1" dirty="0">
                <a:solidFill>
                  <a:srgbClr val="00B0F0"/>
                </a:solidFill>
                <a:latin typeface="Century Gothic" pitchFamily="34" charset="0"/>
              </a:rPr>
              <a:t>au très haut débit </a:t>
            </a:r>
            <a:r>
              <a:rPr lang="fr-FR" sz="2100" dirty="0">
                <a:solidFill>
                  <a:srgbClr val="00B0F0"/>
                </a:solidFill>
                <a:latin typeface="Century Gothic" pitchFamily="34" charset="0"/>
              </a:rPr>
              <a:t>(au minimum 100 Mbit/s), correspondant aux 195 communes les plus denses (un peu moins de 2.5% du territoire), </a:t>
            </a:r>
            <a:r>
              <a:rPr lang="fr-FR" sz="2100" b="1" dirty="0">
                <a:solidFill>
                  <a:srgbClr val="00B0F0"/>
                </a:solidFill>
                <a:latin typeface="Century Gothic" pitchFamily="34" charset="0"/>
              </a:rPr>
              <a:t>sur un </a:t>
            </a:r>
            <a:r>
              <a:rPr lang="fr-FR" sz="2100" b="1" u="sng" dirty="0">
                <a:solidFill>
                  <a:srgbClr val="00B0F0"/>
                </a:solidFill>
                <a:latin typeface="Century Gothic" pitchFamily="34" charset="0"/>
              </a:rPr>
              <a:t>horizon de quinze ans</a:t>
            </a:r>
            <a:r>
              <a:rPr lang="fr-FR" sz="2100" dirty="0" smtClean="0">
                <a:solidFill>
                  <a:srgbClr val="00B0F0"/>
                </a:solidFill>
                <a:latin typeface="Century Gothic" pitchFamily="34" charset="0"/>
              </a:rPr>
              <a:t>.</a:t>
            </a:r>
          </a:p>
          <a:p>
            <a:pPr algn="just" defTabSz="892175" eaLnBrk="0" hangingPunct="0">
              <a:buClr>
                <a:schemeClr val="tx1"/>
              </a:buClr>
              <a:defRPr/>
            </a:pPr>
            <a:endParaRPr lang="fr-FR" sz="2100" dirty="0">
              <a:solidFill>
                <a:srgbClr val="000080"/>
              </a:solidFill>
              <a:latin typeface="Century Gothic" pitchFamily="34" charset="0"/>
            </a:endParaRPr>
          </a:p>
          <a:p>
            <a:pPr marL="320675" indent="-320675" algn="just" defTabSz="892175" eaLnBrk="0" hangingPunct="0">
              <a:buClr>
                <a:schemeClr val="tx1"/>
              </a:buClr>
              <a:buFont typeface="Wingdings" pitchFamily="2" charset="2"/>
              <a:buChar char="q"/>
              <a:defRPr/>
            </a:pPr>
            <a:r>
              <a:rPr lang="fr-FR" sz="2100" b="1" dirty="0">
                <a:solidFill>
                  <a:srgbClr val="7030A0"/>
                </a:solidFill>
                <a:latin typeface="Century Gothic" pitchFamily="34" charset="0"/>
              </a:rPr>
              <a:t>Tous les services publics administratifs </a:t>
            </a:r>
            <a:r>
              <a:rPr lang="fr-FR" sz="2100" dirty="0">
                <a:solidFill>
                  <a:srgbClr val="7030A0"/>
                </a:solidFill>
                <a:latin typeface="Century Gothic" pitchFamily="34" charset="0"/>
              </a:rPr>
              <a:t>situés dans les zones éloignées et/ou moins rentables, devraient avoir accès à Internet </a:t>
            </a:r>
            <a:r>
              <a:rPr lang="fr-FR" sz="2100" b="1" dirty="0">
                <a:solidFill>
                  <a:srgbClr val="7030A0"/>
                </a:solidFill>
                <a:latin typeface="Century Gothic" pitchFamily="34" charset="0"/>
              </a:rPr>
              <a:t>haut débit </a:t>
            </a:r>
            <a:r>
              <a:rPr lang="fr-FR" sz="2100" b="1" dirty="0" smtClean="0">
                <a:solidFill>
                  <a:srgbClr val="7030A0"/>
                </a:solidFill>
                <a:latin typeface="Century Gothic" pitchFamily="34" charset="0"/>
              </a:rPr>
              <a:t>sur </a:t>
            </a:r>
            <a:r>
              <a:rPr lang="fr-FR" sz="2100" b="1" dirty="0">
                <a:solidFill>
                  <a:srgbClr val="7030A0"/>
                </a:solidFill>
                <a:latin typeface="Century Gothic" pitchFamily="34" charset="0"/>
              </a:rPr>
              <a:t>un </a:t>
            </a:r>
            <a:r>
              <a:rPr lang="fr-FR" sz="2100" b="1" u="sng" dirty="0">
                <a:solidFill>
                  <a:srgbClr val="7030A0"/>
                </a:solidFill>
                <a:latin typeface="Century Gothic" pitchFamily="34" charset="0"/>
              </a:rPr>
              <a:t>horizon de trois à cinq ans</a:t>
            </a:r>
            <a:r>
              <a:rPr lang="fr-FR" sz="2100" dirty="0">
                <a:solidFill>
                  <a:srgbClr val="7030A0"/>
                </a:solidFill>
                <a:latin typeface="Century Gothic" pitchFamily="34" charset="0"/>
              </a:rPr>
              <a:t>.</a:t>
            </a:r>
          </a:p>
        </p:txBody>
      </p:sp>
      <p:pic>
        <p:nvPicPr>
          <p:cNvPr id="4" name="Image 3"/>
          <p:cNvPicPr/>
          <p:nvPr/>
        </p:nvPicPr>
        <p:blipFill>
          <a:blip r:embed="rId4">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295235494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5363">
                                            <p:txEl>
                                              <p:pRg st="2" end="2"/>
                                            </p:txEl>
                                          </p:spTgt>
                                        </p:tgtEl>
                                        <p:attrNameLst>
                                          <p:attrName>style.visibility</p:attrName>
                                        </p:attrNameLst>
                                      </p:cBhvr>
                                      <p:to>
                                        <p:strVal val="visible"/>
                                      </p:to>
                                    </p:set>
                                    <p:animEffect transition="in" filter="fade">
                                      <p:cBhvr>
                                        <p:cTn id="7" dur="1000"/>
                                        <p:tgtEl>
                                          <p:spTgt spid="15363">
                                            <p:txEl>
                                              <p:pRg st="2" end="2"/>
                                            </p:txEl>
                                          </p:spTgt>
                                        </p:tgtEl>
                                      </p:cBhvr>
                                    </p:animEffect>
                                    <p:anim calcmode="lin" valueType="num">
                                      <p:cBhvr>
                                        <p:cTn id="8" dur="1000" fill="hold"/>
                                        <p:tgtEl>
                                          <p:spTgt spid="1536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1536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5363">
                                            <p:txEl>
                                              <p:pRg st="4" end="4"/>
                                            </p:txEl>
                                          </p:spTgt>
                                        </p:tgtEl>
                                        <p:attrNameLst>
                                          <p:attrName>style.visibility</p:attrName>
                                        </p:attrNameLst>
                                      </p:cBhvr>
                                      <p:to>
                                        <p:strVal val="visible"/>
                                      </p:to>
                                    </p:set>
                                    <p:animEffect transition="in" filter="fade">
                                      <p:cBhvr>
                                        <p:cTn id="14" dur="1000"/>
                                        <p:tgtEl>
                                          <p:spTgt spid="15363">
                                            <p:txEl>
                                              <p:pRg st="4" end="4"/>
                                            </p:txEl>
                                          </p:spTgt>
                                        </p:tgtEl>
                                      </p:cBhvr>
                                    </p:animEffect>
                                    <p:anim calcmode="lin" valueType="num">
                                      <p:cBhvr>
                                        <p:cTn id="15" dur="1000" fill="hold"/>
                                        <p:tgtEl>
                                          <p:spTgt spid="15363">
                                            <p:txEl>
                                              <p:pRg st="4" end="4"/>
                                            </p:txEl>
                                          </p:spTgt>
                                        </p:tgtEl>
                                        <p:attrNameLst>
                                          <p:attrName>ppt_x</p:attrName>
                                        </p:attrNameLst>
                                      </p:cBhvr>
                                      <p:tavLst>
                                        <p:tav tm="0">
                                          <p:val>
                                            <p:strVal val="#ppt_x"/>
                                          </p:val>
                                        </p:tav>
                                        <p:tav tm="100000">
                                          <p:val>
                                            <p:strVal val="#ppt_x"/>
                                          </p:val>
                                        </p:tav>
                                      </p:tavLst>
                                    </p:anim>
                                    <p:anim calcmode="lin" valueType="num">
                                      <p:cBhvr>
                                        <p:cTn id="16" dur="1000" fill="hold"/>
                                        <p:tgtEl>
                                          <p:spTgt spid="1536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5363">
                                            <p:txEl>
                                              <p:pRg st="6" end="6"/>
                                            </p:txEl>
                                          </p:spTgt>
                                        </p:tgtEl>
                                        <p:attrNameLst>
                                          <p:attrName>style.visibility</p:attrName>
                                        </p:attrNameLst>
                                      </p:cBhvr>
                                      <p:to>
                                        <p:strVal val="visible"/>
                                      </p:to>
                                    </p:set>
                                    <p:animEffect transition="in" filter="fade">
                                      <p:cBhvr>
                                        <p:cTn id="21" dur="1000"/>
                                        <p:tgtEl>
                                          <p:spTgt spid="15363">
                                            <p:txEl>
                                              <p:pRg st="6" end="6"/>
                                            </p:txEl>
                                          </p:spTgt>
                                        </p:tgtEl>
                                      </p:cBhvr>
                                    </p:animEffect>
                                    <p:anim calcmode="lin" valueType="num">
                                      <p:cBhvr>
                                        <p:cTn id="22" dur="1000" fill="hold"/>
                                        <p:tgtEl>
                                          <p:spTgt spid="15363">
                                            <p:txEl>
                                              <p:pRg st="6" end="6"/>
                                            </p:txEl>
                                          </p:spTgt>
                                        </p:tgtEl>
                                        <p:attrNameLst>
                                          <p:attrName>ppt_x</p:attrName>
                                        </p:attrNameLst>
                                      </p:cBhvr>
                                      <p:tavLst>
                                        <p:tav tm="0">
                                          <p:val>
                                            <p:strVal val="#ppt_x"/>
                                          </p:val>
                                        </p:tav>
                                        <p:tav tm="100000">
                                          <p:val>
                                            <p:strVal val="#ppt_x"/>
                                          </p:val>
                                        </p:tav>
                                      </p:tavLst>
                                    </p:anim>
                                    <p:anim calcmode="lin" valueType="num">
                                      <p:cBhvr>
                                        <p:cTn id="23" dur="1000" fill="hold"/>
                                        <p:tgtEl>
                                          <p:spTgt spid="1536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2"/>
          <p:cNvSpPr>
            <a:spLocks noGrp="1" noChangeArrowheads="1"/>
          </p:cNvSpPr>
          <p:nvPr>
            <p:ph type="title"/>
          </p:nvPr>
        </p:nvSpPr>
        <p:spPr bwMode="gray">
          <a:xfrm>
            <a:off x="2321719" y="228600"/>
            <a:ext cx="7254081" cy="631209"/>
          </a:xfrm>
          <a:solidFill>
            <a:srgbClr val="C0C0C0"/>
          </a:solidFill>
        </p:spPr>
        <p:txBody>
          <a:bodyPr/>
          <a:lstStyle/>
          <a:p>
            <a:pPr algn="ctr">
              <a:spcBef>
                <a:spcPct val="50000"/>
              </a:spcBef>
              <a:defRPr/>
            </a:pPr>
            <a:r>
              <a:rPr lang="fr-FR" sz="2000" i="1" kern="1200" dirty="0" smtClean="0">
                <a:solidFill>
                  <a:srgbClr val="0560E5"/>
                </a:solidFill>
                <a:latin typeface="Century Gothic" pitchFamily="34" charset="0"/>
                <a:ea typeface="+mn-ea"/>
                <a:cs typeface="Arial" pitchFamily="34" charset="0"/>
              </a:rPr>
              <a:t>Développement du H et THD </a:t>
            </a:r>
            <a:br>
              <a:rPr lang="fr-FR" sz="2000" i="1" kern="1200" dirty="0" smtClean="0">
                <a:solidFill>
                  <a:srgbClr val="0560E5"/>
                </a:solidFill>
                <a:latin typeface="Century Gothic" pitchFamily="34" charset="0"/>
                <a:ea typeface="+mn-ea"/>
                <a:cs typeface="Arial" pitchFamily="34" charset="0"/>
              </a:rPr>
            </a:br>
            <a:r>
              <a:rPr lang="fr-FR" sz="2000" i="1" kern="1200" dirty="0" smtClean="0">
                <a:solidFill>
                  <a:srgbClr val="0560E5"/>
                </a:solidFill>
                <a:latin typeface="Century Gothic" pitchFamily="34" charset="0"/>
                <a:ea typeface="+mn-ea"/>
                <a:cs typeface="Arial" pitchFamily="34" charset="0"/>
              </a:rPr>
              <a:t>sans intervention publique</a:t>
            </a:r>
            <a:endParaRPr lang="fr-FR" sz="2000" u="sng" kern="1200" dirty="0" smtClean="0">
              <a:solidFill>
                <a:srgbClr val="C00000"/>
              </a:solidFill>
              <a:latin typeface="Century Gothic" pitchFamily="34" charset="0"/>
              <a:ea typeface="+mn-ea"/>
              <a:cs typeface="Arial" pitchFamily="34" charset="0"/>
            </a:endParaRPr>
          </a:p>
        </p:txBody>
      </p:sp>
      <p:pic>
        <p:nvPicPr>
          <p:cNvPr id="74755" name="Picture 1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4338" y="1268414"/>
            <a:ext cx="9517327" cy="5113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3"/>
          <p:cNvPicPr/>
          <p:nvPr/>
        </p:nvPicPr>
        <p:blipFill>
          <a:blip r:embed="rId4">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
        <p:nvSpPr>
          <p:cNvPr id="5" name="ZoneTexte 4"/>
          <p:cNvSpPr txBox="1"/>
          <p:nvPr/>
        </p:nvSpPr>
        <p:spPr>
          <a:xfrm>
            <a:off x="5773003" y="6103044"/>
            <a:ext cx="4132997" cy="228973"/>
          </a:xfrm>
          <a:prstGeom prst="rect">
            <a:avLst/>
          </a:prstGeom>
          <a:solidFill>
            <a:srgbClr val="FFC000"/>
          </a:solidFill>
        </p:spPr>
        <p:txBody>
          <a:bodyPr wrap="square" lIns="0" tIns="0" rIns="0" bIns="0" rtlCol="0">
            <a:spAutoFit/>
          </a:bodyPr>
          <a:lstStyle/>
          <a:p>
            <a:pPr>
              <a:lnSpc>
                <a:spcPct val="93000"/>
              </a:lnSpc>
              <a:spcBef>
                <a:spcPts val="0"/>
              </a:spcBef>
            </a:pPr>
            <a:r>
              <a:rPr lang="fr-FR" sz="1600" i="1" dirty="0">
                <a:solidFill>
                  <a:srgbClr val="C00000"/>
                </a:solidFill>
                <a:latin typeface="+mn-lt"/>
                <a:cs typeface="Arial" pitchFamily="34" charset="0"/>
              </a:rPr>
              <a:t>Nécessité d’action publique : financement</a:t>
            </a:r>
          </a:p>
        </p:txBody>
      </p:sp>
      <p:sp>
        <p:nvSpPr>
          <p:cNvPr id="6" name="Rectangle 5"/>
          <p:cNvSpPr/>
          <p:nvPr/>
        </p:nvSpPr>
        <p:spPr>
          <a:xfrm>
            <a:off x="5773003" y="6071040"/>
            <a:ext cx="4132997" cy="310711"/>
          </a:xfrm>
          <a:prstGeom prst="rect">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fr-FR" sz="1300" b="0" dirty="0" smtClean="0">
              <a:solidFill>
                <a:schemeClr val="tx1"/>
              </a:solidFill>
              <a:cs typeface="Arial" pitchFamily="34" charset="0"/>
            </a:endParaRPr>
          </a:p>
        </p:txBody>
      </p:sp>
    </p:spTree>
    <p:extLst>
      <p:ext uri="{BB962C8B-B14F-4D97-AF65-F5344CB8AC3E}">
        <p14:creationId xmlns:p14="http://schemas.microsoft.com/office/powerpoint/2010/main" val="280709535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5">
                                            <p:txEl>
                                              <p:pRg st="0" end="0"/>
                                            </p:txEl>
                                          </p:spTgt>
                                        </p:tgtEl>
                                      </p:cBhvr>
                                    </p:animEffect>
                                    <p:animScale>
                                      <p:cBhvr>
                                        <p:cTn id="7" dur="250" autoRev="1" fill="hold"/>
                                        <p:tgtEl>
                                          <p:spTgt spid="5">
                                            <p:txEl>
                                              <p:pRg st="0" end="0"/>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ChangeArrowheads="1"/>
          </p:cNvSpPr>
          <p:nvPr/>
        </p:nvSpPr>
        <p:spPr bwMode="auto">
          <a:xfrm>
            <a:off x="0" y="2714624"/>
            <a:ext cx="9906000" cy="1830079"/>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nchor="ctr"/>
          <a:lstStyle/>
          <a:p>
            <a:pPr algn="ctr" defTabSz="912813"/>
            <a:r>
              <a:rPr lang="fr-FR" sz="2800" dirty="0">
                <a:solidFill>
                  <a:srgbClr val="0005A1"/>
                </a:solidFill>
              </a:rPr>
              <a:t>Partie </a:t>
            </a:r>
            <a:r>
              <a:rPr lang="fr-FR" sz="2800" dirty="0" smtClean="0">
                <a:solidFill>
                  <a:srgbClr val="0005A1"/>
                </a:solidFill>
              </a:rPr>
              <a:t>3 </a:t>
            </a:r>
            <a:r>
              <a:rPr lang="fr-FR" sz="2800" dirty="0">
                <a:solidFill>
                  <a:srgbClr val="0005A1"/>
                </a:solidFill>
              </a:rPr>
              <a:t>: </a:t>
            </a:r>
            <a:endParaRPr lang="fr-FR" sz="2800" dirty="0" smtClean="0">
              <a:solidFill>
                <a:srgbClr val="0005A1"/>
              </a:solidFill>
            </a:endParaRPr>
          </a:p>
          <a:p>
            <a:pPr algn="ctr" defTabSz="912813"/>
            <a:endParaRPr lang="fr-FR" sz="2800" dirty="0">
              <a:solidFill>
                <a:srgbClr val="0005A1"/>
              </a:solidFill>
            </a:endParaRPr>
          </a:p>
          <a:p>
            <a:pPr algn="ctr" defTabSz="912813"/>
            <a:r>
              <a:rPr lang="fr-FR" sz="2800" dirty="0" smtClean="0">
                <a:solidFill>
                  <a:srgbClr val="0005A1"/>
                </a:solidFill>
              </a:rPr>
              <a:t>Modalités de mise en œuvre du plan haut et très haut débit au Maroc </a:t>
            </a:r>
            <a:endParaRPr lang="fr-FR" sz="2800" dirty="0">
              <a:solidFill>
                <a:srgbClr val="0005A1"/>
              </a:solidFill>
            </a:endParaRPr>
          </a:p>
        </p:txBody>
      </p:sp>
      <p:pic>
        <p:nvPicPr>
          <p:cNvPr id="3" name="Image 2"/>
          <p:cNvPicPr/>
          <p:nvPr/>
        </p:nvPicPr>
        <p:blipFill>
          <a:blip r:embed="rId3">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1437621420"/>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ChangeArrowheads="1"/>
          </p:cNvSpPr>
          <p:nvPr/>
        </p:nvSpPr>
        <p:spPr bwMode="auto">
          <a:xfrm>
            <a:off x="0" y="2714625"/>
            <a:ext cx="9906000" cy="928688"/>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nchor="ctr"/>
          <a:lstStyle/>
          <a:p>
            <a:pPr marL="0" lvl="1" algn="ctr" defTabSz="912813"/>
            <a:endParaRPr lang="fr-FR" sz="2000" b="1" i="1" dirty="0">
              <a:solidFill>
                <a:srgbClr val="00B0F0"/>
              </a:solidFill>
              <a:latin typeface="Century Gothic" pitchFamily="34" charset="0"/>
            </a:endParaRPr>
          </a:p>
          <a:p>
            <a:pPr marL="0" lvl="1" algn="ctr" defTabSz="912813"/>
            <a:r>
              <a:rPr lang="fr-FR" sz="2000" b="1" i="1" dirty="0">
                <a:solidFill>
                  <a:srgbClr val="7030A0"/>
                </a:solidFill>
                <a:latin typeface="Century Gothic" pitchFamily="34" charset="0"/>
              </a:rPr>
              <a:t>Haut débit par des solutions </a:t>
            </a:r>
            <a:r>
              <a:rPr lang="fr-FR" sz="2000" b="1" i="1" dirty="0" smtClean="0">
                <a:solidFill>
                  <a:srgbClr val="7030A0"/>
                </a:solidFill>
                <a:latin typeface="Century Gothic" pitchFamily="34" charset="0"/>
              </a:rPr>
              <a:t>basées sur des infrastructures terrestres</a:t>
            </a:r>
            <a:endParaRPr lang="fr-FR" sz="2000" b="1" i="1" dirty="0">
              <a:solidFill>
                <a:srgbClr val="7030A0"/>
              </a:solidFill>
              <a:latin typeface="Century Gothic" pitchFamily="34" charset="0"/>
            </a:endParaRPr>
          </a:p>
          <a:p>
            <a:pPr algn="ctr" defTabSz="912813"/>
            <a:endParaRPr lang="fr-FR" sz="2000" b="1" i="1" dirty="0">
              <a:solidFill>
                <a:srgbClr val="00B0F0"/>
              </a:solidFill>
              <a:latin typeface="Century Gothic" pitchFamily="34" charset="0"/>
            </a:endParaRPr>
          </a:p>
        </p:txBody>
      </p:sp>
      <p:pic>
        <p:nvPicPr>
          <p:cNvPr id="3" name="Image 2"/>
          <p:cNvPicPr/>
          <p:nvPr/>
        </p:nvPicPr>
        <p:blipFill>
          <a:blip r:embed="rId3">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1186689120"/>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KMA6C131B"/>
          <p:cNvSpPr>
            <a:spLocks noChangeArrowheads="1"/>
          </p:cNvSpPr>
          <p:nvPr>
            <p:custDataLst>
              <p:tags r:id="rId1"/>
            </p:custDataLst>
          </p:nvPr>
        </p:nvSpPr>
        <p:spPr bwMode="auto">
          <a:xfrm>
            <a:off x="0" y="1125539"/>
            <a:ext cx="9768475" cy="4010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42579" tIns="42579" rIns="42579" bIns="42579">
            <a:spAutoFit/>
          </a:bodyPr>
          <a:lstStyle/>
          <a:p>
            <a:pPr marL="0" lvl="1" algn="just" eaLnBrk="0" hangingPunct="0">
              <a:buClr>
                <a:schemeClr val="tx1"/>
              </a:buClr>
            </a:pPr>
            <a:endParaRPr lang="fr-FR" sz="1700" b="1" i="1" dirty="0" smtClean="0">
              <a:solidFill>
                <a:srgbClr val="C00000"/>
              </a:solidFill>
              <a:latin typeface="Century Gothic" pitchFamily="34" charset="0"/>
            </a:endParaRPr>
          </a:p>
          <a:p>
            <a:pPr marL="273050" lvl="1" indent="-273050" algn="just" eaLnBrk="0" hangingPunct="0">
              <a:buClr>
                <a:schemeClr val="tx1"/>
              </a:buClr>
              <a:buFont typeface="Wingdings" pitchFamily="2" charset="2"/>
              <a:buChar char="ü"/>
            </a:pPr>
            <a:r>
              <a:rPr lang="fr-FR" sz="1700" b="1" i="1" dirty="0" smtClean="0">
                <a:solidFill>
                  <a:srgbClr val="C00000"/>
                </a:solidFill>
                <a:latin typeface="Century Gothic" pitchFamily="34" charset="0"/>
              </a:rPr>
              <a:t>Constat </a:t>
            </a:r>
            <a:r>
              <a:rPr lang="fr-FR" sz="1700" b="1" i="1" dirty="0">
                <a:solidFill>
                  <a:srgbClr val="C00000"/>
                </a:solidFill>
                <a:latin typeface="Century Gothic" pitchFamily="34" charset="0"/>
              </a:rPr>
              <a:t>:</a:t>
            </a:r>
          </a:p>
          <a:p>
            <a:pPr marL="531813" indent="-258763" algn="just" eaLnBrk="0" hangingPunct="0">
              <a:buClr>
                <a:schemeClr val="tx1"/>
              </a:buClr>
              <a:buFont typeface="Wingdings" pitchFamily="2" charset="2"/>
              <a:buChar char="q"/>
            </a:pPr>
            <a:r>
              <a:rPr lang="fr-FR" sz="1700" b="1" dirty="0">
                <a:solidFill>
                  <a:srgbClr val="000080"/>
                </a:solidFill>
                <a:latin typeface="Century Gothic" pitchFamily="34" charset="0"/>
              </a:rPr>
              <a:t>Saturation des réseaux de 3</a:t>
            </a:r>
            <a:r>
              <a:rPr lang="fr-FR" sz="1700" b="1" baseline="30000" dirty="0">
                <a:solidFill>
                  <a:srgbClr val="000080"/>
                </a:solidFill>
                <a:latin typeface="Century Gothic" pitchFamily="34" charset="0"/>
              </a:rPr>
              <a:t>ème</a:t>
            </a:r>
            <a:r>
              <a:rPr lang="fr-FR" sz="1700" b="1" dirty="0">
                <a:solidFill>
                  <a:srgbClr val="000080"/>
                </a:solidFill>
                <a:latin typeface="Century Gothic" pitchFamily="34" charset="0"/>
              </a:rPr>
              <a:t> génération suite au développement </a:t>
            </a:r>
            <a:r>
              <a:rPr lang="fr-FR" sz="1700" b="1" dirty="0" smtClean="0">
                <a:solidFill>
                  <a:srgbClr val="000080"/>
                </a:solidFill>
                <a:latin typeface="Century Gothic" pitchFamily="34" charset="0"/>
              </a:rPr>
              <a:t>de </a:t>
            </a:r>
            <a:r>
              <a:rPr lang="fr-FR" sz="1700" b="1" dirty="0">
                <a:solidFill>
                  <a:srgbClr val="000080"/>
                </a:solidFill>
                <a:latin typeface="Century Gothic" pitchFamily="34" charset="0"/>
              </a:rPr>
              <a:t>l’usage de terminaux et d’applications exigeant plus de débits et de </a:t>
            </a:r>
            <a:r>
              <a:rPr lang="fr-FR" sz="1700" b="1" dirty="0" smtClean="0">
                <a:solidFill>
                  <a:srgbClr val="000080"/>
                </a:solidFill>
                <a:latin typeface="Century Gothic" pitchFamily="34" charset="0"/>
              </a:rPr>
              <a:t>capacités.</a:t>
            </a:r>
          </a:p>
          <a:p>
            <a:pPr marL="273050" algn="just" eaLnBrk="0" hangingPunct="0">
              <a:buClr>
                <a:schemeClr val="tx1"/>
              </a:buClr>
            </a:pPr>
            <a:endParaRPr lang="fr-FR" sz="1700" b="1" dirty="0">
              <a:solidFill>
                <a:srgbClr val="000080"/>
              </a:solidFill>
              <a:latin typeface="Century Gothic" pitchFamily="34" charset="0"/>
            </a:endParaRPr>
          </a:p>
          <a:p>
            <a:pPr marL="273050" lvl="1" indent="-273050" algn="just" eaLnBrk="0" hangingPunct="0">
              <a:buClr>
                <a:schemeClr val="tx1"/>
              </a:buClr>
              <a:buFont typeface="Wingdings" pitchFamily="2" charset="2"/>
              <a:buChar char="ü"/>
            </a:pPr>
            <a:r>
              <a:rPr lang="fr-FR" sz="1700" b="1" i="1" dirty="0">
                <a:solidFill>
                  <a:srgbClr val="C00000"/>
                </a:solidFill>
                <a:latin typeface="Century Gothic" pitchFamily="34" charset="0"/>
              </a:rPr>
              <a:t>Actions </a:t>
            </a:r>
            <a:r>
              <a:rPr lang="fr-FR" sz="1700" b="1" i="1" dirty="0" smtClean="0">
                <a:solidFill>
                  <a:srgbClr val="C00000"/>
                </a:solidFill>
                <a:latin typeface="Century Gothic" pitchFamily="34" charset="0"/>
              </a:rPr>
              <a:t>:</a:t>
            </a:r>
            <a:endParaRPr lang="fr-FR" sz="1700" b="1" i="1" dirty="0">
              <a:solidFill>
                <a:srgbClr val="C00000"/>
              </a:solidFill>
              <a:latin typeface="Century Gothic" pitchFamily="34" charset="0"/>
            </a:endParaRPr>
          </a:p>
          <a:p>
            <a:pPr marL="531813" indent="-258763" algn="just" eaLnBrk="0" hangingPunct="0">
              <a:buClr>
                <a:schemeClr val="tx1"/>
              </a:buClr>
              <a:buFont typeface="Wingdings" pitchFamily="2" charset="2"/>
              <a:buChar char="q"/>
            </a:pPr>
            <a:r>
              <a:rPr lang="fr-FR" sz="1700" b="1" dirty="0" smtClean="0">
                <a:solidFill>
                  <a:srgbClr val="000080"/>
                </a:solidFill>
                <a:latin typeface="Century Gothic" pitchFamily="34" charset="0"/>
              </a:rPr>
              <a:t>Réalisation </a:t>
            </a:r>
            <a:r>
              <a:rPr lang="fr-FR" sz="1700" b="1" dirty="0">
                <a:solidFill>
                  <a:srgbClr val="000080"/>
                </a:solidFill>
                <a:latin typeface="Century Gothic" pitchFamily="34" charset="0"/>
              </a:rPr>
              <a:t>par l’ANRT </a:t>
            </a:r>
            <a:r>
              <a:rPr lang="fr-FR" sz="1700" b="1" dirty="0" smtClean="0">
                <a:solidFill>
                  <a:srgbClr val="000080"/>
                </a:solidFill>
                <a:latin typeface="Century Gothic" pitchFamily="34" charset="0"/>
              </a:rPr>
              <a:t>d’une étude </a:t>
            </a:r>
            <a:r>
              <a:rPr lang="fr-FR" sz="1700" b="1" dirty="0">
                <a:solidFill>
                  <a:srgbClr val="000080"/>
                </a:solidFill>
                <a:latin typeface="Century Gothic" pitchFamily="34" charset="0"/>
              </a:rPr>
              <a:t>relative </a:t>
            </a:r>
            <a:r>
              <a:rPr lang="fr-FR" sz="1700" b="1" dirty="0" smtClean="0">
                <a:solidFill>
                  <a:srgbClr val="000080"/>
                </a:solidFill>
                <a:latin typeface="Century Gothic" pitchFamily="34" charset="0"/>
              </a:rPr>
              <a:t>à la détermination </a:t>
            </a:r>
            <a:r>
              <a:rPr lang="fr-FR" sz="1700" b="1" dirty="0">
                <a:solidFill>
                  <a:srgbClr val="000080"/>
                </a:solidFill>
                <a:latin typeface="Century Gothic" pitchFamily="34" charset="0"/>
              </a:rPr>
              <a:t>des modalités </a:t>
            </a:r>
            <a:r>
              <a:rPr lang="fr-FR" sz="1700" b="1" dirty="0" smtClean="0">
                <a:solidFill>
                  <a:srgbClr val="000080"/>
                </a:solidFill>
                <a:latin typeface="Century Gothic" pitchFamily="34" charset="0"/>
              </a:rPr>
              <a:t>d’octroi des </a:t>
            </a:r>
            <a:r>
              <a:rPr lang="fr-FR" sz="1700" b="1" dirty="0">
                <a:solidFill>
                  <a:srgbClr val="000080"/>
                </a:solidFill>
                <a:latin typeface="Century Gothic" pitchFamily="34" charset="0"/>
              </a:rPr>
              <a:t>licences 4G et présentation de ses </a:t>
            </a:r>
            <a:r>
              <a:rPr lang="fr-FR" sz="1700" b="1" dirty="0" smtClean="0">
                <a:solidFill>
                  <a:srgbClr val="000080"/>
                </a:solidFill>
                <a:latin typeface="Century Gothic" pitchFamily="34" charset="0"/>
              </a:rPr>
              <a:t>résultats au comité susvisé.</a:t>
            </a:r>
            <a:endParaRPr lang="fr-FR" sz="1700" b="1" dirty="0">
              <a:solidFill>
                <a:srgbClr val="000080"/>
              </a:solidFill>
              <a:latin typeface="Century Gothic" pitchFamily="34" charset="0"/>
            </a:endParaRPr>
          </a:p>
          <a:p>
            <a:pPr marL="531813" indent="-258763" algn="just" eaLnBrk="0" hangingPunct="0">
              <a:buClr>
                <a:schemeClr val="tx1"/>
              </a:buClr>
              <a:buFont typeface="Wingdings" pitchFamily="2" charset="2"/>
              <a:buChar char="q"/>
            </a:pPr>
            <a:r>
              <a:rPr lang="fr-FR" sz="1700" b="1" dirty="0" smtClean="0">
                <a:solidFill>
                  <a:srgbClr val="000080"/>
                </a:solidFill>
                <a:latin typeface="Century Gothic" pitchFamily="34" charset="0"/>
              </a:rPr>
              <a:t>Elaboration des termes définitifs de l’appel à concurrence, sur la base du rapport de synthèse de l’étude précitée.</a:t>
            </a:r>
            <a:endParaRPr lang="fr-FR" sz="1700" b="1" dirty="0">
              <a:solidFill>
                <a:srgbClr val="000080"/>
              </a:solidFill>
              <a:latin typeface="Century Gothic" pitchFamily="34" charset="0"/>
            </a:endParaRPr>
          </a:p>
          <a:p>
            <a:pPr marL="531813" indent="-258763" algn="just" eaLnBrk="0" hangingPunct="0">
              <a:buClr>
                <a:schemeClr val="tx1"/>
              </a:buClr>
              <a:buFont typeface="Wingdings" pitchFamily="2" charset="2"/>
              <a:buChar char="q"/>
            </a:pPr>
            <a:r>
              <a:rPr lang="fr-FR" sz="1700" b="1" dirty="0">
                <a:solidFill>
                  <a:srgbClr val="000080"/>
                </a:solidFill>
                <a:latin typeface="Century Gothic" pitchFamily="34" charset="0"/>
              </a:rPr>
              <a:t>Lancement de </a:t>
            </a:r>
            <a:r>
              <a:rPr lang="fr-FR" sz="1700" b="1" dirty="0" smtClean="0">
                <a:solidFill>
                  <a:srgbClr val="000080"/>
                </a:solidFill>
                <a:latin typeface="Century Gothic" pitchFamily="34" charset="0"/>
              </a:rPr>
              <a:t>l’appel à concurrence </a:t>
            </a:r>
            <a:r>
              <a:rPr lang="fr-FR" sz="1700" b="1" dirty="0">
                <a:solidFill>
                  <a:srgbClr val="000080"/>
                </a:solidFill>
                <a:latin typeface="Century Gothic" pitchFamily="34" charset="0"/>
              </a:rPr>
              <a:t>selon la procédure </a:t>
            </a:r>
            <a:r>
              <a:rPr lang="fr-FR" sz="1700" b="1" dirty="0" smtClean="0">
                <a:solidFill>
                  <a:srgbClr val="000080"/>
                </a:solidFill>
                <a:latin typeface="Century Gothic" pitchFamily="34" charset="0"/>
              </a:rPr>
              <a:t>réglementaire en vigueur.</a:t>
            </a:r>
          </a:p>
          <a:p>
            <a:pPr marL="273050" algn="just" eaLnBrk="0" hangingPunct="0">
              <a:buClr>
                <a:schemeClr val="tx1"/>
              </a:buClr>
            </a:pPr>
            <a:endParaRPr lang="fr-FR" sz="1700" b="1" dirty="0">
              <a:solidFill>
                <a:srgbClr val="000080"/>
              </a:solidFill>
              <a:latin typeface="Century Gothic" pitchFamily="34" charset="0"/>
            </a:endParaRPr>
          </a:p>
          <a:p>
            <a:pPr marL="273050" lvl="1" indent="-273050" algn="just" eaLnBrk="0" hangingPunct="0">
              <a:buClr>
                <a:schemeClr val="tx1"/>
              </a:buClr>
              <a:buFont typeface="Wingdings" pitchFamily="2" charset="2"/>
              <a:buChar char="ü"/>
            </a:pPr>
            <a:r>
              <a:rPr lang="fr-FR" sz="1700" b="1" i="1" dirty="0">
                <a:solidFill>
                  <a:srgbClr val="C00000"/>
                </a:solidFill>
                <a:latin typeface="Century Gothic" pitchFamily="34" charset="0"/>
              </a:rPr>
              <a:t>Résultat attendu :</a:t>
            </a:r>
          </a:p>
          <a:p>
            <a:pPr marL="531813" indent="-258763" algn="just" eaLnBrk="0" hangingPunct="0">
              <a:buClr>
                <a:schemeClr val="tx1"/>
              </a:buClr>
              <a:buFont typeface="Wingdings" pitchFamily="2" charset="2"/>
              <a:buChar char="q"/>
            </a:pPr>
            <a:r>
              <a:rPr lang="fr-FR" sz="1700" b="1" dirty="0" smtClean="0">
                <a:solidFill>
                  <a:srgbClr val="000080"/>
                </a:solidFill>
                <a:latin typeface="Century Gothic" pitchFamily="34" charset="0"/>
              </a:rPr>
              <a:t>Déploiement des technologies 4G au niveau national (lancement </a:t>
            </a:r>
            <a:r>
              <a:rPr lang="fr-FR" sz="1700" b="1" dirty="0">
                <a:solidFill>
                  <a:srgbClr val="000080"/>
                </a:solidFill>
                <a:latin typeface="Century Gothic" pitchFamily="34" charset="0"/>
              </a:rPr>
              <a:t>commercial du service </a:t>
            </a:r>
            <a:r>
              <a:rPr lang="fr-FR" sz="1700" b="1" dirty="0" smtClean="0">
                <a:solidFill>
                  <a:srgbClr val="000080"/>
                </a:solidFill>
                <a:latin typeface="Century Gothic" pitchFamily="34" charset="0"/>
              </a:rPr>
              <a:t>prévu en 2015).</a:t>
            </a:r>
            <a:endParaRPr lang="fr-FR" sz="1700" b="1" dirty="0">
              <a:solidFill>
                <a:srgbClr val="000080"/>
              </a:solidFill>
              <a:latin typeface="Century Gothic" pitchFamily="34" charset="0"/>
            </a:endParaRPr>
          </a:p>
        </p:txBody>
      </p:sp>
      <p:sp>
        <p:nvSpPr>
          <p:cNvPr id="3" name="Title1"/>
          <p:cNvSpPr>
            <a:spLocks noGrp="1" noChangeArrowheads="1"/>
          </p:cNvSpPr>
          <p:nvPr>
            <p:ph type="title"/>
            <p:custDataLst>
              <p:tags r:id="rId2"/>
            </p:custDataLst>
          </p:nvPr>
        </p:nvSpPr>
        <p:spPr>
          <a:xfrm>
            <a:off x="2089548" y="214313"/>
            <a:ext cx="6399359" cy="622300"/>
          </a:xfrm>
          <a:solidFill>
            <a:srgbClr val="C0C0C0"/>
          </a:solidFill>
        </p:spPr>
        <p:txBody>
          <a:bodyPr/>
          <a:lstStyle/>
          <a:p>
            <a:pPr lvl="1" algn="ctr">
              <a:spcBef>
                <a:spcPts val="0"/>
              </a:spcBef>
              <a:defRPr/>
            </a:pPr>
            <a:r>
              <a:rPr lang="fr-FR" sz="2000" b="1" i="1" kern="1200" dirty="0">
                <a:solidFill>
                  <a:srgbClr val="0560E5"/>
                </a:solidFill>
                <a:latin typeface="Century Gothic" pitchFamily="34" charset="0"/>
                <a:cs typeface="Arial" pitchFamily="34" charset="0"/>
              </a:rPr>
              <a:t>Haut débit par des solutions terrestres </a:t>
            </a:r>
            <a:r>
              <a:rPr lang="fr-FR" sz="2000" b="1" i="1" kern="1200" dirty="0" smtClean="0">
                <a:solidFill>
                  <a:srgbClr val="0560E5"/>
                </a:solidFill>
                <a:latin typeface="Century Gothic" pitchFamily="34" charset="0"/>
                <a:cs typeface="Arial" pitchFamily="34" charset="0"/>
              </a:rPr>
              <a:t>: </a:t>
            </a:r>
            <a:r>
              <a:rPr lang="fr-FR" sz="2000" b="1" i="1" kern="1200" dirty="0">
                <a:solidFill>
                  <a:srgbClr val="960000"/>
                </a:solidFill>
                <a:latin typeface="Century Gothic" pitchFamily="34" charset="0"/>
                <a:cs typeface="Arial" pitchFamily="34" charset="0"/>
              </a:rPr>
              <a:t>Licences </a:t>
            </a:r>
            <a:r>
              <a:rPr lang="fr-FR" sz="2000" b="1" i="1" kern="1200" dirty="0" smtClean="0">
                <a:solidFill>
                  <a:srgbClr val="960000"/>
                </a:solidFill>
                <a:latin typeface="Century Gothic" pitchFamily="34" charset="0"/>
                <a:cs typeface="Arial" pitchFamily="34" charset="0"/>
              </a:rPr>
              <a:t>mobiles de 4</a:t>
            </a:r>
            <a:r>
              <a:rPr lang="fr-FR" sz="2000" b="1" i="1" kern="1200" baseline="30000" dirty="0" smtClean="0">
                <a:solidFill>
                  <a:srgbClr val="960000"/>
                </a:solidFill>
                <a:latin typeface="Century Gothic" pitchFamily="34" charset="0"/>
                <a:cs typeface="Arial" pitchFamily="34" charset="0"/>
              </a:rPr>
              <a:t>ème</a:t>
            </a:r>
            <a:r>
              <a:rPr lang="fr-FR" sz="2000" b="1" i="1" kern="1200" dirty="0" smtClean="0">
                <a:solidFill>
                  <a:srgbClr val="960000"/>
                </a:solidFill>
                <a:latin typeface="Century Gothic" pitchFamily="34" charset="0"/>
                <a:cs typeface="Arial" pitchFamily="34" charset="0"/>
              </a:rPr>
              <a:t> Génération (4G/LTE)</a:t>
            </a:r>
            <a:endParaRPr lang="fr-FR" sz="1800" b="1" i="1" kern="1200" dirty="0" smtClean="0">
              <a:solidFill>
                <a:srgbClr val="0560E5"/>
              </a:solidFill>
              <a:latin typeface="Century Gothic" pitchFamily="34" charset="0"/>
              <a:ea typeface="+mn-ea"/>
              <a:cs typeface="Arial" pitchFamily="34" charset="0"/>
            </a:endParaRPr>
          </a:p>
        </p:txBody>
      </p:sp>
      <p:pic>
        <p:nvPicPr>
          <p:cNvPr id="4" name="Image 3"/>
          <p:cNvPicPr/>
          <p:nvPr/>
        </p:nvPicPr>
        <p:blipFill>
          <a:blip r:embed="rId5">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250141057"/>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KMA6C131B"/>
          <p:cNvSpPr>
            <a:spLocks noChangeArrowheads="1"/>
          </p:cNvSpPr>
          <p:nvPr>
            <p:custDataLst>
              <p:tags r:id="rId1"/>
            </p:custDataLst>
          </p:nvPr>
        </p:nvSpPr>
        <p:spPr bwMode="auto">
          <a:xfrm>
            <a:off x="0" y="1131202"/>
            <a:ext cx="9906000" cy="4524128"/>
          </a:xfrm>
          <a:prstGeom prst="rect">
            <a:avLst/>
          </a:prstGeom>
          <a:noFill/>
          <a:ln w="9525" algn="ctr">
            <a:noFill/>
            <a:miter lim="800000"/>
            <a:headEnd/>
            <a:tailEnd/>
          </a:ln>
        </p:spPr>
        <p:txBody>
          <a:bodyPr lIns="42579" tIns="42579" rIns="42579" bIns="42579">
            <a:spAutoFit/>
          </a:bodyPr>
          <a:lstStyle/>
          <a:p>
            <a:pPr marL="0" lvl="1" algn="just" eaLnBrk="0" hangingPunct="0">
              <a:spcBef>
                <a:spcPts val="0"/>
              </a:spcBef>
              <a:buClr>
                <a:schemeClr val="tx1"/>
              </a:buClr>
              <a:defRPr/>
            </a:pPr>
            <a:endParaRPr lang="fr-FR" sz="1700" b="1" i="1" dirty="0" smtClean="0">
              <a:solidFill>
                <a:srgbClr val="C00000"/>
              </a:solidFill>
              <a:latin typeface="Century Gothic" pitchFamily="34" charset="0"/>
              <a:cs typeface="Arial" pitchFamily="34" charset="0"/>
            </a:endParaRPr>
          </a:p>
          <a:p>
            <a:pPr marL="273050" lvl="1" indent="-273050" algn="just" eaLnBrk="0" hangingPunct="0">
              <a:spcBef>
                <a:spcPts val="0"/>
              </a:spcBef>
              <a:buClr>
                <a:schemeClr val="tx1"/>
              </a:buClr>
              <a:buFont typeface="Wingdings" pitchFamily="2" charset="2"/>
              <a:buChar char="ü"/>
              <a:defRPr/>
            </a:pPr>
            <a:r>
              <a:rPr lang="fr-FR" sz="1700" b="1" i="1" dirty="0" smtClean="0">
                <a:solidFill>
                  <a:srgbClr val="C00000"/>
                </a:solidFill>
                <a:latin typeface="Century Gothic" pitchFamily="34" charset="0"/>
                <a:cs typeface="Arial" pitchFamily="34" charset="0"/>
              </a:rPr>
              <a:t>Constat </a:t>
            </a:r>
            <a:r>
              <a:rPr lang="fr-FR" sz="1700" b="1" i="1" dirty="0">
                <a:solidFill>
                  <a:srgbClr val="C00000"/>
                </a:solidFill>
                <a:latin typeface="Century Gothic" pitchFamily="34" charset="0"/>
                <a:cs typeface="Arial" pitchFamily="34" charset="0"/>
              </a:rPr>
              <a:t>:</a:t>
            </a:r>
          </a:p>
          <a:p>
            <a:pPr marL="273050" algn="just" eaLnBrk="0" hangingPunct="0">
              <a:spcBef>
                <a:spcPts val="0"/>
              </a:spcBef>
              <a:buClr>
                <a:schemeClr val="tx1"/>
              </a:buClr>
              <a:defRPr/>
            </a:pPr>
            <a:r>
              <a:rPr lang="fr-FR" sz="1700" b="1" dirty="0">
                <a:solidFill>
                  <a:srgbClr val="000080"/>
                </a:solidFill>
                <a:latin typeface="Century Gothic" pitchFamily="34" charset="0"/>
                <a:cs typeface="Arial" pitchFamily="34" charset="0"/>
              </a:rPr>
              <a:t>La technologie Wifi permet de donner accès à Internet haut débit sans fil. Elle peut venir en appui aux réseaux haut débit fixes et </a:t>
            </a:r>
            <a:r>
              <a:rPr lang="fr-FR" sz="1700" b="1" dirty="0" smtClean="0">
                <a:solidFill>
                  <a:srgbClr val="000080"/>
                </a:solidFill>
                <a:latin typeface="Century Gothic" pitchFamily="34" charset="0"/>
                <a:cs typeface="Arial" pitchFamily="34" charset="0"/>
              </a:rPr>
              <a:t>mobiles existants, pour l’amélioration </a:t>
            </a:r>
            <a:r>
              <a:rPr lang="fr-FR" sz="1700" b="1" dirty="0">
                <a:solidFill>
                  <a:srgbClr val="000080"/>
                </a:solidFill>
                <a:latin typeface="Century Gothic" pitchFamily="34" charset="0"/>
                <a:cs typeface="Arial" pitchFamily="34" charset="0"/>
              </a:rPr>
              <a:t>des débits offerts aux utilisateurs finaux.</a:t>
            </a:r>
          </a:p>
          <a:p>
            <a:pPr marL="273050" algn="just" eaLnBrk="0" hangingPunct="0">
              <a:spcBef>
                <a:spcPts val="0"/>
              </a:spcBef>
              <a:buClr>
                <a:schemeClr val="tx1"/>
              </a:buClr>
              <a:defRPr/>
            </a:pPr>
            <a:endParaRPr lang="fr-FR" sz="1000" b="1" dirty="0">
              <a:solidFill>
                <a:srgbClr val="000080"/>
              </a:solidFill>
              <a:latin typeface="Century Gothic" pitchFamily="34" charset="0"/>
              <a:cs typeface="Arial" pitchFamily="34" charset="0"/>
            </a:endParaRPr>
          </a:p>
          <a:p>
            <a:pPr marL="273050" lvl="1" indent="-273050" algn="just" eaLnBrk="0" hangingPunct="0">
              <a:spcBef>
                <a:spcPts val="0"/>
              </a:spcBef>
              <a:buClr>
                <a:schemeClr val="tx1"/>
              </a:buClr>
              <a:buFont typeface="Wingdings" pitchFamily="2" charset="2"/>
              <a:buChar char="ü"/>
              <a:defRPr/>
            </a:pPr>
            <a:r>
              <a:rPr lang="fr-FR" sz="1700" b="1" i="1" dirty="0">
                <a:solidFill>
                  <a:srgbClr val="C00000"/>
                </a:solidFill>
                <a:latin typeface="Century Gothic" pitchFamily="34" charset="0"/>
                <a:cs typeface="Arial" pitchFamily="34" charset="0"/>
              </a:rPr>
              <a:t>Actions </a:t>
            </a:r>
            <a:r>
              <a:rPr lang="fr-FR" sz="1700" b="1" i="1" dirty="0" smtClean="0">
                <a:solidFill>
                  <a:srgbClr val="C00000"/>
                </a:solidFill>
                <a:latin typeface="Century Gothic" pitchFamily="34" charset="0"/>
                <a:cs typeface="Arial" pitchFamily="34" charset="0"/>
              </a:rPr>
              <a:t>:</a:t>
            </a:r>
            <a:endParaRPr lang="fr-FR" sz="1700" b="1" i="1" dirty="0">
              <a:solidFill>
                <a:srgbClr val="C00000"/>
              </a:solidFill>
              <a:latin typeface="Century Gothic" pitchFamily="34" charset="0"/>
              <a:cs typeface="Arial" pitchFamily="34" charset="0"/>
            </a:endParaRPr>
          </a:p>
          <a:p>
            <a:pPr marL="536575" lvl="1" indent="-263525" algn="just" eaLnBrk="0" hangingPunct="0">
              <a:spcBef>
                <a:spcPct val="20000"/>
              </a:spcBef>
              <a:buClr>
                <a:schemeClr val="tx1"/>
              </a:buClr>
              <a:buFont typeface="Wingdings" pitchFamily="2" charset="2"/>
              <a:buChar char="q"/>
              <a:defRPr/>
            </a:pPr>
            <a:r>
              <a:rPr lang="fr-FR" sz="1700" b="1" dirty="0" smtClean="0">
                <a:solidFill>
                  <a:srgbClr val="000080"/>
                </a:solidFill>
                <a:latin typeface="Century Gothic" pitchFamily="34" charset="0"/>
                <a:cs typeface="Arial" pitchFamily="34" charset="0"/>
              </a:rPr>
              <a:t>Réaménagement et libération </a:t>
            </a:r>
            <a:r>
              <a:rPr lang="fr-FR" sz="1700" b="1" dirty="0">
                <a:solidFill>
                  <a:srgbClr val="000080"/>
                </a:solidFill>
                <a:latin typeface="Century Gothic" pitchFamily="34" charset="0"/>
                <a:cs typeface="Arial" pitchFamily="34" charset="0"/>
              </a:rPr>
              <a:t>de la bande de fréquence </a:t>
            </a:r>
            <a:r>
              <a:rPr lang="fr-FR" sz="1700" b="1" dirty="0" smtClean="0">
                <a:solidFill>
                  <a:srgbClr val="000080"/>
                </a:solidFill>
                <a:latin typeface="Century Gothic" pitchFamily="34" charset="0"/>
                <a:cs typeface="Arial" pitchFamily="34" charset="0"/>
              </a:rPr>
              <a:t>WIFI Outdoor, </a:t>
            </a:r>
            <a:r>
              <a:rPr lang="fr-FR" sz="1700" b="1" dirty="0">
                <a:solidFill>
                  <a:srgbClr val="000080"/>
                </a:solidFill>
                <a:latin typeface="Century Gothic" pitchFamily="34" charset="0"/>
                <a:cs typeface="Arial" pitchFamily="34" charset="0"/>
              </a:rPr>
              <a:t>occupée actuellement </a:t>
            </a:r>
            <a:r>
              <a:rPr lang="fr-FR" sz="1700" b="1" dirty="0" smtClean="0">
                <a:solidFill>
                  <a:srgbClr val="000080"/>
                </a:solidFill>
                <a:latin typeface="Century Gothic" pitchFamily="34" charset="0"/>
                <a:cs typeface="Arial" pitchFamily="34" charset="0"/>
              </a:rPr>
              <a:t>par </a:t>
            </a:r>
            <a:r>
              <a:rPr lang="fr-FR" sz="1700" b="1" dirty="0">
                <a:solidFill>
                  <a:srgbClr val="000080"/>
                </a:solidFill>
                <a:latin typeface="Century Gothic" pitchFamily="34" charset="0"/>
                <a:cs typeface="Arial" pitchFamily="34" charset="0"/>
              </a:rPr>
              <a:t>certains services. </a:t>
            </a:r>
            <a:endParaRPr lang="fr-FR" sz="1700" b="1" dirty="0" smtClean="0">
              <a:solidFill>
                <a:srgbClr val="000080"/>
              </a:solidFill>
              <a:latin typeface="Century Gothic" pitchFamily="34" charset="0"/>
              <a:cs typeface="Arial" pitchFamily="34" charset="0"/>
            </a:endParaRPr>
          </a:p>
          <a:p>
            <a:pPr marL="536575" lvl="1" indent="-263525" algn="just" eaLnBrk="0" hangingPunct="0">
              <a:spcBef>
                <a:spcPct val="20000"/>
              </a:spcBef>
              <a:buClr>
                <a:schemeClr val="tx1"/>
              </a:buClr>
              <a:buFont typeface="Wingdings" pitchFamily="2" charset="2"/>
              <a:buChar char="q"/>
              <a:defRPr/>
            </a:pPr>
            <a:r>
              <a:rPr lang="fr-FR" sz="1700" b="1" dirty="0" smtClean="0">
                <a:solidFill>
                  <a:srgbClr val="000080"/>
                </a:solidFill>
                <a:latin typeface="Century Gothic" pitchFamily="34" charset="0"/>
                <a:cs typeface="Arial" pitchFamily="34" charset="0"/>
              </a:rPr>
              <a:t>Déploiement </a:t>
            </a:r>
            <a:r>
              <a:rPr lang="fr-FR" sz="1700" b="1" dirty="0">
                <a:solidFill>
                  <a:srgbClr val="000080"/>
                </a:solidFill>
                <a:latin typeface="Century Gothic" pitchFamily="34" charset="0"/>
                <a:cs typeface="Arial" pitchFamily="34" charset="0"/>
              </a:rPr>
              <a:t>libre </a:t>
            </a:r>
            <a:r>
              <a:rPr lang="fr-FR" sz="1700" b="1" dirty="0" smtClean="0">
                <a:solidFill>
                  <a:srgbClr val="000080"/>
                </a:solidFill>
                <a:latin typeface="Century Gothic" pitchFamily="34" charset="0"/>
                <a:cs typeface="Arial" pitchFamily="34" charset="0"/>
              </a:rPr>
              <a:t>des </a:t>
            </a:r>
            <a:r>
              <a:rPr lang="fr-FR" sz="1700" b="1" dirty="0">
                <a:solidFill>
                  <a:srgbClr val="000080"/>
                </a:solidFill>
                <a:latin typeface="Century Gothic" pitchFamily="34" charset="0"/>
                <a:cs typeface="Arial" pitchFamily="34" charset="0"/>
              </a:rPr>
              <a:t>réseaux WIFI Outdoor au </a:t>
            </a:r>
            <a:r>
              <a:rPr lang="fr-FR" sz="1700" b="1" dirty="0" smtClean="0">
                <a:solidFill>
                  <a:srgbClr val="000080"/>
                </a:solidFill>
                <a:latin typeface="Century Gothic" pitchFamily="34" charset="0"/>
                <a:cs typeface="Arial" pitchFamily="34" charset="0"/>
              </a:rPr>
              <a:t>Maroc principalement par les opérateurs </a:t>
            </a:r>
            <a:r>
              <a:rPr lang="fr-FR" sz="1700" b="1" dirty="0">
                <a:solidFill>
                  <a:srgbClr val="000080"/>
                </a:solidFill>
                <a:latin typeface="Century Gothic" pitchFamily="34" charset="0"/>
                <a:cs typeface="Arial" pitchFamily="34" charset="0"/>
              </a:rPr>
              <a:t>de télécommunications terrestres titulaires de licence fixes.</a:t>
            </a:r>
          </a:p>
          <a:p>
            <a:pPr marL="536575" lvl="1" indent="-263525" algn="just" eaLnBrk="0" hangingPunct="0">
              <a:spcBef>
                <a:spcPct val="20000"/>
              </a:spcBef>
              <a:buClr>
                <a:schemeClr val="tx1"/>
              </a:buClr>
              <a:buFont typeface="Wingdings" pitchFamily="2" charset="2"/>
              <a:buChar char="q"/>
              <a:defRPr/>
            </a:pPr>
            <a:r>
              <a:rPr lang="fr-FR" sz="1700" b="1" dirty="0">
                <a:solidFill>
                  <a:srgbClr val="000080"/>
                </a:solidFill>
                <a:latin typeface="Century Gothic" pitchFamily="34" charset="0"/>
                <a:cs typeface="Arial" pitchFamily="34" charset="0"/>
              </a:rPr>
              <a:t>Fixation </a:t>
            </a:r>
            <a:r>
              <a:rPr lang="fr-FR" sz="1700" b="1" dirty="0" smtClean="0">
                <a:solidFill>
                  <a:srgbClr val="000080"/>
                </a:solidFill>
                <a:latin typeface="Century Gothic" pitchFamily="34" charset="0"/>
                <a:cs typeface="Arial" pitchFamily="34" charset="0"/>
              </a:rPr>
              <a:t>par l’ANRT des conditions techniques d’exploitation </a:t>
            </a:r>
            <a:r>
              <a:rPr lang="fr-FR" sz="1700" b="1" dirty="0">
                <a:solidFill>
                  <a:srgbClr val="000080"/>
                </a:solidFill>
                <a:latin typeface="Century Gothic" pitchFamily="34" charset="0"/>
                <a:cs typeface="Arial" pitchFamily="34" charset="0"/>
              </a:rPr>
              <a:t>de la bande de fréquences WIFI </a:t>
            </a:r>
            <a:r>
              <a:rPr lang="fr-FR" sz="1700" b="1" dirty="0" smtClean="0">
                <a:solidFill>
                  <a:srgbClr val="000080"/>
                </a:solidFill>
                <a:latin typeface="Century Gothic" pitchFamily="34" charset="0"/>
                <a:cs typeface="Arial" pitchFamily="34" charset="0"/>
              </a:rPr>
              <a:t>Outdoor.</a:t>
            </a:r>
            <a:endParaRPr lang="fr-FR" sz="1700" b="1" dirty="0">
              <a:solidFill>
                <a:srgbClr val="000080"/>
              </a:solidFill>
              <a:latin typeface="Century Gothic" pitchFamily="34" charset="0"/>
              <a:cs typeface="Arial" pitchFamily="34" charset="0"/>
            </a:endParaRPr>
          </a:p>
          <a:p>
            <a:pPr marL="273050" lvl="1" algn="just" eaLnBrk="0" hangingPunct="0">
              <a:spcBef>
                <a:spcPct val="20000"/>
              </a:spcBef>
              <a:buClr>
                <a:schemeClr val="tx1"/>
              </a:buClr>
              <a:defRPr/>
            </a:pPr>
            <a:endParaRPr lang="fr-FR" sz="1100" b="1" dirty="0">
              <a:solidFill>
                <a:srgbClr val="000080"/>
              </a:solidFill>
              <a:latin typeface="Century Gothic" pitchFamily="34" charset="0"/>
              <a:cs typeface="Arial" pitchFamily="34" charset="0"/>
            </a:endParaRPr>
          </a:p>
          <a:p>
            <a:pPr marL="273050" lvl="1" indent="-273050" algn="just" eaLnBrk="0" hangingPunct="0">
              <a:buClr>
                <a:schemeClr val="tx1"/>
              </a:buClr>
              <a:buFont typeface="Wingdings" pitchFamily="2" charset="2"/>
              <a:buChar char="ü"/>
              <a:defRPr/>
            </a:pPr>
            <a:r>
              <a:rPr lang="fr-FR" sz="1700" b="1" i="1" dirty="0">
                <a:solidFill>
                  <a:srgbClr val="C00000"/>
                </a:solidFill>
                <a:latin typeface="Century Gothic" pitchFamily="34" charset="0"/>
              </a:rPr>
              <a:t>Résultat attendu :</a:t>
            </a:r>
          </a:p>
          <a:p>
            <a:pPr marL="531813" indent="-258763" algn="just" eaLnBrk="0" hangingPunct="0">
              <a:buClr>
                <a:schemeClr val="tx1"/>
              </a:buClr>
              <a:buFont typeface="Wingdings" pitchFamily="2" charset="2"/>
              <a:buChar char="q"/>
              <a:defRPr/>
            </a:pPr>
            <a:r>
              <a:rPr lang="fr-FR" sz="1700" b="1" dirty="0">
                <a:solidFill>
                  <a:srgbClr val="000080"/>
                </a:solidFill>
                <a:latin typeface="Century Gothic" pitchFamily="34" charset="0"/>
              </a:rPr>
              <a:t>Lancement du déploiement des réseaux Wi-Fi en Outdoor par les opérateurs </a:t>
            </a:r>
            <a:r>
              <a:rPr lang="fr-FR" sz="1700" dirty="0" smtClean="0">
                <a:solidFill>
                  <a:srgbClr val="000080"/>
                </a:solidFill>
                <a:latin typeface="Century Gothic" pitchFamily="34" charset="0"/>
              </a:rPr>
              <a:t>depuis </a:t>
            </a:r>
            <a:r>
              <a:rPr lang="fr-FR" sz="1700" b="1" dirty="0" smtClean="0">
                <a:solidFill>
                  <a:srgbClr val="000080"/>
                </a:solidFill>
                <a:latin typeface="Century Gothic" pitchFamily="34" charset="0"/>
              </a:rPr>
              <a:t>2013.</a:t>
            </a:r>
            <a:endParaRPr lang="fr-FR" sz="1700" b="1" dirty="0">
              <a:solidFill>
                <a:srgbClr val="000080"/>
              </a:solidFill>
              <a:latin typeface="Century Gothic" pitchFamily="34" charset="0"/>
              <a:cs typeface="Arial" pitchFamily="34" charset="0"/>
            </a:endParaRPr>
          </a:p>
        </p:txBody>
      </p:sp>
      <p:sp>
        <p:nvSpPr>
          <p:cNvPr id="3" name="Title1"/>
          <p:cNvSpPr>
            <a:spLocks noGrp="1" noChangeArrowheads="1"/>
          </p:cNvSpPr>
          <p:nvPr>
            <p:ph type="title"/>
            <p:custDataLst>
              <p:tags r:id="rId2"/>
            </p:custDataLst>
          </p:nvPr>
        </p:nvSpPr>
        <p:spPr>
          <a:xfrm>
            <a:off x="2089549" y="214313"/>
            <a:ext cx="6372064" cy="622300"/>
          </a:xfrm>
          <a:solidFill>
            <a:srgbClr val="C0C0C0"/>
          </a:solidFill>
        </p:spPr>
        <p:txBody>
          <a:bodyPr/>
          <a:lstStyle/>
          <a:p>
            <a:pPr algn="ctr">
              <a:spcBef>
                <a:spcPts val="0"/>
              </a:spcBef>
              <a:defRPr/>
            </a:pPr>
            <a:r>
              <a:rPr lang="fr-FR" sz="2000" i="1" kern="1200" dirty="0">
                <a:solidFill>
                  <a:srgbClr val="0560E5"/>
                </a:solidFill>
                <a:latin typeface="Century Gothic" pitchFamily="34" charset="0"/>
                <a:cs typeface="Arial" pitchFamily="34" charset="0"/>
              </a:rPr>
              <a:t>Haut débit par des solutions terrestres</a:t>
            </a:r>
            <a:r>
              <a:rPr lang="fr-FR" sz="2000" i="1" kern="1200" dirty="0" smtClean="0">
                <a:solidFill>
                  <a:srgbClr val="0560E5"/>
                </a:solidFill>
                <a:latin typeface="Century Gothic" pitchFamily="34" charset="0"/>
                <a:cs typeface="Arial" pitchFamily="34" charset="0"/>
              </a:rPr>
              <a:t> </a:t>
            </a:r>
            <a:r>
              <a:rPr lang="fr-FR" sz="2000" i="1" kern="1200" dirty="0">
                <a:solidFill>
                  <a:srgbClr val="0560E5"/>
                </a:solidFill>
                <a:latin typeface="Century Gothic" pitchFamily="34" charset="0"/>
                <a:cs typeface="Arial" pitchFamily="34" charset="0"/>
              </a:rPr>
              <a:t>: </a:t>
            </a:r>
            <a:r>
              <a:rPr lang="fr-FR" sz="2000" i="1" kern="1200" dirty="0" smtClean="0">
                <a:solidFill>
                  <a:srgbClr val="960000"/>
                </a:solidFill>
                <a:latin typeface="Arial" pitchFamily="34" charset="0"/>
                <a:ea typeface="+mn-ea"/>
                <a:cs typeface="Arial" pitchFamily="34" charset="0"/>
              </a:rPr>
              <a:t>Déploiement de réseaux WIFI Outdoor</a:t>
            </a:r>
          </a:p>
        </p:txBody>
      </p:sp>
      <p:pic>
        <p:nvPicPr>
          <p:cNvPr id="4" name="Image 3"/>
          <p:cNvPicPr/>
          <p:nvPr/>
        </p:nvPicPr>
        <p:blipFill>
          <a:blip r:embed="rId5">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3519241824"/>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KMA6C131B"/>
          <p:cNvSpPr>
            <a:spLocks noChangeArrowheads="1"/>
          </p:cNvSpPr>
          <p:nvPr>
            <p:custDataLst>
              <p:tags r:id="rId1"/>
            </p:custDataLst>
          </p:nvPr>
        </p:nvSpPr>
        <p:spPr bwMode="auto">
          <a:xfrm>
            <a:off x="-32676" y="1267548"/>
            <a:ext cx="9906001" cy="4394861"/>
          </a:xfrm>
          <a:prstGeom prst="rect">
            <a:avLst/>
          </a:prstGeom>
          <a:noFill/>
          <a:ln w="9525" algn="ctr">
            <a:noFill/>
            <a:miter lim="800000"/>
            <a:headEnd/>
            <a:tailEnd/>
          </a:ln>
        </p:spPr>
        <p:txBody>
          <a:bodyPr lIns="42579" tIns="42579" rIns="42579" bIns="42579">
            <a:spAutoFit/>
          </a:bodyPr>
          <a:lstStyle/>
          <a:p>
            <a:pPr marL="273050" lvl="1" indent="-273050" algn="just" eaLnBrk="0" hangingPunct="0">
              <a:buClr>
                <a:schemeClr val="tx1"/>
              </a:buClr>
              <a:buFont typeface="Wingdings" pitchFamily="2" charset="2"/>
              <a:buChar char="ü"/>
              <a:defRPr/>
            </a:pPr>
            <a:r>
              <a:rPr lang="fr-FR" sz="1400" b="1" i="1" dirty="0">
                <a:solidFill>
                  <a:srgbClr val="C00000"/>
                </a:solidFill>
                <a:latin typeface="Century Gothic" pitchFamily="34" charset="0"/>
                <a:cs typeface="Arial" pitchFamily="34" charset="0"/>
              </a:rPr>
              <a:t>Constat :</a:t>
            </a:r>
          </a:p>
          <a:p>
            <a:pPr marL="534988" indent="-261938" algn="just" eaLnBrk="0" hangingPunct="0">
              <a:buClr>
                <a:schemeClr val="tx1"/>
              </a:buClr>
              <a:buFont typeface="Wingdings" pitchFamily="2" charset="2"/>
              <a:buChar char="q"/>
              <a:defRPr/>
            </a:pPr>
            <a:r>
              <a:rPr lang="fr-FR" sz="1400" b="1" dirty="0" smtClean="0">
                <a:solidFill>
                  <a:srgbClr val="000080"/>
                </a:solidFill>
                <a:latin typeface="Century Gothic" pitchFamily="34" charset="0"/>
                <a:cs typeface="Arial" pitchFamily="34" charset="0"/>
              </a:rPr>
              <a:t>Plusieurs localités et zones sont dépourvues de couverture haut débit.</a:t>
            </a:r>
            <a:endParaRPr lang="fr-FR" sz="1400" b="1" dirty="0">
              <a:solidFill>
                <a:srgbClr val="000080"/>
              </a:solidFill>
              <a:latin typeface="Century Gothic" pitchFamily="34" charset="0"/>
              <a:cs typeface="Arial" pitchFamily="34" charset="0"/>
            </a:endParaRPr>
          </a:p>
          <a:p>
            <a:pPr marL="534988" indent="-261938" algn="just" eaLnBrk="0" hangingPunct="0">
              <a:buClr>
                <a:schemeClr val="tx1"/>
              </a:buClr>
              <a:buFont typeface="Wingdings" pitchFamily="2" charset="2"/>
              <a:buChar char="q"/>
              <a:defRPr/>
            </a:pPr>
            <a:r>
              <a:rPr lang="fr-FR" sz="1400" b="1" dirty="0">
                <a:solidFill>
                  <a:srgbClr val="000080"/>
                </a:solidFill>
                <a:latin typeface="Century Gothic" pitchFamily="34" charset="0"/>
                <a:cs typeface="Arial" pitchFamily="34" charset="0"/>
              </a:rPr>
              <a:t>Les réseaux de collecte et de transmission des opérateurs sont principalement constitués de liens en faisceaux hertziens </a:t>
            </a:r>
            <a:r>
              <a:rPr lang="fr-FR" sz="1400" b="1" dirty="0" smtClean="0">
                <a:solidFill>
                  <a:srgbClr val="000080"/>
                </a:solidFill>
                <a:latin typeface="Century Gothic" pitchFamily="34" charset="0"/>
                <a:cs typeface="Arial" pitchFamily="34" charset="0"/>
              </a:rPr>
              <a:t>limitant de fait la </a:t>
            </a:r>
            <a:r>
              <a:rPr lang="fr-FR" sz="1400" b="1" dirty="0">
                <a:solidFill>
                  <a:srgbClr val="000080"/>
                </a:solidFill>
                <a:latin typeface="Century Gothic" pitchFamily="34" charset="0"/>
                <a:cs typeface="Arial" pitchFamily="34" charset="0"/>
              </a:rPr>
              <a:t>fourniture de services haut </a:t>
            </a:r>
            <a:r>
              <a:rPr lang="fr-FR" sz="1400" b="1" dirty="0" smtClean="0">
                <a:solidFill>
                  <a:srgbClr val="000080"/>
                </a:solidFill>
                <a:latin typeface="Century Gothic" pitchFamily="34" charset="0"/>
                <a:cs typeface="Arial" pitchFamily="34" charset="0"/>
              </a:rPr>
              <a:t>débit.</a:t>
            </a:r>
            <a:endParaRPr lang="fr-FR" sz="1400" b="1" dirty="0">
              <a:solidFill>
                <a:srgbClr val="000080"/>
              </a:solidFill>
              <a:latin typeface="Century Gothic" pitchFamily="34" charset="0"/>
              <a:cs typeface="Arial" pitchFamily="34" charset="0"/>
            </a:endParaRPr>
          </a:p>
          <a:p>
            <a:pPr marL="273050" algn="just" eaLnBrk="0" hangingPunct="0">
              <a:buClr>
                <a:schemeClr val="tx1"/>
              </a:buClr>
              <a:defRPr/>
            </a:pPr>
            <a:endParaRPr lang="fr-FR" sz="1400" dirty="0">
              <a:solidFill>
                <a:srgbClr val="000080"/>
              </a:solidFill>
              <a:latin typeface="Century Gothic" pitchFamily="34" charset="0"/>
              <a:cs typeface="Arial" pitchFamily="34" charset="0"/>
            </a:endParaRPr>
          </a:p>
          <a:p>
            <a:pPr marL="273050" lvl="1" indent="-273050" algn="just" eaLnBrk="0" hangingPunct="0">
              <a:buClr>
                <a:schemeClr val="tx1"/>
              </a:buClr>
              <a:buFont typeface="Wingdings" pitchFamily="2" charset="2"/>
              <a:buChar char="ü"/>
              <a:defRPr/>
            </a:pPr>
            <a:r>
              <a:rPr lang="fr-FR" sz="1400" b="1" i="1" dirty="0">
                <a:solidFill>
                  <a:srgbClr val="C00000"/>
                </a:solidFill>
                <a:latin typeface="Century Gothic" pitchFamily="34" charset="0"/>
                <a:cs typeface="Arial" pitchFamily="34" charset="0"/>
              </a:rPr>
              <a:t>Actions </a:t>
            </a:r>
            <a:r>
              <a:rPr lang="fr-FR" sz="1400" b="1" i="1" dirty="0" smtClean="0">
                <a:solidFill>
                  <a:srgbClr val="C00000"/>
                </a:solidFill>
                <a:latin typeface="Century Gothic" pitchFamily="34" charset="0"/>
                <a:cs typeface="Arial" pitchFamily="34" charset="0"/>
              </a:rPr>
              <a:t>:</a:t>
            </a:r>
            <a:endParaRPr lang="fr-FR" sz="1400" b="1" i="1" dirty="0">
              <a:solidFill>
                <a:srgbClr val="C00000"/>
              </a:solidFill>
              <a:latin typeface="Century Gothic" pitchFamily="34" charset="0"/>
              <a:cs typeface="Arial" pitchFamily="34" charset="0"/>
            </a:endParaRPr>
          </a:p>
          <a:p>
            <a:pPr marL="534988" lvl="1" indent="-261938" algn="just" eaLnBrk="0" hangingPunct="0">
              <a:buClr>
                <a:schemeClr val="tx1"/>
              </a:buClr>
              <a:buFont typeface="Wingdings" pitchFamily="2" charset="2"/>
              <a:buChar char="q"/>
              <a:defRPr/>
            </a:pPr>
            <a:r>
              <a:rPr lang="fr-FR" sz="1400" b="1" dirty="0">
                <a:solidFill>
                  <a:srgbClr val="000080"/>
                </a:solidFill>
                <a:latin typeface="Century Gothic" pitchFamily="34" charset="0"/>
                <a:cs typeface="Arial" pitchFamily="34" charset="0"/>
              </a:rPr>
              <a:t>Classer les communes marocaines en trois catégorie de zones distinctes : </a:t>
            </a:r>
          </a:p>
          <a:p>
            <a:pPr marL="1016000" lvl="3" indent="-285750" algn="just" eaLnBrk="0" hangingPunct="0">
              <a:buClr>
                <a:schemeClr val="tx1"/>
              </a:buClr>
              <a:buFont typeface="Wingdings" pitchFamily="2" charset="2"/>
              <a:buChar char="ü"/>
              <a:defRPr/>
            </a:pPr>
            <a:r>
              <a:rPr lang="fr-FR" sz="1400" b="1" dirty="0">
                <a:solidFill>
                  <a:srgbClr val="000080"/>
                </a:solidFill>
                <a:latin typeface="Century Gothic" pitchFamily="34" charset="0"/>
                <a:cs typeface="Arial" pitchFamily="34" charset="0"/>
              </a:rPr>
              <a:t>Noires : communes ne nécessitant pas d’intervention publique ;</a:t>
            </a:r>
          </a:p>
          <a:p>
            <a:pPr marL="1016000" lvl="3" indent="-285750" algn="just" eaLnBrk="0" hangingPunct="0">
              <a:buClr>
                <a:schemeClr val="tx1"/>
              </a:buClr>
              <a:buFont typeface="Wingdings" pitchFamily="2" charset="2"/>
              <a:buChar char="ü"/>
              <a:defRPr/>
            </a:pPr>
            <a:r>
              <a:rPr lang="fr-FR" sz="1400" b="1" dirty="0">
                <a:solidFill>
                  <a:srgbClr val="000080"/>
                </a:solidFill>
                <a:latin typeface="Century Gothic" pitchFamily="34" charset="0"/>
                <a:cs typeface="Arial" pitchFamily="34" charset="0"/>
              </a:rPr>
              <a:t>Grises : communes où le déploiement d’infrastructures n’est rentable que pour un seul opérateur ;</a:t>
            </a:r>
          </a:p>
          <a:p>
            <a:pPr marL="1016000" lvl="3" indent="-285750" algn="just" eaLnBrk="0" hangingPunct="0">
              <a:buClr>
                <a:schemeClr val="tx1"/>
              </a:buClr>
              <a:buFont typeface="Wingdings" pitchFamily="2" charset="2"/>
              <a:buChar char="ü"/>
              <a:defRPr/>
            </a:pPr>
            <a:r>
              <a:rPr lang="fr-FR" sz="1400" b="1" dirty="0">
                <a:solidFill>
                  <a:srgbClr val="000080"/>
                </a:solidFill>
                <a:latin typeface="Century Gothic" pitchFamily="34" charset="0"/>
                <a:cs typeface="Arial" pitchFamily="34" charset="0"/>
              </a:rPr>
              <a:t>Blanches : communes où le déploiement d’infrastructures nécessite une intervention publique pour permettre, soit une couverture terrestre, soit une couverture par satellite.</a:t>
            </a:r>
          </a:p>
          <a:p>
            <a:pPr marL="534988" indent="-261938" algn="just" eaLnBrk="0" hangingPunct="0">
              <a:buClr>
                <a:schemeClr val="tx1"/>
              </a:buClr>
              <a:buFont typeface="Wingdings" pitchFamily="2" charset="2"/>
              <a:buChar char="q"/>
              <a:defRPr/>
            </a:pPr>
            <a:r>
              <a:rPr lang="fr-FR" sz="1400" b="1" dirty="0" smtClean="0">
                <a:solidFill>
                  <a:srgbClr val="000080"/>
                </a:solidFill>
                <a:latin typeface="Century Gothic" pitchFamily="34" charset="0"/>
                <a:cs typeface="Arial" pitchFamily="34" charset="0"/>
              </a:rPr>
              <a:t>Pour </a:t>
            </a:r>
            <a:r>
              <a:rPr lang="fr-FR" sz="1400" b="1" dirty="0">
                <a:solidFill>
                  <a:srgbClr val="000080"/>
                </a:solidFill>
                <a:latin typeface="Century Gothic" pitchFamily="34" charset="0"/>
                <a:cs typeface="Arial" pitchFamily="34" charset="0"/>
              </a:rPr>
              <a:t>les zones blanches et grises, </a:t>
            </a:r>
            <a:r>
              <a:rPr lang="fr-FR" sz="1400" b="1" dirty="0" smtClean="0">
                <a:solidFill>
                  <a:srgbClr val="000080"/>
                </a:solidFill>
                <a:latin typeface="Century Gothic" pitchFamily="34" charset="0"/>
                <a:cs typeface="Arial" pitchFamily="34" charset="0"/>
              </a:rPr>
              <a:t>il sera procédé :</a:t>
            </a:r>
            <a:endParaRPr lang="fr-FR" sz="1400" b="1" dirty="0">
              <a:solidFill>
                <a:srgbClr val="000080"/>
              </a:solidFill>
              <a:latin typeface="Century Gothic" pitchFamily="34" charset="0"/>
              <a:cs typeface="Arial" pitchFamily="34" charset="0"/>
            </a:endParaRPr>
          </a:p>
          <a:p>
            <a:pPr marL="1016000" lvl="3" indent="-285750" algn="just" eaLnBrk="0" hangingPunct="0">
              <a:buClr>
                <a:schemeClr val="tx1"/>
              </a:buClr>
              <a:buFont typeface="Wingdings" pitchFamily="2" charset="2"/>
              <a:buChar char="ü"/>
              <a:defRPr/>
            </a:pPr>
            <a:r>
              <a:rPr lang="fr-FR" sz="1400" b="1" dirty="0" smtClean="0">
                <a:solidFill>
                  <a:srgbClr val="000080"/>
                </a:solidFill>
                <a:latin typeface="Century Gothic" pitchFamily="34" charset="0"/>
                <a:cs typeface="Arial" pitchFamily="34" charset="0"/>
              </a:rPr>
              <a:t>Au lancement d’appels à projets pour la couverture desdites zones, partiellement financés par le FSUT. </a:t>
            </a:r>
          </a:p>
          <a:p>
            <a:pPr marL="1016000" lvl="3" indent="-285750" algn="just" eaLnBrk="0" hangingPunct="0">
              <a:buClr>
                <a:schemeClr val="tx1"/>
              </a:buClr>
              <a:buFont typeface="Wingdings" pitchFamily="2" charset="2"/>
              <a:buChar char="ü"/>
              <a:defRPr/>
            </a:pPr>
            <a:r>
              <a:rPr lang="fr-FR" sz="1400" b="1" dirty="0" smtClean="0">
                <a:solidFill>
                  <a:srgbClr val="000080"/>
                </a:solidFill>
                <a:latin typeface="Century Gothic" pitchFamily="34" charset="0"/>
                <a:cs typeface="Arial" pitchFamily="34" charset="0"/>
              </a:rPr>
              <a:t>A l’encouragement de projets de </a:t>
            </a:r>
            <a:r>
              <a:rPr lang="fr-FR" sz="1400" b="1" dirty="0" err="1" smtClean="0">
                <a:solidFill>
                  <a:srgbClr val="000080"/>
                </a:solidFill>
                <a:latin typeface="Century Gothic" pitchFamily="34" charset="0"/>
                <a:cs typeface="Arial" pitchFamily="34" charset="0"/>
              </a:rPr>
              <a:t>co</a:t>
            </a:r>
            <a:r>
              <a:rPr lang="fr-FR" sz="1400" b="1" dirty="0" smtClean="0">
                <a:solidFill>
                  <a:srgbClr val="000080"/>
                </a:solidFill>
                <a:latin typeface="Century Gothic" pitchFamily="34" charset="0"/>
                <a:cs typeface="Arial" pitchFamily="34" charset="0"/>
              </a:rPr>
              <a:t>-investissement</a:t>
            </a:r>
            <a:r>
              <a:rPr lang="fr-FR" sz="1400" b="1" dirty="0">
                <a:solidFill>
                  <a:srgbClr val="000080"/>
                </a:solidFill>
                <a:latin typeface="Century Gothic" pitchFamily="34" charset="0"/>
                <a:cs typeface="Arial" pitchFamily="34" charset="0"/>
              </a:rPr>
              <a:t> entre opérateurs pour le renforcement des </a:t>
            </a:r>
            <a:r>
              <a:rPr lang="fr-FR" sz="1400" b="1" dirty="0" smtClean="0">
                <a:solidFill>
                  <a:srgbClr val="000080"/>
                </a:solidFill>
                <a:latin typeface="Century Gothic" pitchFamily="34" charset="0"/>
                <a:cs typeface="Arial" pitchFamily="34" charset="0"/>
              </a:rPr>
              <a:t>capacités des réseaux des opérateurs et </a:t>
            </a:r>
            <a:r>
              <a:rPr lang="fr-FR" sz="1400" b="1" dirty="0">
                <a:solidFill>
                  <a:srgbClr val="000080"/>
                </a:solidFill>
                <a:latin typeface="Century Gothic" pitchFamily="34" charset="0"/>
                <a:cs typeface="Arial" pitchFamily="34" charset="0"/>
              </a:rPr>
              <a:t>le remplacement des réseaux de collecte en faisceaux hertziens par de la fibre optique. </a:t>
            </a:r>
          </a:p>
          <a:p>
            <a:pPr marL="265113" lvl="3" indent="-265113" algn="just" eaLnBrk="0" hangingPunct="0">
              <a:buClr>
                <a:schemeClr val="tx1"/>
              </a:buClr>
              <a:buFont typeface="Wingdings" pitchFamily="2" charset="2"/>
              <a:buChar char="ü"/>
              <a:defRPr/>
            </a:pPr>
            <a:r>
              <a:rPr lang="fr-FR" sz="1400" i="1" dirty="0" smtClean="0">
                <a:solidFill>
                  <a:srgbClr val="C00000"/>
                </a:solidFill>
                <a:latin typeface="Century Gothic" pitchFamily="34" charset="0"/>
                <a:cs typeface="Arial" pitchFamily="34" charset="0"/>
              </a:rPr>
              <a:t>Résultat</a:t>
            </a:r>
            <a:r>
              <a:rPr lang="fr-FR" sz="1400" b="1" i="1" dirty="0" smtClean="0">
                <a:solidFill>
                  <a:srgbClr val="C00000"/>
                </a:solidFill>
                <a:latin typeface="Century Gothic" pitchFamily="34" charset="0"/>
                <a:cs typeface="Arial" pitchFamily="34" charset="0"/>
              </a:rPr>
              <a:t> :</a:t>
            </a:r>
          </a:p>
          <a:p>
            <a:pPr marL="531813" indent="-258763" algn="just" eaLnBrk="0" hangingPunct="0">
              <a:buClr>
                <a:schemeClr val="tx1"/>
              </a:buClr>
              <a:buFont typeface="Wingdings" pitchFamily="2" charset="2"/>
              <a:buChar char="q"/>
              <a:defRPr/>
            </a:pPr>
            <a:r>
              <a:rPr lang="fr-FR" sz="1400" b="1" dirty="0" smtClean="0">
                <a:solidFill>
                  <a:srgbClr val="000080"/>
                </a:solidFill>
                <a:latin typeface="Century Gothic" pitchFamily="34" charset="0"/>
              </a:rPr>
              <a:t>Réalisation dans le cadre du SU des </a:t>
            </a:r>
            <a:r>
              <a:rPr lang="fr-FR" sz="1400" b="1" dirty="0">
                <a:solidFill>
                  <a:srgbClr val="000080"/>
                </a:solidFill>
                <a:latin typeface="Century Gothic" pitchFamily="34" charset="0"/>
              </a:rPr>
              <a:t>projets de couverture des communes et localités non couvertes en services haut débit dans le cadre d’appels à projets, conformément à la procédure </a:t>
            </a:r>
            <a:r>
              <a:rPr lang="fr-FR" sz="1400" b="1" dirty="0" smtClean="0">
                <a:solidFill>
                  <a:srgbClr val="000080"/>
                </a:solidFill>
                <a:latin typeface="Century Gothic" pitchFamily="34" charset="0"/>
              </a:rPr>
              <a:t>du SU. </a:t>
            </a:r>
            <a:endParaRPr lang="fr-FR" sz="1400" b="1" dirty="0">
              <a:solidFill>
                <a:srgbClr val="000080"/>
              </a:solidFill>
              <a:latin typeface="Century Gothic" pitchFamily="34" charset="0"/>
              <a:cs typeface="Arial" pitchFamily="34" charset="0"/>
            </a:endParaRPr>
          </a:p>
        </p:txBody>
      </p:sp>
      <p:sp>
        <p:nvSpPr>
          <p:cNvPr id="3" name="Title1"/>
          <p:cNvSpPr>
            <a:spLocks noGrp="1" noChangeArrowheads="1"/>
          </p:cNvSpPr>
          <p:nvPr>
            <p:ph type="title"/>
            <p:custDataLst>
              <p:tags r:id="rId2"/>
            </p:custDataLst>
          </p:nvPr>
        </p:nvSpPr>
        <p:spPr>
          <a:xfrm>
            <a:off x="2089549" y="214313"/>
            <a:ext cx="6385712" cy="622300"/>
          </a:xfrm>
          <a:solidFill>
            <a:srgbClr val="C0C0C0"/>
          </a:solidFill>
        </p:spPr>
        <p:txBody>
          <a:bodyPr/>
          <a:lstStyle/>
          <a:p>
            <a:pPr algn="ctr">
              <a:spcBef>
                <a:spcPts val="0"/>
              </a:spcBef>
              <a:defRPr/>
            </a:pPr>
            <a:r>
              <a:rPr lang="fr-FR" sz="2000" i="1" kern="1200" dirty="0">
                <a:solidFill>
                  <a:srgbClr val="0560E5"/>
                </a:solidFill>
                <a:latin typeface="Century Gothic" pitchFamily="34" charset="0"/>
                <a:cs typeface="Arial" pitchFamily="34" charset="0"/>
              </a:rPr>
              <a:t>Haut débit par des solutions terrestres</a:t>
            </a:r>
            <a:r>
              <a:rPr lang="fr-FR" sz="2000" i="1" kern="1200" dirty="0" smtClean="0">
                <a:solidFill>
                  <a:srgbClr val="0560E5"/>
                </a:solidFill>
                <a:latin typeface="Century Gothic" pitchFamily="34" charset="0"/>
                <a:cs typeface="Arial" pitchFamily="34" charset="0"/>
              </a:rPr>
              <a:t> </a:t>
            </a:r>
            <a:r>
              <a:rPr lang="fr-FR" sz="2000" i="1" kern="1200" dirty="0">
                <a:solidFill>
                  <a:srgbClr val="0560E5"/>
                </a:solidFill>
                <a:latin typeface="Century Gothic" pitchFamily="34" charset="0"/>
                <a:cs typeface="Arial" pitchFamily="34" charset="0"/>
              </a:rPr>
              <a:t>: </a:t>
            </a:r>
            <a:r>
              <a:rPr lang="fr-FR" sz="2000" i="1" kern="1200" dirty="0" smtClean="0">
                <a:solidFill>
                  <a:srgbClr val="960000"/>
                </a:solidFill>
                <a:latin typeface="Century Gothic" pitchFamily="34" charset="0"/>
                <a:ea typeface="+mn-ea"/>
                <a:cs typeface="Arial" pitchFamily="34" charset="0"/>
              </a:rPr>
              <a:t>Renforcement des infrastructures optiques</a:t>
            </a:r>
          </a:p>
        </p:txBody>
      </p:sp>
      <p:pic>
        <p:nvPicPr>
          <p:cNvPr id="4" name="Image 3"/>
          <p:cNvPicPr/>
          <p:nvPr/>
        </p:nvPicPr>
        <p:blipFill>
          <a:blip r:embed="rId5">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278433820"/>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ChangeArrowheads="1"/>
          </p:cNvSpPr>
          <p:nvPr/>
        </p:nvSpPr>
        <p:spPr bwMode="auto">
          <a:xfrm>
            <a:off x="0" y="2714625"/>
            <a:ext cx="9906000" cy="928688"/>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nchor="ctr"/>
          <a:lstStyle/>
          <a:p>
            <a:pPr marL="0" lvl="1" algn="ctr" defTabSz="912813"/>
            <a:endParaRPr lang="fr-FR" sz="2000" b="1" i="1" dirty="0">
              <a:solidFill>
                <a:srgbClr val="00B0F0"/>
              </a:solidFill>
              <a:latin typeface="Century Gothic" pitchFamily="34" charset="0"/>
            </a:endParaRPr>
          </a:p>
          <a:p>
            <a:pPr marL="0" lvl="1" algn="ctr" defTabSz="912813"/>
            <a:r>
              <a:rPr lang="fr-FR" sz="2000" b="1" i="1" dirty="0">
                <a:solidFill>
                  <a:srgbClr val="7030A0"/>
                </a:solidFill>
                <a:latin typeface="Century Gothic" pitchFamily="34" charset="0"/>
              </a:rPr>
              <a:t>Haut débit par des solutions satellitaires</a:t>
            </a:r>
          </a:p>
          <a:p>
            <a:pPr algn="ctr" defTabSz="912813"/>
            <a:endParaRPr lang="fr-FR" sz="2000" b="1" i="1" dirty="0">
              <a:solidFill>
                <a:srgbClr val="00B0F0"/>
              </a:solidFill>
              <a:latin typeface="Century Gothic" pitchFamily="34" charset="0"/>
            </a:endParaRPr>
          </a:p>
        </p:txBody>
      </p:sp>
      <p:pic>
        <p:nvPicPr>
          <p:cNvPr id="3" name="Image 2"/>
          <p:cNvPicPr/>
          <p:nvPr/>
        </p:nvPicPr>
        <p:blipFill>
          <a:blip r:embed="rId3">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3049542087"/>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ChangeArrowheads="1"/>
          </p:cNvSpPr>
          <p:nvPr/>
        </p:nvSpPr>
        <p:spPr bwMode="auto">
          <a:xfrm>
            <a:off x="0" y="2349501"/>
            <a:ext cx="9906000" cy="201612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nchor="ct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0"/>
              </a:spcBef>
              <a:buFontTx/>
              <a:buNone/>
            </a:pPr>
            <a:r>
              <a:rPr lang="fr-FR" altLang="fr-FR" sz="2800" dirty="0">
                <a:solidFill>
                  <a:srgbClr val="C00000"/>
                </a:solidFill>
                <a:latin typeface="Arial" charset="0"/>
                <a:cs typeface="Arial" charset="0"/>
              </a:rPr>
              <a:t>Secteur des </a:t>
            </a:r>
            <a:r>
              <a:rPr lang="fr-FR" altLang="fr-FR" sz="2800" dirty="0" smtClean="0">
                <a:solidFill>
                  <a:srgbClr val="C00000"/>
                </a:solidFill>
                <a:latin typeface="Arial" charset="0"/>
                <a:cs typeface="Arial" charset="0"/>
              </a:rPr>
              <a:t>télécommunications en </a:t>
            </a:r>
            <a:r>
              <a:rPr lang="fr-FR" altLang="fr-FR" sz="2800" dirty="0">
                <a:solidFill>
                  <a:srgbClr val="C00000"/>
                </a:solidFill>
                <a:latin typeface="Arial" charset="0"/>
                <a:cs typeface="Arial" charset="0"/>
              </a:rPr>
              <a:t>chiffres </a:t>
            </a:r>
            <a:r>
              <a:rPr lang="fr-FR" altLang="fr-FR" sz="2800" dirty="0" smtClean="0">
                <a:solidFill>
                  <a:srgbClr val="C00000"/>
                </a:solidFill>
                <a:latin typeface="Arial" charset="0"/>
                <a:cs typeface="Arial" charset="0"/>
              </a:rPr>
              <a:t>(Déc.2013)</a:t>
            </a:r>
          </a:p>
          <a:p>
            <a:pPr algn="ctr" eaLnBrk="1" hangingPunct="1">
              <a:spcBef>
                <a:spcPct val="0"/>
              </a:spcBef>
              <a:buFontTx/>
              <a:buNone/>
            </a:pPr>
            <a:endParaRPr lang="fr-FR" altLang="fr-FR" sz="2800" dirty="0">
              <a:solidFill>
                <a:srgbClr val="C00000"/>
              </a:solidFill>
              <a:latin typeface="Arial" charset="0"/>
              <a:cs typeface="Arial" charset="0"/>
            </a:endParaRPr>
          </a:p>
          <a:p>
            <a:pPr algn="ctr" eaLnBrk="1" hangingPunct="1">
              <a:spcBef>
                <a:spcPct val="0"/>
              </a:spcBef>
              <a:buNone/>
            </a:pPr>
            <a:r>
              <a:rPr lang="fr-FR" altLang="fr-FR" sz="2800" dirty="0" smtClean="0">
                <a:solidFill>
                  <a:srgbClr val="0005A1"/>
                </a:solidFill>
                <a:latin typeface="Arial" charset="0"/>
              </a:rPr>
              <a:t>Des évolutions positives du parc et des usages</a:t>
            </a:r>
            <a:endParaRPr lang="fr-FR" altLang="fr-FR" sz="2800" dirty="0">
              <a:solidFill>
                <a:srgbClr val="C00000"/>
              </a:solidFill>
              <a:latin typeface="Arial" charset="0"/>
            </a:endParaRPr>
          </a:p>
          <a:p>
            <a:pPr algn="ctr" eaLnBrk="1" hangingPunct="1">
              <a:spcBef>
                <a:spcPct val="0"/>
              </a:spcBef>
              <a:buFontTx/>
              <a:buNone/>
            </a:pPr>
            <a:endParaRPr lang="fr-FR" altLang="fr-FR" sz="2800" dirty="0">
              <a:solidFill>
                <a:srgbClr val="C00000"/>
              </a:solidFill>
              <a:latin typeface="Arial" charset="0"/>
              <a:cs typeface="Arial" charset="0"/>
            </a:endParaRPr>
          </a:p>
        </p:txBody>
      </p:sp>
      <p:pic>
        <p:nvPicPr>
          <p:cNvPr id="3" name="Image 2"/>
          <p:cNvPicPr/>
          <p:nvPr/>
        </p:nvPicPr>
        <p:blipFill>
          <a:blip r:embed="rId3">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2906862258"/>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KMA6C131B"/>
          <p:cNvSpPr>
            <a:spLocks noChangeArrowheads="1"/>
          </p:cNvSpPr>
          <p:nvPr>
            <p:custDataLst>
              <p:tags r:id="rId1"/>
            </p:custDataLst>
          </p:nvPr>
        </p:nvSpPr>
        <p:spPr bwMode="auto">
          <a:xfrm>
            <a:off x="0" y="1952673"/>
            <a:ext cx="9906000" cy="4010141"/>
          </a:xfrm>
          <a:prstGeom prst="rect">
            <a:avLst/>
          </a:prstGeom>
          <a:noFill/>
          <a:ln w="9525" algn="ctr">
            <a:noFill/>
            <a:miter lim="800000"/>
            <a:headEnd/>
            <a:tailEnd/>
          </a:ln>
        </p:spPr>
        <p:txBody>
          <a:bodyPr lIns="42579" tIns="42579" rIns="42579" bIns="42579">
            <a:spAutoFit/>
          </a:bodyPr>
          <a:lstStyle/>
          <a:p>
            <a:pPr marL="273050" lvl="1" indent="-273050" algn="just" eaLnBrk="0" hangingPunct="0">
              <a:spcBef>
                <a:spcPts val="0"/>
              </a:spcBef>
              <a:buClr>
                <a:schemeClr val="tx1"/>
              </a:buClr>
              <a:buFont typeface="Wingdings" pitchFamily="2" charset="2"/>
              <a:buChar char="ü"/>
              <a:defRPr/>
            </a:pPr>
            <a:r>
              <a:rPr lang="fr-FR" sz="1700" b="1" i="1" dirty="0">
                <a:solidFill>
                  <a:srgbClr val="C00000"/>
                </a:solidFill>
                <a:latin typeface="Century Gothic" pitchFamily="34" charset="0"/>
                <a:cs typeface="Arial" pitchFamily="34" charset="0"/>
              </a:rPr>
              <a:t>Constat :</a:t>
            </a:r>
          </a:p>
          <a:p>
            <a:pPr marL="0" lvl="1" algn="just" eaLnBrk="0" hangingPunct="0">
              <a:spcBef>
                <a:spcPts val="0"/>
              </a:spcBef>
              <a:buClr>
                <a:schemeClr val="tx1"/>
              </a:buClr>
              <a:defRPr/>
            </a:pPr>
            <a:r>
              <a:rPr lang="fr-FR" sz="1700" b="1" dirty="0">
                <a:solidFill>
                  <a:srgbClr val="000080"/>
                </a:solidFill>
                <a:latin typeface="Century Gothic" pitchFamily="34" charset="0"/>
                <a:cs typeface="Arial" pitchFamily="34" charset="0"/>
              </a:rPr>
              <a:t>La mise en œuvre des actions précitées permet de couvrir en haut débit une grande partie de la  population. Toutefois :</a:t>
            </a:r>
          </a:p>
          <a:p>
            <a:pPr marL="534988" indent="-261938" algn="just" eaLnBrk="0" hangingPunct="0">
              <a:spcBef>
                <a:spcPts val="0"/>
              </a:spcBef>
              <a:buClr>
                <a:schemeClr val="tx1"/>
              </a:buClr>
              <a:buFont typeface="Wingdings" pitchFamily="2" charset="2"/>
              <a:buChar char="q"/>
              <a:defRPr/>
            </a:pPr>
            <a:r>
              <a:rPr lang="fr-FR" sz="1700" b="1" dirty="0">
                <a:solidFill>
                  <a:srgbClr val="000080"/>
                </a:solidFill>
                <a:latin typeface="Century Gothic" pitchFamily="34" charset="0"/>
                <a:cs typeface="Arial" pitchFamily="34" charset="0"/>
              </a:rPr>
              <a:t>le reste de la population et la majorité du territoire </a:t>
            </a:r>
            <a:r>
              <a:rPr lang="fr-FR" sz="1700" b="1" dirty="0" smtClean="0">
                <a:solidFill>
                  <a:srgbClr val="000080"/>
                </a:solidFill>
                <a:latin typeface="Century Gothic" pitchFamily="34" charset="0"/>
                <a:cs typeface="Arial" pitchFamily="34" charset="0"/>
              </a:rPr>
              <a:t>ne </a:t>
            </a:r>
            <a:r>
              <a:rPr lang="fr-FR" sz="1700" b="1" dirty="0">
                <a:solidFill>
                  <a:srgbClr val="000080"/>
                </a:solidFill>
                <a:latin typeface="Century Gothic" pitchFamily="34" charset="0"/>
                <a:cs typeface="Arial" pitchFamily="34" charset="0"/>
              </a:rPr>
              <a:t>peuvent être couverts par des solutions technologiques terrestres (fixes ou mobiles).</a:t>
            </a:r>
          </a:p>
          <a:p>
            <a:pPr marL="534988" lvl="1" indent="-261938" algn="just" eaLnBrk="0" hangingPunct="0">
              <a:spcBef>
                <a:spcPts val="0"/>
              </a:spcBef>
              <a:buClr>
                <a:schemeClr val="tx1"/>
              </a:buClr>
              <a:buFont typeface="Wingdings" pitchFamily="2" charset="2"/>
              <a:buChar char="q"/>
              <a:defRPr/>
            </a:pPr>
            <a:r>
              <a:rPr lang="fr-FR" sz="1700" b="1" dirty="0">
                <a:solidFill>
                  <a:srgbClr val="000080"/>
                </a:solidFill>
                <a:latin typeface="Century Gothic" pitchFamily="34" charset="0"/>
                <a:cs typeface="Arial" pitchFamily="34" charset="0"/>
              </a:rPr>
              <a:t>le délai de déploiement du plan haut débit par des solutions terrestres, estimé à dix ans, pourrait retarder le déploiement de certains projets gouvernementaux à fort impact social dans les zones éloignées et/ou moins rentable.</a:t>
            </a:r>
          </a:p>
          <a:p>
            <a:pPr marL="273050" lvl="1" indent="-273050" algn="just" eaLnBrk="0" hangingPunct="0">
              <a:spcBef>
                <a:spcPts val="0"/>
              </a:spcBef>
              <a:buClr>
                <a:schemeClr val="tx1"/>
              </a:buClr>
              <a:buFont typeface="Wingdings" pitchFamily="2" charset="2"/>
              <a:buChar char="ü"/>
              <a:defRPr/>
            </a:pPr>
            <a:endParaRPr lang="fr-FR" sz="1700" b="1" i="1" dirty="0" smtClean="0">
              <a:solidFill>
                <a:srgbClr val="C00000"/>
              </a:solidFill>
              <a:latin typeface="Century Gothic" pitchFamily="34" charset="0"/>
              <a:cs typeface="Arial" pitchFamily="34" charset="0"/>
            </a:endParaRPr>
          </a:p>
          <a:p>
            <a:pPr marL="273050" lvl="1" indent="-273050" algn="just" eaLnBrk="0" hangingPunct="0">
              <a:spcBef>
                <a:spcPts val="0"/>
              </a:spcBef>
              <a:buClr>
                <a:schemeClr val="tx1"/>
              </a:buClr>
              <a:buFont typeface="Wingdings" pitchFamily="2" charset="2"/>
              <a:buChar char="ü"/>
              <a:defRPr/>
            </a:pPr>
            <a:r>
              <a:rPr lang="fr-FR" sz="1700" b="1" i="1" dirty="0" smtClean="0">
                <a:solidFill>
                  <a:srgbClr val="C00000"/>
                </a:solidFill>
                <a:latin typeface="Century Gothic" pitchFamily="34" charset="0"/>
                <a:cs typeface="Arial" pitchFamily="34" charset="0"/>
              </a:rPr>
              <a:t>Solution </a:t>
            </a:r>
            <a:r>
              <a:rPr lang="fr-FR" sz="1700" b="1" i="1" dirty="0">
                <a:solidFill>
                  <a:srgbClr val="C00000"/>
                </a:solidFill>
                <a:latin typeface="Century Gothic" pitchFamily="34" charset="0"/>
                <a:cs typeface="Arial" pitchFamily="34" charset="0"/>
              </a:rPr>
              <a:t>préconisée :</a:t>
            </a:r>
          </a:p>
          <a:p>
            <a:pPr marL="531813" indent="-258763" algn="just" eaLnBrk="0" hangingPunct="0">
              <a:spcBef>
                <a:spcPts val="0"/>
              </a:spcBef>
              <a:buClr>
                <a:schemeClr val="tx1"/>
              </a:buClr>
              <a:buFont typeface="Wingdings" pitchFamily="2" charset="2"/>
              <a:buChar char="q"/>
              <a:defRPr/>
            </a:pPr>
            <a:r>
              <a:rPr lang="fr-FR" sz="1700" b="1" dirty="0" smtClean="0">
                <a:solidFill>
                  <a:srgbClr val="000080"/>
                </a:solidFill>
                <a:latin typeface="Century Gothic" pitchFamily="34" charset="0"/>
                <a:cs typeface="Arial" pitchFamily="34" charset="0"/>
              </a:rPr>
              <a:t>Le recours </a:t>
            </a:r>
            <a:r>
              <a:rPr lang="fr-FR" sz="1700" b="1" dirty="0">
                <a:solidFill>
                  <a:srgbClr val="000080"/>
                </a:solidFill>
                <a:latin typeface="Century Gothic" pitchFamily="34" charset="0"/>
                <a:cs typeface="Arial" pitchFamily="34" charset="0"/>
              </a:rPr>
              <a:t>à une solution satellitaire pour répondre aux besoins </a:t>
            </a:r>
            <a:r>
              <a:rPr lang="fr-FR" sz="1700" b="1" dirty="0" smtClean="0">
                <a:solidFill>
                  <a:srgbClr val="000080"/>
                </a:solidFill>
                <a:latin typeface="Century Gothic" pitchFamily="34" charset="0"/>
                <a:cs typeface="Arial" pitchFamily="34" charset="0"/>
              </a:rPr>
              <a:t>en télécommunications (HD), </a:t>
            </a:r>
            <a:r>
              <a:rPr lang="fr-FR" sz="1700" b="1" dirty="0">
                <a:solidFill>
                  <a:srgbClr val="000080"/>
                </a:solidFill>
                <a:latin typeface="Century Gothic" pitchFamily="34" charset="0"/>
                <a:cs typeface="Arial" pitchFamily="34" charset="0"/>
              </a:rPr>
              <a:t>en services audiovisuels et aux besoins de la sécurité </a:t>
            </a:r>
            <a:r>
              <a:rPr lang="fr-FR" sz="1700" b="1" dirty="0" smtClean="0">
                <a:solidFill>
                  <a:srgbClr val="000080"/>
                </a:solidFill>
                <a:latin typeface="Century Gothic" pitchFamily="34" charset="0"/>
                <a:cs typeface="Arial" pitchFamily="34" charset="0"/>
              </a:rPr>
              <a:t>nationale. </a:t>
            </a:r>
            <a:endParaRPr lang="fr-FR" sz="1700" b="1" dirty="0">
              <a:solidFill>
                <a:srgbClr val="000080"/>
              </a:solidFill>
              <a:latin typeface="Century Gothic" pitchFamily="34" charset="0"/>
              <a:cs typeface="Arial" pitchFamily="34" charset="0"/>
            </a:endParaRPr>
          </a:p>
          <a:p>
            <a:pPr marL="273050" lvl="1" indent="-273050" algn="just" eaLnBrk="0" hangingPunct="0">
              <a:spcBef>
                <a:spcPts val="0"/>
              </a:spcBef>
              <a:buClr>
                <a:schemeClr val="tx1"/>
              </a:buClr>
              <a:buFont typeface="Wingdings" pitchFamily="2" charset="2"/>
              <a:buChar char="ü"/>
              <a:defRPr/>
            </a:pPr>
            <a:endParaRPr lang="fr-FR" sz="1700" b="1" dirty="0">
              <a:solidFill>
                <a:srgbClr val="000080"/>
              </a:solidFill>
              <a:latin typeface="Century Gothic" pitchFamily="34" charset="0"/>
              <a:cs typeface="Arial" pitchFamily="34" charset="0"/>
            </a:endParaRPr>
          </a:p>
          <a:p>
            <a:pPr marL="273050" algn="just" eaLnBrk="0" hangingPunct="0">
              <a:spcBef>
                <a:spcPts val="0"/>
              </a:spcBef>
              <a:buClr>
                <a:schemeClr val="tx1"/>
              </a:buClr>
              <a:defRPr/>
            </a:pPr>
            <a:endParaRPr lang="fr-FR" sz="1700" b="1" dirty="0">
              <a:solidFill>
                <a:srgbClr val="000080"/>
              </a:solidFill>
              <a:latin typeface="Century Gothic" pitchFamily="34" charset="0"/>
              <a:cs typeface="Arial" pitchFamily="34" charset="0"/>
            </a:endParaRPr>
          </a:p>
          <a:p>
            <a:pPr marL="531813" indent="-258763" algn="just" eaLnBrk="0" hangingPunct="0">
              <a:spcBef>
                <a:spcPts val="0"/>
              </a:spcBef>
              <a:buClr>
                <a:schemeClr val="tx1"/>
              </a:buClr>
              <a:buFont typeface="Wingdings" pitchFamily="2" charset="2"/>
              <a:buChar char="q"/>
              <a:defRPr/>
            </a:pPr>
            <a:endParaRPr lang="fr-FR" sz="1700" b="1" dirty="0">
              <a:solidFill>
                <a:srgbClr val="000080"/>
              </a:solidFill>
              <a:latin typeface="Century Gothic" pitchFamily="34" charset="0"/>
              <a:cs typeface="Arial" pitchFamily="34" charset="0"/>
            </a:endParaRPr>
          </a:p>
        </p:txBody>
      </p:sp>
      <p:sp>
        <p:nvSpPr>
          <p:cNvPr id="3" name="Title1"/>
          <p:cNvSpPr>
            <a:spLocks noGrp="1" noChangeArrowheads="1"/>
          </p:cNvSpPr>
          <p:nvPr>
            <p:ph type="title"/>
            <p:custDataLst>
              <p:tags r:id="rId2"/>
            </p:custDataLst>
          </p:nvPr>
        </p:nvSpPr>
        <p:spPr>
          <a:xfrm>
            <a:off x="2089548" y="214313"/>
            <a:ext cx="6399359" cy="622300"/>
          </a:xfrm>
          <a:solidFill>
            <a:srgbClr val="C0C0C0"/>
          </a:solidFill>
        </p:spPr>
        <p:txBody>
          <a:bodyPr/>
          <a:lstStyle/>
          <a:p>
            <a:pPr algn="ctr">
              <a:spcBef>
                <a:spcPts val="0"/>
              </a:spcBef>
              <a:defRPr/>
            </a:pPr>
            <a:r>
              <a:rPr lang="fr-FR" sz="2000" i="1" kern="1200" dirty="0">
                <a:solidFill>
                  <a:srgbClr val="0560E5"/>
                </a:solidFill>
                <a:latin typeface="Century Gothic" pitchFamily="34" charset="0"/>
                <a:cs typeface="Arial" pitchFamily="34" charset="0"/>
              </a:rPr>
              <a:t>Haut débit par des solutions </a:t>
            </a:r>
            <a:r>
              <a:rPr lang="fr-FR" sz="2000" i="1" kern="1200" dirty="0" smtClean="0">
                <a:solidFill>
                  <a:srgbClr val="0560E5"/>
                </a:solidFill>
                <a:latin typeface="Century Gothic" pitchFamily="34" charset="0"/>
                <a:cs typeface="Arial" pitchFamily="34" charset="0"/>
              </a:rPr>
              <a:t>satellitaires </a:t>
            </a:r>
            <a:r>
              <a:rPr lang="fr-FR" sz="2000" i="1" kern="1200" dirty="0">
                <a:solidFill>
                  <a:srgbClr val="0560E5"/>
                </a:solidFill>
                <a:latin typeface="Century Gothic" pitchFamily="34" charset="0"/>
                <a:cs typeface="Arial" pitchFamily="34" charset="0"/>
              </a:rPr>
              <a:t>: </a:t>
            </a:r>
            <a:r>
              <a:rPr lang="fr-FR" sz="2000" i="1" kern="1200" dirty="0">
                <a:solidFill>
                  <a:srgbClr val="960000"/>
                </a:solidFill>
                <a:latin typeface="Century Gothic" pitchFamily="34" charset="0"/>
                <a:ea typeface="+mn-ea"/>
                <a:cs typeface="Arial" pitchFamily="34" charset="0"/>
              </a:rPr>
              <a:t>Etude de déploiement </a:t>
            </a:r>
            <a:r>
              <a:rPr lang="fr-FR" sz="2000" i="1" kern="1200" dirty="0" smtClean="0">
                <a:solidFill>
                  <a:srgbClr val="960000"/>
                </a:solidFill>
                <a:latin typeface="Century Gothic" pitchFamily="34" charset="0"/>
                <a:ea typeface="+mn-ea"/>
                <a:cs typeface="Arial" pitchFamily="34" charset="0"/>
              </a:rPr>
              <a:t>d’une solution satellitaire</a:t>
            </a:r>
            <a:endParaRPr lang="fr-FR" sz="1800" i="1" kern="1200" dirty="0" smtClean="0">
              <a:solidFill>
                <a:srgbClr val="960000"/>
              </a:solidFill>
              <a:latin typeface="Century Gothic" pitchFamily="34" charset="0"/>
              <a:ea typeface="+mn-ea"/>
              <a:cs typeface="Arial" pitchFamily="34" charset="0"/>
            </a:endParaRPr>
          </a:p>
        </p:txBody>
      </p:sp>
      <p:pic>
        <p:nvPicPr>
          <p:cNvPr id="4" name="Image 3"/>
          <p:cNvPicPr/>
          <p:nvPr/>
        </p:nvPicPr>
        <p:blipFill>
          <a:blip r:embed="rId5">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3883498894"/>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ChangeArrowheads="1"/>
          </p:cNvSpPr>
          <p:nvPr/>
        </p:nvSpPr>
        <p:spPr bwMode="auto">
          <a:xfrm>
            <a:off x="0" y="2714625"/>
            <a:ext cx="9906000" cy="928688"/>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nchor="ctr"/>
          <a:lstStyle/>
          <a:p>
            <a:pPr marL="0" lvl="1" algn="ctr" defTabSz="912813"/>
            <a:endParaRPr lang="fr-FR" sz="2000" b="1" i="1" dirty="0">
              <a:solidFill>
                <a:srgbClr val="00B0F0"/>
              </a:solidFill>
              <a:latin typeface="Century Gothic" pitchFamily="34" charset="0"/>
            </a:endParaRPr>
          </a:p>
          <a:p>
            <a:pPr marL="0" lvl="1" algn="ctr" defTabSz="912813"/>
            <a:r>
              <a:rPr lang="fr-FR" sz="2000" b="1" i="1" dirty="0">
                <a:solidFill>
                  <a:srgbClr val="7030A0"/>
                </a:solidFill>
                <a:latin typeface="Century Gothic" pitchFamily="34" charset="0"/>
              </a:rPr>
              <a:t>Très Haut débit par des </a:t>
            </a:r>
            <a:r>
              <a:rPr lang="fr-FR" sz="2000" i="1" dirty="0">
                <a:solidFill>
                  <a:srgbClr val="7030A0"/>
                </a:solidFill>
                <a:latin typeface="Century Gothic" pitchFamily="34" charset="0"/>
              </a:rPr>
              <a:t>solutions </a:t>
            </a:r>
            <a:r>
              <a:rPr lang="fr-FR" sz="2000" i="1" dirty="0" smtClean="0">
                <a:solidFill>
                  <a:srgbClr val="7030A0"/>
                </a:solidFill>
                <a:latin typeface="Century Gothic" pitchFamily="34" charset="0"/>
              </a:rPr>
              <a:t>basées sur technologies </a:t>
            </a:r>
            <a:r>
              <a:rPr lang="fr-FR" sz="2000" i="1" dirty="0">
                <a:solidFill>
                  <a:srgbClr val="7030A0"/>
                </a:solidFill>
                <a:latin typeface="Century Gothic" pitchFamily="34" charset="0"/>
              </a:rPr>
              <a:t>filaires optiques</a:t>
            </a:r>
          </a:p>
          <a:p>
            <a:pPr marL="0" lvl="1" algn="ctr" defTabSz="912813"/>
            <a:endParaRPr lang="fr-FR" sz="2000" b="1" i="1" dirty="0">
              <a:solidFill>
                <a:srgbClr val="00B0F0"/>
              </a:solidFill>
              <a:latin typeface="Century Gothic" pitchFamily="34" charset="0"/>
            </a:endParaRPr>
          </a:p>
        </p:txBody>
      </p:sp>
      <p:pic>
        <p:nvPicPr>
          <p:cNvPr id="3" name="Image 2"/>
          <p:cNvPicPr/>
          <p:nvPr/>
        </p:nvPicPr>
        <p:blipFill>
          <a:blip r:embed="rId3">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1579133045"/>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KMA6C131B"/>
          <p:cNvSpPr>
            <a:spLocks noChangeArrowheads="1"/>
          </p:cNvSpPr>
          <p:nvPr>
            <p:custDataLst>
              <p:tags r:id="rId1"/>
            </p:custDataLst>
          </p:nvPr>
        </p:nvSpPr>
        <p:spPr bwMode="auto">
          <a:xfrm>
            <a:off x="0" y="1663116"/>
            <a:ext cx="9906000" cy="4240973"/>
          </a:xfrm>
          <a:prstGeom prst="rect">
            <a:avLst/>
          </a:prstGeom>
          <a:noFill/>
          <a:ln w="9525" algn="ctr">
            <a:noFill/>
            <a:miter lim="800000"/>
            <a:headEnd/>
            <a:tailEnd/>
          </a:ln>
        </p:spPr>
        <p:txBody>
          <a:bodyPr lIns="42579" tIns="42579" rIns="42579" bIns="42579">
            <a:spAutoFit/>
          </a:bodyPr>
          <a:lstStyle/>
          <a:p>
            <a:pPr marL="273050" lvl="1" indent="-273050" algn="just" eaLnBrk="0" hangingPunct="0">
              <a:spcBef>
                <a:spcPts val="0"/>
              </a:spcBef>
              <a:buClr>
                <a:schemeClr val="tx1"/>
              </a:buClr>
              <a:buFont typeface="Wingdings" pitchFamily="2" charset="2"/>
              <a:buChar char="ü"/>
              <a:defRPr/>
            </a:pPr>
            <a:r>
              <a:rPr lang="fr-FR" sz="1800" b="1" i="1" dirty="0">
                <a:solidFill>
                  <a:srgbClr val="C00000"/>
                </a:solidFill>
                <a:latin typeface="Century Gothic" pitchFamily="34" charset="0"/>
                <a:cs typeface="Arial" pitchFamily="34" charset="0"/>
              </a:rPr>
              <a:t>Constat :</a:t>
            </a:r>
          </a:p>
          <a:p>
            <a:pPr marL="615950" indent="-342900" algn="just" eaLnBrk="0" hangingPunct="0">
              <a:spcBef>
                <a:spcPts val="0"/>
              </a:spcBef>
              <a:buClr>
                <a:schemeClr val="tx1"/>
              </a:buClr>
              <a:buFont typeface="Arial" pitchFamily="34" charset="0"/>
              <a:buChar char="•"/>
              <a:defRPr/>
            </a:pPr>
            <a:r>
              <a:rPr lang="fr-FR" sz="1800" b="1" dirty="0">
                <a:solidFill>
                  <a:srgbClr val="000080"/>
                </a:solidFill>
                <a:latin typeface="Century Gothic" pitchFamily="34" charset="0"/>
                <a:cs typeface="Arial" pitchFamily="34" charset="0"/>
              </a:rPr>
              <a:t>Dans la majorité des pays, l’accès à Internet très haut débit est réalisé par le déploiement de réseaux très haut débit en fibre optique jusqu’à l’abonné (</a:t>
            </a:r>
            <a:r>
              <a:rPr lang="fr-FR" sz="1800" b="1" dirty="0" smtClean="0">
                <a:solidFill>
                  <a:srgbClr val="000080"/>
                </a:solidFill>
                <a:latin typeface="Century Gothic" pitchFamily="34" charset="0"/>
                <a:cs typeface="Arial" pitchFamily="34" charset="0"/>
              </a:rPr>
              <a:t>FTTH);</a:t>
            </a:r>
            <a:endParaRPr lang="fr-FR" sz="1800" b="1" dirty="0">
              <a:solidFill>
                <a:srgbClr val="000080"/>
              </a:solidFill>
              <a:latin typeface="Century Gothic" pitchFamily="34" charset="0"/>
              <a:cs typeface="Arial" pitchFamily="34" charset="0"/>
            </a:endParaRPr>
          </a:p>
          <a:p>
            <a:pPr marL="615950" indent="-342900" algn="just" eaLnBrk="0" hangingPunct="0">
              <a:spcBef>
                <a:spcPts val="0"/>
              </a:spcBef>
              <a:buClr>
                <a:schemeClr val="tx1"/>
              </a:buClr>
              <a:buFont typeface="Arial" pitchFamily="34" charset="0"/>
              <a:buChar char="•"/>
              <a:defRPr/>
            </a:pPr>
            <a:r>
              <a:rPr lang="fr-FR" sz="1800" b="1" dirty="0">
                <a:solidFill>
                  <a:srgbClr val="000080"/>
                </a:solidFill>
                <a:latin typeface="Century Gothic" pitchFamily="34" charset="0"/>
                <a:cs typeface="Arial" pitchFamily="34" charset="0"/>
              </a:rPr>
              <a:t>La technologie FTTH permet de donner accès à de nouveaux services, notamment audiovisuels en haut définition, et garantit des niveaux d’interactivité et de qualité de service nettement supérieurs à ceux offerts par les autres technologies ;</a:t>
            </a:r>
          </a:p>
          <a:p>
            <a:pPr marL="615950" indent="-342900" algn="just" eaLnBrk="0" hangingPunct="0">
              <a:spcBef>
                <a:spcPts val="0"/>
              </a:spcBef>
              <a:buClr>
                <a:schemeClr val="tx1"/>
              </a:buClr>
              <a:buFont typeface="Arial" pitchFamily="34" charset="0"/>
              <a:buChar char="•"/>
              <a:defRPr/>
            </a:pPr>
            <a:r>
              <a:rPr lang="fr-FR" sz="1800" b="1" dirty="0" smtClean="0">
                <a:solidFill>
                  <a:srgbClr val="000080"/>
                </a:solidFill>
                <a:latin typeface="Century Gothic" pitchFamily="34" charset="0"/>
                <a:cs typeface="Arial" pitchFamily="34" charset="0"/>
              </a:rPr>
              <a:t>Absence </a:t>
            </a:r>
            <a:r>
              <a:rPr lang="fr-FR" sz="1800" b="1" dirty="0">
                <a:solidFill>
                  <a:srgbClr val="000080"/>
                </a:solidFill>
                <a:latin typeface="Century Gothic" pitchFamily="34" charset="0"/>
                <a:cs typeface="Arial" pitchFamily="34" charset="0"/>
              </a:rPr>
              <a:t>de modèle économique </a:t>
            </a:r>
            <a:r>
              <a:rPr lang="fr-FR" sz="1800" b="1" dirty="0" smtClean="0">
                <a:solidFill>
                  <a:srgbClr val="000080"/>
                </a:solidFill>
                <a:latin typeface="Century Gothic" pitchFamily="34" charset="0"/>
                <a:cs typeface="Arial" pitchFamily="34" charset="0"/>
              </a:rPr>
              <a:t>standard pour </a:t>
            </a:r>
            <a:r>
              <a:rPr lang="fr-FR" sz="1800" b="1" dirty="0">
                <a:solidFill>
                  <a:srgbClr val="000080"/>
                </a:solidFill>
                <a:latin typeface="Century Gothic" pitchFamily="34" charset="0"/>
                <a:cs typeface="Arial" pitchFamily="34" charset="0"/>
              </a:rPr>
              <a:t>viabiliser les projets FTTH.</a:t>
            </a:r>
          </a:p>
          <a:p>
            <a:pPr algn="just" eaLnBrk="0" hangingPunct="0">
              <a:spcBef>
                <a:spcPts val="0"/>
              </a:spcBef>
              <a:buClr>
                <a:schemeClr val="tx1"/>
              </a:buClr>
              <a:defRPr/>
            </a:pPr>
            <a:endParaRPr lang="fr-FR" sz="1800" b="1" dirty="0">
              <a:solidFill>
                <a:srgbClr val="000080"/>
              </a:solidFill>
              <a:latin typeface="Century Gothic" pitchFamily="34" charset="0"/>
              <a:cs typeface="Arial" pitchFamily="34" charset="0"/>
            </a:endParaRPr>
          </a:p>
          <a:p>
            <a:pPr marL="273050" lvl="1" indent="-273050" algn="just" eaLnBrk="0" hangingPunct="0">
              <a:spcBef>
                <a:spcPts val="0"/>
              </a:spcBef>
              <a:buClr>
                <a:schemeClr val="tx1"/>
              </a:buClr>
              <a:buFont typeface="Wingdings" pitchFamily="2" charset="2"/>
              <a:buChar char="ü"/>
              <a:defRPr/>
            </a:pPr>
            <a:r>
              <a:rPr lang="fr-FR" sz="1800" b="1" i="1" dirty="0">
                <a:solidFill>
                  <a:srgbClr val="C00000"/>
                </a:solidFill>
                <a:latin typeface="Century Gothic" pitchFamily="34" charset="0"/>
                <a:cs typeface="Arial" pitchFamily="34" charset="0"/>
              </a:rPr>
              <a:t>Actions </a:t>
            </a:r>
            <a:r>
              <a:rPr lang="fr-FR" sz="1800" b="1" i="1" dirty="0" smtClean="0">
                <a:solidFill>
                  <a:srgbClr val="C00000"/>
                </a:solidFill>
                <a:latin typeface="Century Gothic" pitchFamily="34" charset="0"/>
                <a:cs typeface="Arial" pitchFamily="34" charset="0"/>
              </a:rPr>
              <a:t>:</a:t>
            </a:r>
            <a:endParaRPr lang="fr-FR" sz="1800" b="1" i="1" dirty="0">
              <a:solidFill>
                <a:srgbClr val="C00000"/>
              </a:solidFill>
              <a:latin typeface="Century Gothic" pitchFamily="34" charset="0"/>
              <a:cs typeface="Arial" pitchFamily="34" charset="0"/>
            </a:endParaRPr>
          </a:p>
          <a:p>
            <a:pPr marL="615950" indent="-342900" algn="just" eaLnBrk="0" hangingPunct="0">
              <a:spcBef>
                <a:spcPts val="0"/>
              </a:spcBef>
              <a:buClr>
                <a:schemeClr val="tx1"/>
              </a:buClr>
              <a:buFont typeface="Arial" pitchFamily="34" charset="0"/>
              <a:buChar char="•"/>
              <a:defRPr/>
            </a:pPr>
            <a:r>
              <a:rPr lang="fr-FR" sz="1800" b="1" dirty="0">
                <a:solidFill>
                  <a:srgbClr val="000080"/>
                </a:solidFill>
                <a:latin typeface="Century Gothic" pitchFamily="34" charset="0"/>
                <a:cs typeface="Arial" pitchFamily="34" charset="0"/>
              </a:rPr>
              <a:t>Lancement de projets pilotes pour le déploiement d’infrastructures très haut </a:t>
            </a:r>
            <a:r>
              <a:rPr lang="fr-FR" sz="1800" b="1" dirty="0" smtClean="0">
                <a:solidFill>
                  <a:srgbClr val="000080"/>
                </a:solidFill>
                <a:latin typeface="Century Gothic" pitchFamily="34" charset="0"/>
                <a:cs typeface="Arial" pitchFamily="34" charset="0"/>
              </a:rPr>
              <a:t>débit, en vue de :</a:t>
            </a:r>
            <a:endParaRPr lang="fr-FR" sz="1800" b="1" dirty="0">
              <a:solidFill>
                <a:srgbClr val="000080"/>
              </a:solidFill>
              <a:latin typeface="Century Gothic" pitchFamily="34" charset="0"/>
              <a:cs typeface="Arial" pitchFamily="34" charset="0"/>
            </a:endParaRPr>
          </a:p>
          <a:p>
            <a:pPr marL="1073150" lvl="1" indent="-342900" algn="just" eaLnBrk="0" hangingPunct="0">
              <a:spcBef>
                <a:spcPts val="0"/>
              </a:spcBef>
              <a:buClr>
                <a:schemeClr val="tx1"/>
              </a:buClr>
              <a:buFont typeface="Wingdings" pitchFamily="2" charset="2"/>
              <a:buChar char="ü"/>
              <a:defRPr/>
            </a:pPr>
            <a:r>
              <a:rPr lang="fr-FR" sz="1800" b="1" dirty="0" smtClean="0">
                <a:solidFill>
                  <a:srgbClr val="000080"/>
                </a:solidFill>
                <a:latin typeface="Century Gothic" pitchFamily="34" charset="0"/>
                <a:cs typeface="Arial" pitchFamily="34" charset="0"/>
              </a:rPr>
              <a:t>Permettre </a:t>
            </a:r>
            <a:r>
              <a:rPr lang="fr-FR" sz="1800" b="1" dirty="0">
                <a:solidFill>
                  <a:srgbClr val="000080"/>
                </a:solidFill>
                <a:latin typeface="Century Gothic" pitchFamily="34" charset="0"/>
                <a:cs typeface="Arial" pitchFamily="34" charset="0"/>
              </a:rPr>
              <a:t>aux opérateurs de construire des modèles </a:t>
            </a:r>
            <a:r>
              <a:rPr lang="fr-FR" sz="1800" b="1" dirty="0" smtClean="0">
                <a:solidFill>
                  <a:srgbClr val="000080"/>
                </a:solidFill>
                <a:latin typeface="Century Gothic" pitchFamily="34" charset="0"/>
                <a:cs typeface="Arial" pitchFamily="34" charset="0"/>
              </a:rPr>
              <a:t>spécifiques économiques </a:t>
            </a:r>
            <a:r>
              <a:rPr lang="fr-FR" sz="1800" b="1" dirty="0">
                <a:solidFill>
                  <a:srgbClr val="000080"/>
                </a:solidFill>
                <a:latin typeface="Century Gothic" pitchFamily="34" charset="0"/>
                <a:cs typeface="Arial" pitchFamily="34" charset="0"/>
              </a:rPr>
              <a:t>FTTH;</a:t>
            </a:r>
          </a:p>
          <a:p>
            <a:pPr marL="1073150" lvl="1" indent="-342900" algn="just" eaLnBrk="0" hangingPunct="0">
              <a:spcBef>
                <a:spcPts val="0"/>
              </a:spcBef>
              <a:buClr>
                <a:schemeClr val="tx1"/>
              </a:buClr>
              <a:buFont typeface="Wingdings" pitchFamily="2" charset="2"/>
              <a:buChar char="ü"/>
              <a:defRPr/>
            </a:pPr>
            <a:r>
              <a:rPr lang="fr-FR" sz="1800" b="1" dirty="0" smtClean="0">
                <a:solidFill>
                  <a:srgbClr val="000080"/>
                </a:solidFill>
                <a:latin typeface="Century Gothic" pitchFamily="34" charset="0"/>
                <a:cs typeface="Arial" pitchFamily="34" charset="0"/>
              </a:rPr>
              <a:t>Permettre à l’ANRT de renforcer les </a:t>
            </a:r>
            <a:r>
              <a:rPr lang="fr-FR" sz="1800" b="1" dirty="0">
                <a:solidFill>
                  <a:srgbClr val="000080"/>
                </a:solidFill>
                <a:latin typeface="Century Gothic" pitchFamily="34" charset="0"/>
                <a:cs typeface="Arial" pitchFamily="34" charset="0"/>
              </a:rPr>
              <a:t>règles de partage des infrastructures. </a:t>
            </a:r>
          </a:p>
          <a:p>
            <a:pPr marL="0" lvl="1" algn="just" eaLnBrk="0" hangingPunct="0">
              <a:spcBef>
                <a:spcPts val="0"/>
              </a:spcBef>
              <a:buClr>
                <a:schemeClr val="tx1"/>
              </a:buClr>
              <a:defRPr/>
            </a:pPr>
            <a:endParaRPr lang="fr-FR" sz="1800" b="1" i="1" dirty="0" smtClean="0">
              <a:solidFill>
                <a:srgbClr val="C00000"/>
              </a:solidFill>
              <a:latin typeface="Century Gothic" pitchFamily="34" charset="0"/>
              <a:cs typeface="Arial" pitchFamily="34" charset="0"/>
            </a:endParaRPr>
          </a:p>
        </p:txBody>
      </p:sp>
      <p:sp>
        <p:nvSpPr>
          <p:cNvPr id="3" name="Title1"/>
          <p:cNvSpPr>
            <a:spLocks noGrp="1" noChangeArrowheads="1"/>
          </p:cNvSpPr>
          <p:nvPr>
            <p:ph type="title"/>
            <p:custDataLst>
              <p:tags r:id="rId2"/>
            </p:custDataLst>
          </p:nvPr>
        </p:nvSpPr>
        <p:spPr>
          <a:xfrm>
            <a:off x="2089548" y="214313"/>
            <a:ext cx="6399359" cy="932100"/>
          </a:xfrm>
          <a:solidFill>
            <a:srgbClr val="C0C0C0"/>
          </a:solidFill>
        </p:spPr>
        <p:txBody>
          <a:bodyPr/>
          <a:lstStyle/>
          <a:p>
            <a:pPr algn="ctr">
              <a:spcBef>
                <a:spcPts val="0"/>
              </a:spcBef>
              <a:defRPr/>
            </a:pPr>
            <a:r>
              <a:rPr lang="fr-FR" sz="1800" i="1" kern="1200" dirty="0">
                <a:solidFill>
                  <a:srgbClr val="0560E5"/>
                </a:solidFill>
                <a:latin typeface="Century Gothic" pitchFamily="34" charset="0"/>
                <a:cs typeface="Arial" pitchFamily="34" charset="0"/>
              </a:rPr>
              <a:t>Actions pour la mise en œuvre du  plan : </a:t>
            </a:r>
            <a:r>
              <a:rPr lang="fr-FR" sz="1800" i="1" kern="1200" dirty="0" smtClean="0">
                <a:solidFill>
                  <a:srgbClr val="960000"/>
                </a:solidFill>
                <a:latin typeface="Century Gothic" pitchFamily="34" charset="0"/>
                <a:ea typeface="+mn-ea"/>
                <a:cs typeface="Arial" pitchFamily="34" charset="0"/>
              </a:rPr>
              <a:t>Lancement de projets pilotes pour le déploiement d’infrastructures optiques</a:t>
            </a:r>
          </a:p>
        </p:txBody>
      </p:sp>
      <p:pic>
        <p:nvPicPr>
          <p:cNvPr id="4" name="Image 3"/>
          <p:cNvPicPr/>
          <p:nvPr/>
        </p:nvPicPr>
        <p:blipFill>
          <a:blip r:embed="rId5">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646970055"/>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1"/>
          <p:cNvSpPr>
            <a:spLocks noGrp="1" noChangeArrowheads="1"/>
          </p:cNvSpPr>
          <p:nvPr>
            <p:ph type="title" idx="4294967295"/>
            <p:custDataLst>
              <p:tags r:id="rId2"/>
            </p:custDataLst>
          </p:nvPr>
        </p:nvSpPr>
        <p:spPr>
          <a:xfrm>
            <a:off x="2221971" y="239950"/>
            <a:ext cx="6362471" cy="906463"/>
          </a:xfrm>
          <a:solidFill>
            <a:srgbClr val="C0C0C0"/>
          </a:solidFill>
        </p:spPr>
        <p:txBody>
          <a:bodyPr/>
          <a:lstStyle/>
          <a:p>
            <a:pPr algn="ctr">
              <a:defRPr/>
            </a:pPr>
            <a:r>
              <a:rPr lang="fr-FR" sz="1600" i="1" kern="1200" dirty="0">
                <a:solidFill>
                  <a:srgbClr val="0560E5"/>
                </a:solidFill>
                <a:latin typeface="Century Gothic" pitchFamily="34" charset="0"/>
                <a:cs typeface="Arial" pitchFamily="34" charset="0"/>
              </a:rPr>
              <a:t>Actions pour la mise en œuvre du  plan : </a:t>
            </a:r>
            <a:r>
              <a:rPr lang="fr-FR" sz="1600" i="1" kern="1200" dirty="0">
                <a:solidFill>
                  <a:srgbClr val="960000"/>
                </a:solidFill>
                <a:latin typeface="Century Gothic" pitchFamily="34" charset="0"/>
                <a:ea typeface="+mn-ea"/>
                <a:cs typeface="Arial" pitchFamily="34" charset="0"/>
              </a:rPr>
              <a:t>Raccordement des </a:t>
            </a:r>
            <a:r>
              <a:rPr lang="fr-FR" sz="1600" i="1" kern="1200" dirty="0" smtClean="0">
                <a:solidFill>
                  <a:srgbClr val="960000"/>
                </a:solidFill>
                <a:latin typeface="Century Gothic" pitchFamily="34" charset="0"/>
                <a:ea typeface="+mn-ea"/>
                <a:cs typeface="Arial" pitchFamily="34" charset="0"/>
              </a:rPr>
              <a:t>nouvelles habitations</a:t>
            </a:r>
            <a:r>
              <a:rPr lang="fr-FR" sz="1600" i="1" kern="1200" dirty="0">
                <a:solidFill>
                  <a:srgbClr val="960000"/>
                </a:solidFill>
                <a:latin typeface="Century Gothic" pitchFamily="34" charset="0"/>
                <a:ea typeface="+mn-ea"/>
                <a:cs typeface="Arial" pitchFamily="34" charset="0"/>
              </a:rPr>
              <a:t>, constructions et zones d’activité aux réseaux très haut débit optiques</a:t>
            </a:r>
          </a:p>
        </p:txBody>
      </p:sp>
      <p:sp>
        <p:nvSpPr>
          <p:cNvPr id="93187" name="Notes"/>
          <p:cNvSpPr txBox="1">
            <a:spLocks noChangeArrowheads="1"/>
          </p:cNvSpPr>
          <p:nvPr>
            <p:custDataLst>
              <p:tags r:id="rId3"/>
            </p:custDataLst>
          </p:nvPr>
        </p:nvSpPr>
        <p:spPr bwMode="auto">
          <a:xfrm>
            <a:off x="225294" y="6497638"/>
            <a:ext cx="6254882"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bIns="0" anchor="b">
            <a:spAutoFit/>
          </a:bodyPr>
          <a:lstStyle>
            <a:lvl1pPr marL="166688" indent="-166688" defTabSz="800100" eaLnBrk="0" hangingPunct="0">
              <a:defRPr sz="3600">
                <a:solidFill>
                  <a:schemeClr val="tx1"/>
                </a:solidFill>
                <a:latin typeface="Arial" charset="0"/>
                <a:cs typeface="Arial" charset="0"/>
              </a:defRPr>
            </a:lvl1pPr>
            <a:lvl2pPr marL="742950" indent="-285750" defTabSz="800100" eaLnBrk="0" hangingPunct="0">
              <a:defRPr sz="3600">
                <a:solidFill>
                  <a:schemeClr val="tx1"/>
                </a:solidFill>
                <a:latin typeface="Arial" charset="0"/>
                <a:cs typeface="Arial" charset="0"/>
              </a:defRPr>
            </a:lvl2pPr>
            <a:lvl3pPr marL="1143000" indent="-228600" defTabSz="800100" eaLnBrk="0" hangingPunct="0">
              <a:defRPr sz="3600">
                <a:solidFill>
                  <a:schemeClr val="tx1"/>
                </a:solidFill>
                <a:latin typeface="Arial" charset="0"/>
                <a:cs typeface="Arial" charset="0"/>
              </a:defRPr>
            </a:lvl3pPr>
            <a:lvl4pPr marL="1600200" indent="-228600" defTabSz="800100" eaLnBrk="0" hangingPunct="0">
              <a:defRPr sz="3600">
                <a:solidFill>
                  <a:schemeClr val="tx1"/>
                </a:solidFill>
                <a:latin typeface="Arial" charset="0"/>
                <a:cs typeface="Arial" charset="0"/>
              </a:defRPr>
            </a:lvl4pPr>
            <a:lvl5pPr marL="2057400" indent="-228600" defTabSz="800100" eaLnBrk="0" hangingPunct="0">
              <a:defRPr sz="3600">
                <a:solidFill>
                  <a:schemeClr val="tx1"/>
                </a:solidFill>
                <a:latin typeface="Arial" charset="0"/>
                <a:cs typeface="Arial" charset="0"/>
              </a:defRPr>
            </a:lvl5pPr>
            <a:lvl6pPr marL="2514600" indent="-228600" defTabSz="800100" eaLnBrk="0" fontAlgn="base" hangingPunct="0">
              <a:spcBef>
                <a:spcPct val="0"/>
              </a:spcBef>
              <a:spcAft>
                <a:spcPct val="0"/>
              </a:spcAft>
              <a:defRPr sz="3600">
                <a:solidFill>
                  <a:schemeClr val="tx1"/>
                </a:solidFill>
                <a:latin typeface="Arial" charset="0"/>
                <a:cs typeface="Arial" charset="0"/>
              </a:defRPr>
            </a:lvl6pPr>
            <a:lvl7pPr marL="2971800" indent="-228600" defTabSz="800100" eaLnBrk="0" fontAlgn="base" hangingPunct="0">
              <a:spcBef>
                <a:spcPct val="0"/>
              </a:spcBef>
              <a:spcAft>
                <a:spcPct val="0"/>
              </a:spcAft>
              <a:defRPr sz="3600">
                <a:solidFill>
                  <a:schemeClr val="tx1"/>
                </a:solidFill>
                <a:latin typeface="Arial" charset="0"/>
                <a:cs typeface="Arial" charset="0"/>
              </a:defRPr>
            </a:lvl7pPr>
            <a:lvl8pPr marL="3429000" indent="-228600" defTabSz="800100" eaLnBrk="0" fontAlgn="base" hangingPunct="0">
              <a:spcBef>
                <a:spcPct val="0"/>
              </a:spcBef>
              <a:spcAft>
                <a:spcPct val="0"/>
              </a:spcAft>
              <a:defRPr sz="3600">
                <a:solidFill>
                  <a:schemeClr val="tx1"/>
                </a:solidFill>
                <a:latin typeface="Arial" charset="0"/>
                <a:cs typeface="Arial" charset="0"/>
              </a:defRPr>
            </a:lvl8pPr>
            <a:lvl9pPr marL="3886200" indent="-228600" defTabSz="800100" eaLnBrk="0" fontAlgn="base" hangingPunct="0">
              <a:spcBef>
                <a:spcPct val="0"/>
              </a:spcBef>
              <a:spcAft>
                <a:spcPct val="0"/>
              </a:spcAft>
              <a:defRPr sz="3600">
                <a:solidFill>
                  <a:schemeClr val="tx1"/>
                </a:solidFill>
                <a:latin typeface="Arial" charset="0"/>
                <a:cs typeface="Arial" charset="0"/>
              </a:defRPr>
            </a:lvl9pPr>
          </a:lstStyle>
          <a:p>
            <a:pPr fontAlgn="t"/>
            <a:endParaRPr lang="fr-FR" sz="900" noProof="1"/>
          </a:p>
        </p:txBody>
      </p:sp>
      <p:sp>
        <p:nvSpPr>
          <p:cNvPr id="83972" name="KMA6C131B"/>
          <p:cNvSpPr>
            <a:spLocks noChangeArrowheads="1"/>
          </p:cNvSpPr>
          <p:nvPr>
            <p:custDataLst>
              <p:tags r:id="rId4"/>
            </p:custDataLst>
          </p:nvPr>
        </p:nvSpPr>
        <p:spPr bwMode="auto">
          <a:xfrm>
            <a:off x="0" y="1509620"/>
            <a:ext cx="9906000" cy="3748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2579" tIns="42579" rIns="42579" bIns="42579">
            <a:spAutoFit/>
          </a:bodyPr>
          <a:lstStyle/>
          <a:p>
            <a:pPr marL="273050" lvl="1" indent="-273050" algn="just" eaLnBrk="0" hangingPunct="0">
              <a:buClr>
                <a:schemeClr val="tx1"/>
              </a:buClr>
              <a:buFont typeface="Wingdings" pitchFamily="2" charset="2"/>
              <a:buChar char="ü"/>
              <a:defRPr/>
            </a:pPr>
            <a:r>
              <a:rPr lang="fr-FR" sz="1700" b="1" i="1" dirty="0">
                <a:solidFill>
                  <a:srgbClr val="C00000"/>
                </a:solidFill>
                <a:latin typeface="Century Gothic" pitchFamily="34" charset="0"/>
              </a:rPr>
              <a:t>Constat :</a:t>
            </a:r>
          </a:p>
          <a:p>
            <a:pPr marL="531813" lvl="1" indent="-258763" algn="just" eaLnBrk="0" hangingPunct="0">
              <a:buClr>
                <a:schemeClr val="tx1"/>
              </a:buClr>
              <a:buFont typeface="Wingdings" pitchFamily="2" charset="2"/>
              <a:buChar char="q"/>
              <a:defRPr/>
            </a:pPr>
            <a:r>
              <a:rPr lang="fr-FR" sz="1700" b="1" dirty="0">
                <a:solidFill>
                  <a:srgbClr val="000080"/>
                </a:solidFill>
                <a:latin typeface="Century Gothic" pitchFamily="34" charset="0"/>
              </a:rPr>
              <a:t>Production de </a:t>
            </a:r>
            <a:r>
              <a:rPr lang="fr-FR" sz="1700" b="1" dirty="0" smtClean="0">
                <a:solidFill>
                  <a:srgbClr val="000080"/>
                </a:solidFill>
                <a:latin typeface="Century Gothic" pitchFamily="34" charset="0"/>
              </a:rPr>
              <a:t>nouvelles habitations </a:t>
            </a:r>
            <a:r>
              <a:rPr lang="fr-FR" sz="1700" b="1" dirty="0">
                <a:solidFill>
                  <a:srgbClr val="000080"/>
                </a:solidFill>
                <a:latin typeface="Century Gothic" pitchFamily="34" charset="0"/>
              </a:rPr>
              <a:t>avoisinant les </a:t>
            </a:r>
            <a:r>
              <a:rPr lang="fr-FR" sz="1700" b="1" dirty="0" smtClean="0">
                <a:solidFill>
                  <a:srgbClr val="000080"/>
                </a:solidFill>
                <a:latin typeface="Century Gothic" pitchFamily="34" charset="0"/>
              </a:rPr>
              <a:t>170 000 </a:t>
            </a:r>
            <a:r>
              <a:rPr lang="fr-FR" sz="1700" b="1" dirty="0">
                <a:solidFill>
                  <a:srgbClr val="000080"/>
                </a:solidFill>
                <a:latin typeface="Century Gothic" pitchFamily="34" charset="0"/>
              </a:rPr>
              <a:t>unités par an ;</a:t>
            </a:r>
          </a:p>
          <a:p>
            <a:pPr marL="531813" lvl="1" indent="-258763" algn="just" eaLnBrk="0" hangingPunct="0">
              <a:buClr>
                <a:schemeClr val="tx1"/>
              </a:buClr>
              <a:buFont typeface="Wingdings" pitchFamily="2" charset="2"/>
              <a:buChar char="q"/>
              <a:defRPr/>
            </a:pPr>
            <a:r>
              <a:rPr lang="fr-FR" sz="1700" b="1" dirty="0">
                <a:solidFill>
                  <a:srgbClr val="000080"/>
                </a:solidFill>
                <a:latin typeface="Century Gothic" pitchFamily="34" charset="0"/>
              </a:rPr>
              <a:t>Création de nouvelles zones aménagées spécifiquement pour les activités à forte valeur ajoutée pour l’économie </a:t>
            </a:r>
            <a:r>
              <a:rPr lang="fr-FR" sz="1700" b="1" dirty="0" smtClean="0">
                <a:solidFill>
                  <a:srgbClr val="000080"/>
                </a:solidFill>
                <a:latin typeface="Century Gothic" pitchFamily="34" charset="0"/>
              </a:rPr>
              <a:t>nationale (Zone </a:t>
            </a:r>
            <a:r>
              <a:rPr lang="fr-FR" sz="1700" b="1" dirty="0">
                <a:solidFill>
                  <a:srgbClr val="000080"/>
                </a:solidFill>
                <a:latin typeface="Century Gothic" pitchFamily="34" charset="0"/>
              </a:rPr>
              <a:t>Offshore, Plateformes Industrielles Intégrées P2I, Agropole etc.). </a:t>
            </a:r>
          </a:p>
          <a:p>
            <a:pPr marL="273050" lvl="1" indent="-273050" algn="just" eaLnBrk="0" hangingPunct="0">
              <a:buClr>
                <a:schemeClr val="tx1"/>
              </a:buClr>
              <a:buFont typeface="Wingdings" pitchFamily="2" charset="2"/>
              <a:buChar char="ü"/>
              <a:defRPr/>
            </a:pPr>
            <a:endParaRPr lang="fr-FR" sz="1700" b="1" i="1" dirty="0">
              <a:solidFill>
                <a:srgbClr val="C00000"/>
              </a:solidFill>
              <a:latin typeface="Century Gothic" pitchFamily="34" charset="0"/>
            </a:endParaRPr>
          </a:p>
          <a:p>
            <a:pPr marL="273050" lvl="1" indent="-273050" algn="just" eaLnBrk="0" hangingPunct="0">
              <a:buClr>
                <a:schemeClr val="tx1"/>
              </a:buClr>
              <a:buFont typeface="Wingdings" pitchFamily="2" charset="2"/>
              <a:buChar char="ü"/>
              <a:defRPr/>
            </a:pPr>
            <a:r>
              <a:rPr lang="fr-FR" sz="1700" b="1" i="1" dirty="0" smtClean="0">
                <a:solidFill>
                  <a:srgbClr val="C00000"/>
                </a:solidFill>
                <a:latin typeface="Century Gothic" pitchFamily="34" charset="0"/>
              </a:rPr>
              <a:t>Objectif :</a:t>
            </a:r>
            <a:endParaRPr lang="fr-FR" sz="1700" b="1" i="1" dirty="0">
              <a:solidFill>
                <a:srgbClr val="C00000"/>
              </a:solidFill>
              <a:latin typeface="Century Gothic" pitchFamily="34" charset="0"/>
            </a:endParaRPr>
          </a:p>
          <a:p>
            <a:pPr marL="531813" lvl="1" indent="-258763" algn="just" eaLnBrk="0" hangingPunct="0">
              <a:buClr>
                <a:schemeClr val="tx1"/>
              </a:buClr>
              <a:buFont typeface="Wingdings" pitchFamily="2" charset="2"/>
              <a:buChar char="q"/>
              <a:defRPr/>
            </a:pPr>
            <a:r>
              <a:rPr lang="fr-FR" sz="1700" b="1" dirty="0">
                <a:solidFill>
                  <a:srgbClr val="000080"/>
                </a:solidFill>
                <a:latin typeface="Century Gothic" pitchFamily="34" charset="0"/>
              </a:rPr>
              <a:t>raccordement des nouvelles constructions, habitations et zones d’activités aux infrastructures de télécommunication très haut débit.</a:t>
            </a:r>
          </a:p>
          <a:p>
            <a:pPr marL="273050" algn="just" eaLnBrk="0" hangingPunct="0">
              <a:buClr>
                <a:schemeClr val="tx1"/>
              </a:buClr>
              <a:defRPr/>
            </a:pPr>
            <a:endParaRPr lang="fr-FR" sz="1700" b="1" dirty="0">
              <a:solidFill>
                <a:srgbClr val="000080"/>
              </a:solidFill>
              <a:latin typeface="Century Gothic" pitchFamily="34" charset="0"/>
            </a:endParaRPr>
          </a:p>
          <a:p>
            <a:pPr marL="273050" lvl="1" indent="-273050" algn="just" eaLnBrk="0" hangingPunct="0">
              <a:buClr>
                <a:schemeClr val="tx1"/>
              </a:buClr>
              <a:buFont typeface="Wingdings" pitchFamily="2" charset="2"/>
              <a:buChar char="ü"/>
              <a:defRPr/>
            </a:pPr>
            <a:r>
              <a:rPr lang="fr-FR" sz="1700" b="1" i="1" dirty="0">
                <a:solidFill>
                  <a:srgbClr val="C00000"/>
                </a:solidFill>
                <a:latin typeface="Century Gothic" pitchFamily="34" charset="0"/>
              </a:rPr>
              <a:t>Actions </a:t>
            </a:r>
            <a:r>
              <a:rPr lang="fr-FR" sz="1700" i="1" dirty="0" smtClean="0">
                <a:solidFill>
                  <a:srgbClr val="C00000"/>
                </a:solidFill>
                <a:latin typeface="Century Gothic" pitchFamily="34" charset="0"/>
              </a:rPr>
              <a:t>en cours</a:t>
            </a:r>
            <a:r>
              <a:rPr lang="fr-FR" sz="1700" b="1" i="1" dirty="0" smtClean="0">
                <a:solidFill>
                  <a:srgbClr val="C00000"/>
                </a:solidFill>
                <a:latin typeface="Century Gothic" pitchFamily="34" charset="0"/>
              </a:rPr>
              <a:t> </a:t>
            </a:r>
            <a:r>
              <a:rPr lang="fr-FR" sz="1700" b="1" i="1" dirty="0">
                <a:solidFill>
                  <a:srgbClr val="C00000"/>
                </a:solidFill>
                <a:latin typeface="Century Gothic" pitchFamily="34" charset="0"/>
              </a:rPr>
              <a:t>:</a:t>
            </a:r>
          </a:p>
          <a:p>
            <a:pPr marL="531813" indent="-258763" algn="just" eaLnBrk="0" hangingPunct="0">
              <a:buClr>
                <a:schemeClr val="tx1"/>
              </a:buClr>
              <a:buFont typeface="Wingdings" pitchFamily="2" charset="2"/>
              <a:buChar char="q"/>
              <a:defRPr/>
            </a:pPr>
            <a:r>
              <a:rPr lang="fr-FR" sz="1700" dirty="0" smtClean="0">
                <a:solidFill>
                  <a:srgbClr val="000080"/>
                </a:solidFill>
                <a:latin typeface="Century Gothic" pitchFamily="34" charset="0"/>
              </a:rPr>
              <a:t>Elaboration d</a:t>
            </a:r>
            <a:r>
              <a:rPr lang="fr-FR" sz="1700" b="1" dirty="0" smtClean="0">
                <a:solidFill>
                  <a:srgbClr val="000080"/>
                </a:solidFill>
                <a:latin typeface="Century Gothic" pitchFamily="34" charset="0"/>
              </a:rPr>
              <a:t>es </a:t>
            </a:r>
            <a:r>
              <a:rPr lang="fr-FR" sz="1700" b="1" dirty="0">
                <a:solidFill>
                  <a:srgbClr val="000080"/>
                </a:solidFill>
                <a:latin typeface="Century Gothic" pitchFamily="34" charset="0"/>
              </a:rPr>
              <a:t>mesures réglementaires à mettre en œuvre pour favoriser le raccordement des constructions, habitations et zones d’activités aux réseaux très haut débit en fibre optique.</a:t>
            </a:r>
          </a:p>
        </p:txBody>
      </p:sp>
      <p:pic>
        <p:nvPicPr>
          <p:cNvPr id="5" name="Image 4"/>
          <p:cNvPicPr/>
          <p:nvPr/>
        </p:nvPicPr>
        <p:blipFill>
          <a:blip r:embed="rId7">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custDataLst>
      <p:tags r:id="rId1"/>
    </p:custDataLst>
    <p:extLst>
      <p:ext uri="{BB962C8B-B14F-4D97-AF65-F5344CB8AC3E}">
        <p14:creationId xmlns:p14="http://schemas.microsoft.com/office/powerpoint/2010/main" val="3320793326"/>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p:cNvSpPr>
            <a:spLocks noChangeArrowheads="1"/>
          </p:cNvSpPr>
          <p:nvPr/>
        </p:nvSpPr>
        <p:spPr bwMode="auto">
          <a:xfrm>
            <a:off x="0" y="2643189"/>
            <a:ext cx="9906000" cy="1214437"/>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nchor="ctr"/>
          <a:lstStyle/>
          <a:p>
            <a:pPr algn="ctr" defTabSz="912813"/>
            <a:r>
              <a:rPr lang="fr-FR" sz="3200" b="1" dirty="0">
                <a:solidFill>
                  <a:srgbClr val="0005A1"/>
                </a:solidFill>
                <a:latin typeface="Century Gothic" pitchFamily="34" charset="0"/>
              </a:rPr>
              <a:t>MERCI POUR VOTRE ATTENTION</a:t>
            </a:r>
          </a:p>
        </p:txBody>
      </p:sp>
      <p:pic>
        <p:nvPicPr>
          <p:cNvPr id="3" name="Image 2"/>
          <p:cNvPicPr/>
          <p:nvPr/>
        </p:nvPicPr>
        <p:blipFill>
          <a:blip r:embed="rId3">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358920061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33"/>
          <p:cNvGrpSpPr>
            <a:grpSpLocks/>
          </p:cNvGrpSpPr>
          <p:nvPr/>
        </p:nvGrpSpPr>
        <p:grpSpPr bwMode="auto">
          <a:xfrm>
            <a:off x="490443" y="1514601"/>
            <a:ext cx="9140658" cy="4463752"/>
            <a:chOff x="1140" y="1429"/>
            <a:chExt cx="4457" cy="2367"/>
          </a:xfrm>
        </p:grpSpPr>
        <p:sp>
          <p:nvSpPr>
            <p:cNvPr id="8" name="AutoShape 10"/>
            <p:cNvSpPr>
              <a:spLocks noChangeArrowheads="1"/>
            </p:cNvSpPr>
            <p:nvPr/>
          </p:nvSpPr>
          <p:spPr bwMode="auto">
            <a:xfrm>
              <a:off x="2597" y="1434"/>
              <a:ext cx="628" cy="294"/>
            </a:xfrm>
            <a:prstGeom prst="cube">
              <a:avLst>
                <a:gd name="adj" fmla="val 25000"/>
              </a:avLst>
            </a:prstGeom>
            <a:solidFill>
              <a:srgbClr val="0B1F65"/>
            </a:solidFill>
            <a:ln w="9525">
              <a:solidFill>
                <a:schemeClr val="tx1"/>
              </a:solidFill>
              <a:miter lim="800000"/>
              <a:headEnd/>
              <a:tailEnd/>
            </a:ln>
            <a:effectLst>
              <a:outerShdw dist="35921" dir="2700000" algn="ctr" rotWithShape="0">
                <a:schemeClr val="tx1"/>
              </a:outerShdw>
            </a:effectLst>
          </p:spPr>
          <p:txBody>
            <a:bodyPr wrap="none" lIns="45710" tIns="45710" rIns="45710" bIns="45710" anchor="ctr"/>
            <a:lstStyle/>
            <a:p>
              <a:pPr algn="ctr" defTabSz="912813"/>
              <a:r>
                <a:rPr lang="fr-FR" sz="1100" b="1" dirty="0">
                  <a:solidFill>
                    <a:schemeClr val="bg1"/>
                  </a:solidFill>
                </a:rPr>
                <a:t> Opérateurs</a:t>
              </a:r>
            </a:p>
            <a:p>
              <a:pPr algn="ctr" defTabSz="912813"/>
              <a:r>
                <a:rPr lang="fr-FR" sz="1100" b="1" dirty="0">
                  <a:solidFill>
                    <a:schemeClr val="bg1"/>
                  </a:solidFill>
                </a:rPr>
                <a:t>VSAT</a:t>
              </a:r>
            </a:p>
          </p:txBody>
        </p:sp>
        <p:sp>
          <p:nvSpPr>
            <p:cNvPr id="9" name="AutoShape 11"/>
            <p:cNvSpPr>
              <a:spLocks noChangeArrowheads="1"/>
            </p:cNvSpPr>
            <p:nvPr/>
          </p:nvSpPr>
          <p:spPr bwMode="auto">
            <a:xfrm>
              <a:off x="3447" y="1429"/>
              <a:ext cx="628" cy="294"/>
            </a:xfrm>
            <a:prstGeom prst="cube">
              <a:avLst>
                <a:gd name="adj" fmla="val 25000"/>
              </a:avLst>
            </a:prstGeom>
            <a:solidFill>
              <a:srgbClr val="0B1F65"/>
            </a:solidFill>
            <a:ln w="9525">
              <a:solidFill>
                <a:schemeClr val="tx1"/>
              </a:solidFill>
              <a:miter lim="800000"/>
              <a:headEnd/>
              <a:tailEnd/>
            </a:ln>
            <a:effectLst>
              <a:outerShdw dist="35921" dir="2700000" algn="ctr" rotWithShape="0">
                <a:schemeClr val="tx1"/>
              </a:outerShdw>
            </a:effectLst>
          </p:spPr>
          <p:txBody>
            <a:bodyPr wrap="none" lIns="45710" tIns="45710" rIns="45710" bIns="45710" anchor="ctr"/>
            <a:lstStyle/>
            <a:p>
              <a:pPr algn="ctr" defTabSz="912813"/>
              <a:r>
                <a:rPr lang="fr-FR" sz="1100" b="1">
                  <a:solidFill>
                    <a:schemeClr val="bg1"/>
                  </a:solidFill>
                </a:rPr>
                <a:t>Opérateurs</a:t>
              </a:r>
            </a:p>
            <a:p>
              <a:pPr algn="ctr" defTabSz="912813"/>
              <a:r>
                <a:rPr lang="fr-FR" sz="1100" b="1">
                  <a:solidFill>
                    <a:schemeClr val="bg1"/>
                  </a:solidFill>
                </a:rPr>
                <a:t>GMPCS</a:t>
              </a:r>
            </a:p>
          </p:txBody>
        </p:sp>
        <p:sp>
          <p:nvSpPr>
            <p:cNvPr id="10" name="AutoShape 12"/>
            <p:cNvSpPr>
              <a:spLocks noChangeArrowheads="1"/>
            </p:cNvSpPr>
            <p:nvPr/>
          </p:nvSpPr>
          <p:spPr bwMode="auto">
            <a:xfrm>
              <a:off x="4183" y="1434"/>
              <a:ext cx="631" cy="294"/>
            </a:xfrm>
            <a:prstGeom prst="cube">
              <a:avLst>
                <a:gd name="adj" fmla="val 25000"/>
              </a:avLst>
            </a:prstGeom>
            <a:solidFill>
              <a:srgbClr val="0B1F65"/>
            </a:solidFill>
            <a:ln w="9525">
              <a:solidFill>
                <a:schemeClr val="tx1"/>
              </a:solidFill>
              <a:miter lim="800000"/>
              <a:headEnd/>
              <a:tailEnd/>
            </a:ln>
            <a:effectLst>
              <a:outerShdw dist="35921" dir="2700000" algn="ctr" rotWithShape="0">
                <a:schemeClr val="tx1"/>
              </a:outerShdw>
            </a:effectLst>
          </p:spPr>
          <p:txBody>
            <a:bodyPr wrap="none" lIns="45710" tIns="45710" rIns="45710" bIns="45710" anchor="ctr"/>
            <a:lstStyle/>
            <a:p>
              <a:pPr algn="ctr" defTabSz="912813"/>
              <a:endParaRPr lang="fr-FR" sz="1100" b="1">
                <a:solidFill>
                  <a:schemeClr val="bg1"/>
                </a:solidFill>
              </a:endParaRPr>
            </a:p>
            <a:p>
              <a:pPr algn="ctr" defTabSz="912813"/>
              <a:endParaRPr lang="fr-FR" sz="1100" b="1">
                <a:solidFill>
                  <a:schemeClr val="bg1"/>
                </a:solidFill>
              </a:endParaRPr>
            </a:p>
            <a:p>
              <a:pPr algn="ctr" defTabSz="912813"/>
              <a:r>
                <a:rPr lang="fr-FR" sz="1100" b="1">
                  <a:solidFill>
                    <a:schemeClr val="bg1"/>
                  </a:solidFill>
                </a:rPr>
                <a:t>Opérateurs</a:t>
              </a:r>
            </a:p>
            <a:p>
              <a:pPr algn="ctr" defTabSz="912813"/>
              <a:r>
                <a:rPr lang="fr-FR" sz="1100" b="1">
                  <a:solidFill>
                    <a:schemeClr val="bg1"/>
                  </a:solidFill>
                </a:rPr>
                <a:t>Radio Trunk </a:t>
              </a:r>
            </a:p>
            <a:p>
              <a:pPr algn="ctr" defTabSz="912813"/>
              <a:endParaRPr lang="fr-FR" sz="1100" b="1">
                <a:solidFill>
                  <a:schemeClr val="bg1"/>
                </a:solidFill>
              </a:endParaRPr>
            </a:p>
            <a:p>
              <a:pPr algn="ctr" defTabSz="912813"/>
              <a:endParaRPr lang="fr-FR" sz="1100" b="1">
                <a:solidFill>
                  <a:schemeClr val="bg1"/>
                </a:solidFill>
              </a:endParaRPr>
            </a:p>
          </p:txBody>
        </p:sp>
        <p:sp>
          <p:nvSpPr>
            <p:cNvPr id="11" name="AutoShape 13"/>
            <p:cNvSpPr>
              <a:spLocks noChangeArrowheads="1"/>
            </p:cNvSpPr>
            <p:nvPr/>
          </p:nvSpPr>
          <p:spPr bwMode="auto">
            <a:xfrm>
              <a:off x="5022" y="1429"/>
              <a:ext cx="510" cy="294"/>
            </a:xfrm>
            <a:prstGeom prst="cube">
              <a:avLst>
                <a:gd name="adj" fmla="val 25000"/>
              </a:avLst>
            </a:prstGeom>
            <a:solidFill>
              <a:srgbClr val="0B1F65"/>
            </a:solidFill>
            <a:ln w="9525">
              <a:solidFill>
                <a:schemeClr val="tx1"/>
              </a:solidFill>
              <a:miter lim="800000"/>
              <a:headEnd/>
              <a:tailEnd/>
            </a:ln>
            <a:effectLst>
              <a:outerShdw dist="35921" dir="2700000" algn="ctr" rotWithShape="0">
                <a:schemeClr val="tx1"/>
              </a:outerShdw>
            </a:effectLst>
          </p:spPr>
          <p:txBody>
            <a:bodyPr wrap="none" lIns="45710" tIns="45710" rIns="45710" bIns="45710" anchor="ctr"/>
            <a:lstStyle/>
            <a:p>
              <a:pPr algn="ctr" defTabSz="912813"/>
              <a:r>
                <a:rPr lang="fr-FR" sz="1100" b="1">
                  <a:solidFill>
                    <a:schemeClr val="bg1"/>
                  </a:solidFill>
                </a:rPr>
                <a:t>ISP</a:t>
              </a:r>
            </a:p>
          </p:txBody>
        </p:sp>
        <p:sp>
          <p:nvSpPr>
            <p:cNvPr id="12" name="AutoShape 14"/>
            <p:cNvSpPr>
              <a:spLocks noChangeArrowheads="1"/>
            </p:cNvSpPr>
            <p:nvPr/>
          </p:nvSpPr>
          <p:spPr bwMode="auto">
            <a:xfrm>
              <a:off x="1391" y="1434"/>
              <a:ext cx="639" cy="294"/>
            </a:xfrm>
            <a:prstGeom prst="cube">
              <a:avLst>
                <a:gd name="adj" fmla="val 25000"/>
              </a:avLst>
            </a:prstGeom>
            <a:solidFill>
              <a:srgbClr val="0B1F65"/>
            </a:solidFill>
            <a:ln w="9525">
              <a:solidFill>
                <a:schemeClr val="tx1"/>
              </a:solidFill>
              <a:miter lim="800000"/>
              <a:headEnd/>
              <a:tailEnd/>
            </a:ln>
            <a:effectLst>
              <a:outerShdw dist="35921" dir="2700000" algn="ctr" rotWithShape="0">
                <a:schemeClr val="tx1"/>
              </a:outerShdw>
            </a:effectLst>
          </p:spPr>
          <p:txBody>
            <a:bodyPr wrap="none" lIns="45710" tIns="45710" rIns="45710" bIns="45710" anchor="ctr"/>
            <a:lstStyle/>
            <a:p>
              <a:pPr algn="ctr" defTabSz="912813"/>
              <a:r>
                <a:rPr lang="fr-FR" sz="1000" b="1" dirty="0">
                  <a:solidFill>
                    <a:schemeClr val="bg1"/>
                  </a:solidFill>
                </a:rPr>
                <a:t>  </a:t>
              </a:r>
              <a:r>
                <a:rPr lang="fr-FR" sz="1000" b="1" dirty="0" smtClean="0">
                  <a:solidFill>
                    <a:schemeClr val="bg1"/>
                  </a:solidFill>
                </a:rPr>
                <a:t>Opérateurs globaux</a:t>
              </a:r>
            </a:p>
            <a:p>
              <a:pPr algn="ctr" defTabSz="912813"/>
              <a:r>
                <a:rPr lang="fr-FR" sz="1000" b="1" dirty="0" smtClean="0">
                  <a:solidFill>
                    <a:schemeClr val="bg1"/>
                  </a:solidFill>
                </a:rPr>
                <a:t> Fixe et </a:t>
              </a:r>
              <a:r>
                <a:rPr lang="fr-FR" sz="1000" b="1" dirty="0">
                  <a:solidFill>
                    <a:schemeClr val="bg1"/>
                  </a:solidFill>
                </a:rPr>
                <a:t>mobile </a:t>
              </a:r>
            </a:p>
          </p:txBody>
        </p:sp>
        <p:sp>
          <p:nvSpPr>
            <p:cNvPr id="14" name="Text Box 16"/>
            <p:cNvSpPr txBox="1">
              <a:spLocks noChangeArrowheads="1"/>
            </p:cNvSpPr>
            <p:nvPr/>
          </p:nvSpPr>
          <p:spPr bwMode="auto">
            <a:xfrm>
              <a:off x="1140" y="1858"/>
              <a:ext cx="1178" cy="170"/>
            </a:xfrm>
            <a:prstGeom prst="rect">
              <a:avLst/>
            </a:prstGeom>
            <a:gradFill rotWithShape="1">
              <a:gsLst>
                <a:gs pos="0">
                  <a:srgbClr val="FF99CC"/>
                </a:gs>
                <a:gs pos="50000">
                  <a:schemeClr val="bg1"/>
                </a:gs>
                <a:gs pos="100000">
                  <a:srgbClr val="FF99CC"/>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marL="193675" indent="-193675" defTabSz="912813">
                <a:defRPr>
                  <a:solidFill>
                    <a:schemeClr val="tx1"/>
                  </a:solidFill>
                  <a:latin typeface="Arial" charset="0"/>
                </a:defRPr>
              </a:lvl1pPr>
              <a:lvl2pPr marL="646113" indent="-220663" defTabSz="912813">
                <a:defRPr>
                  <a:solidFill>
                    <a:schemeClr val="tx1"/>
                  </a:solidFill>
                  <a:latin typeface="Arial" charset="0"/>
                </a:defRPr>
              </a:lvl2pPr>
              <a:lvl3pPr marL="2278063" indent="11113" defTabSz="912813">
                <a:defRPr>
                  <a:solidFill>
                    <a:schemeClr val="tx1"/>
                  </a:solidFill>
                  <a:latin typeface="Arial" charset="0"/>
                </a:defRPr>
              </a:lvl3pPr>
              <a:lvl4pPr marL="2403475" defTabSz="912813">
                <a:defRPr>
                  <a:solidFill>
                    <a:schemeClr val="tx1"/>
                  </a:solidFill>
                  <a:latin typeface="Arial" charset="0"/>
                </a:defRPr>
              </a:lvl4pPr>
              <a:lvl5pPr marL="2517775" defTabSz="912813">
                <a:defRPr>
                  <a:solidFill>
                    <a:schemeClr val="tx1"/>
                  </a:solidFill>
                  <a:latin typeface="Arial" charset="0"/>
                </a:defRPr>
              </a:lvl5pPr>
              <a:lvl6pPr marL="2974975" defTabSz="912813" fontAlgn="base">
                <a:spcBef>
                  <a:spcPct val="0"/>
                </a:spcBef>
                <a:spcAft>
                  <a:spcPct val="0"/>
                </a:spcAft>
                <a:defRPr>
                  <a:solidFill>
                    <a:schemeClr val="tx1"/>
                  </a:solidFill>
                  <a:latin typeface="Arial" charset="0"/>
                </a:defRPr>
              </a:lvl6pPr>
              <a:lvl7pPr marL="3432175" defTabSz="912813" fontAlgn="base">
                <a:spcBef>
                  <a:spcPct val="0"/>
                </a:spcBef>
                <a:spcAft>
                  <a:spcPct val="0"/>
                </a:spcAft>
                <a:defRPr>
                  <a:solidFill>
                    <a:schemeClr val="tx1"/>
                  </a:solidFill>
                  <a:latin typeface="Arial" charset="0"/>
                </a:defRPr>
              </a:lvl7pPr>
              <a:lvl8pPr marL="3889375" defTabSz="912813" fontAlgn="base">
                <a:spcBef>
                  <a:spcPct val="0"/>
                </a:spcBef>
                <a:spcAft>
                  <a:spcPct val="0"/>
                </a:spcAft>
                <a:defRPr>
                  <a:solidFill>
                    <a:schemeClr val="tx1"/>
                  </a:solidFill>
                  <a:latin typeface="Arial" charset="0"/>
                </a:defRPr>
              </a:lvl8pPr>
              <a:lvl9pPr marL="4346575" defTabSz="912813" fontAlgn="base">
                <a:spcBef>
                  <a:spcPct val="0"/>
                </a:spcBef>
                <a:spcAft>
                  <a:spcPct val="0"/>
                </a:spcAft>
                <a:defRPr>
                  <a:solidFill>
                    <a:schemeClr val="tx1"/>
                  </a:solidFill>
                  <a:latin typeface="Arial" charset="0"/>
                </a:defRPr>
              </a:lvl9pPr>
            </a:lstStyle>
            <a:p>
              <a:pPr algn="ctr">
                <a:spcBef>
                  <a:spcPct val="20000"/>
                </a:spcBef>
                <a:buClr>
                  <a:srgbClr val="0B1F65"/>
                </a:buClr>
                <a:buFont typeface="Webdings" pitchFamily="18" charset="2"/>
                <a:buNone/>
                <a:defRPr/>
              </a:pPr>
              <a:r>
                <a:rPr lang="fr-FR" sz="1100" b="1" dirty="0" smtClean="0">
                  <a:solidFill>
                    <a:srgbClr val="000CB3"/>
                  </a:solidFill>
                </a:rPr>
                <a:t>Fixe et mobile: oligopole</a:t>
              </a:r>
            </a:p>
          </p:txBody>
        </p:sp>
        <p:sp>
          <p:nvSpPr>
            <p:cNvPr id="15" name="AutoShape 17"/>
            <p:cNvSpPr>
              <a:spLocks noChangeArrowheads="1"/>
            </p:cNvSpPr>
            <p:nvPr/>
          </p:nvSpPr>
          <p:spPr bwMode="auto">
            <a:xfrm>
              <a:off x="2597" y="2130"/>
              <a:ext cx="591" cy="760"/>
            </a:xfrm>
            <a:prstGeom prst="flowChartMultidocument">
              <a:avLst/>
            </a:prstGeom>
            <a:gradFill rotWithShape="1">
              <a:gsLst>
                <a:gs pos="0">
                  <a:schemeClr val="hlink"/>
                </a:gs>
                <a:gs pos="100000">
                  <a:srgbClr val="FFFFFF"/>
                </a:gs>
              </a:gsLst>
              <a:lin ang="0" scaled="1"/>
            </a:gradFill>
            <a:ln w="9525">
              <a:solidFill>
                <a:schemeClr val="tx1"/>
              </a:solidFill>
              <a:miter lim="800000"/>
              <a:headEnd/>
              <a:tailEnd/>
            </a:ln>
            <a:effectLst>
              <a:outerShdw dist="35921" dir="2700000" algn="ctr" rotWithShape="0">
                <a:schemeClr val="tx1"/>
              </a:outerShdw>
            </a:effectLst>
          </p:spPr>
          <p:txBody>
            <a:bodyPr wrap="none" lIns="45710" tIns="45710" rIns="45710" bIns="45710" anchor="ctr"/>
            <a:lstStyle/>
            <a:p>
              <a:pPr algn="ctr" defTabSz="912813"/>
              <a:r>
                <a:rPr lang="fr-FR" sz="1100" b="1">
                  <a:solidFill>
                    <a:srgbClr val="008000"/>
                  </a:solidFill>
                </a:rPr>
                <a:t>SPACECOM</a:t>
              </a:r>
            </a:p>
            <a:p>
              <a:pPr algn="ctr" defTabSz="912813"/>
              <a:endParaRPr lang="fr-FR" sz="1100" b="1">
                <a:solidFill>
                  <a:srgbClr val="008000"/>
                </a:solidFill>
              </a:endParaRPr>
            </a:p>
            <a:p>
              <a:pPr algn="ctr" defTabSz="912813"/>
              <a:r>
                <a:rPr lang="fr-FR" sz="1100" b="1">
                  <a:solidFill>
                    <a:srgbClr val="008000"/>
                  </a:solidFill>
                </a:rPr>
                <a:t>GULFSAT</a:t>
              </a:r>
            </a:p>
            <a:p>
              <a:pPr algn="ctr" defTabSz="912813"/>
              <a:endParaRPr lang="fr-FR" sz="1100" b="1">
                <a:solidFill>
                  <a:srgbClr val="008000"/>
                </a:solidFill>
              </a:endParaRPr>
            </a:p>
            <a:p>
              <a:pPr algn="ctr" defTabSz="912813"/>
              <a:r>
                <a:rPr lang="fr-FR" sz="1100" b="1">
                  <a:solidFill>
                    <a:srgbClr val="008000"/>
                  </a:solidFill>
                </a:rPr>
                <a:t>CIMECOM</a:t>
              </a:r>
              <a:endParaRPr lang="en-US" sz="1100" b="1">
                <a:solidFill>
                  <a:srgbClr val="008000"/>
                </a:solidFill>
              </a:endParaRPr>
            </a:p>
          </p:txBody>
        </p:sp>
        <p:grpSp>
          <p:nvGrpSpPr>
            <p:cNvPr id="16" name="Group 18"/>
            <p:cNvGrpSpPr>
              <a:grpSpLocks/>
            </p:cNvGrpSpPr>
            <p:nvPr/>
          </p:nvGrpSpPr>
          <p:grpSpPr bwMode="auto">
            <a:xfrm>
              <a:off x="1250" y="2083"/>
              <a:ext cx="763" cy="960"/>
              <a:chOff x="1193" y="1579"/>
              <a:chExt cx="891" cy="961"/>
            </a:xfrm>
          </p:grpSpPr>
          <p:sp>
            <p:nvSpPr>
              <p:cNvPr id="29" name="Rectangle 19"/>
              <p:cNvSpPr>
                <a:spLocks noChangeArrowheads="1"/>
              </p:cNvSpPr>
              <p:nvPr/>
            </p:nvSpPr>
            <p:spPr bwMode="auto">
              <a:xfrm>
                <a:off x="1476" y="1579"/>
                <a:ext cx="608" cy="578"/>
              </a:xfrm>
              <a:prstGeom prst="rect">
                <a:avLst/>
              </a:prstGeom>
              <a:solidFill>
                <a:schemeClr val="hlink"/>
              </a:solidFill>
              <a:ln w="9525" algn="ctr">
                <a:solidFill>
                  <a:schemeClr val="tx1"/>
                </a:solidFill>
                <a:miter lim="800000"/>
                <a:headEnd/>
                <a:tailEnd/>
              </a:ln>
              <a:effectLst>
                <a:outerShdw dist="35921" dir="2700000" algn="ctr" rotWithShape="0">
                  <a:schemeClr val="tx1"/>
                </a:outerShdw>
              </a:effectLst>
            </p:spPr>
            <p:txBody>
              <a:bodyPr wrap="none" lIns="45715" tIns="45715" rIns="45715" bIns="45715" anchor="ctr"/>
              <a:lstStyle/>
              <a:p>
                <a:endParaRPr lang="fr-FR"/>
              </a:p>
            </p:txBody>
          </p:sp>
          <p:sp>
            <p:nvSpPr>
              <p:cNvPr id="30" name="AutoShape 20"/>
              <p:cNvSpPr>
                <a:spLocks noChangeArrowheads="1"/>
              </p:cNvSpPr>
              <p:nvPr/>
            </p:nvSpPr>
            <p:spPr bwMode="auto">
              <a:xfrm>
                <a:off x="1193" y="1676"/>
                <a:ext cx="766" cy="864"/>
              </a:xfrm>
              <a:prstGeom prst="flowChartDocument">
                <a:avLst/>
              </a:prstGeom>
              <a:gradFill rotWithShape="1">
                <a:gsLst>
                  <a:gs pos="0">
                    <a:schemeClr val="hlink"/>
                  </a:gs>
                  <a:gs pos="100000">
                    <a:srgbClr val="FFFFFF"/>
                  </a:gs>
                </a:gsLst>
                <a:lin ang="5400000" scaled="1"/>
              </a:gradFill>
              <a:ln w="9525" algn="ctr">
                <a:solidFill>
                  <a:schemeClr val="tx1"/>
                </a:solidFill>
                <a:miter lim="800000"/>
                <a:headEnd/>
                <a:tailEnd/>
              </a:ln>
              <a:effectLst>
                <a:outerShdw dist="35921" dir="2700000" algn="ctr" rotWithShape="0">
                  <a:schemeClr val="tx1"/>
                </a:outerShdw>
              </a:effectLst>
            </p:spPr>
            <p:txBody>
              <a:bodyPr wrap="none" lIns="45710" tIns="45710" rIns="45710" bIns="45710" anchor="ctr"/>
              <a:lstStyle/>
              <a:p>
                <a:pPr algn="ctr" defTabSz="912813"/>
                <a:r>
                  <a:rPr lang="en-US" sz="1400" b="1" dirty="0" smtClean="0">
                    <a:solidFill>
                      <a:schemeClr val="tx2"/>
                    </a:solidFill>
                  </a:rPr>
                  <a:t>IAM</a:t>
                </a:r>
                <a:endParaRPr lang="en-US" sz="1400" b="1" dirty="0">
                  <a:solidFill>
                    <a:schemeClr val="tx2"/>
                  </a:solidFill>
                </a:endParaRPr>
              </a:p>
              <a:p>
                <a:pPr algn="ctr" defTabSz="912813"/>
                <a:endParaRPr lang="en-US" sz="1400" b="1" dirty="0">
                  <a:solidFill>
                    <a:schemeClr val="tx2"/>
                  </a:solidFill>
                </a:endParaRPr>
              </a:p>
              <a:p>
                <a:pPr algn="ctr" defTabSz="912813"/>
                <a:r>
                  <a:rPr lang="en-US" sz="1400" b="1" dirty="0" smtClean="0">
                    <a:solidFill>
                      <a:schemeClr val="tx2"/>
                    </a:solidFill>
                  </a:rPr>
                  <a:t>MEDITELECOM</a:t>
                </a:r>
              </a:p>
              <a:p>
                <a:pPr algn="ctr" defTabSz="912813"/>
                <a:endParaRPr lang="en-US" sz="1400" dirty="0">
                  <a:solidFill>
                    <a:schemeClr val="tx2"/>
                  </a:solidFill>
                </a:endParaRPr>
              </a:p>
              <a:p>
                <a:pPr algn="ctr" defTabSz="912813"/>
                <a:r>
                  <a:rPr lang="en-US" sz="1400" b="1" dirty="0" smtClean="0">
                    <a:solidFill>
                      <a:schemeClr val="tx2"/>
                    </a:solidFill>
                  </a:rPr>
                  <a:t>WANA</a:t>
                </a:r>
                <a:endParaRPr lang="en-US" sz="1400" b="1" dirty="0">
                  <a:solidFill>
                    <a:schemeClr val="tx2"/>
                  </a:solidFill>
                </a:endParaRPr>
              </a:p>
            </p:txBody>
          </p:sp>
        </p:grpSp>
        <p:sp>
          <p:nvSpPr>
            <p:cNvPr id="17" name="AutoShape 21"/>
            <p:cNvSpPr>
              <a:spLocks noChangeArrowheads="1"/>
            </p:cNvSpPr>
            <p:nvPr/>
          </p:nvSpPr>
          <p:spPr bwMode="auto">
            <a:xfrm>
              <a:off x="3379" y="2130"/>
              <a:ext cx="648" cy="1666"/>
            </a:xfrm>
            <a:prstGeom prst="flowChartMultidocument">
              <a:avLst/>
            </a:prstGeom>
            <a:gradFill rotWithShape="1">
              <a:gsLst>
                <a:gs pos="0">
                  <a:schemeClr val="hlink"/>
                </a:gs>
                <a:gs pos="100000">
                  <a:srgbClr val="FFFFFF"/>
                </a:gs>
              </a:gsLst>
              <a:lin ang="0" scaled="1"/>
            </a:gradFill>
            <a:ln w="9525">
              <a:solidFill>
                <a:schemeClr val="tx1"/>
              </a:solidFill>
              <a:miter lim="800000"/>
              <a:headEnd/>
              <a:tailEnd/>
            </a:ln>
            <a:effectLst>
              <a:outerShdw dist="35921" dir="2700000" algn="ctr" rotWithShape="0">
                <a:schemeClr val="tx1"/>
              </a:outerShdw>
            </a:effectLst>
          </p:spPr>
          <p:txBody>
            <a:bodyPr wrap="none" lIns="45710" tIns="45710" rIns="45710" bIns="45710" anchor="ctr"/>
            <a:lstStyle/>
            <a:p>
              <a:pPr algn="ctr" defTabSz="912813"/>
              <a:r>
                <a:rPr lang="fr-FR" sz="1100" b="1" dirty="0">
                  <a:solidFill>
                    <a:srgbClr val="008000"/>
                  </a:solidFill>
                </a:rPr>
                <a:t>EUROPEAN </a:t>
              </a:r>
            </a:p>
            <a:p>
              <a:pPr algn="ctr" defTabSz="912813"/>
              <a:r>
                <a:rPr lang="fr-FR" sz="1100" b="1" dirty="0">
                  <a:solidFill>
                    <a:srgbClr val="008000"/>
                  </a:solidFill>
                </a:rPr>
                <a:t>DATACOM</a:t>
              </a:r>
            </a:p>
            <a:p>
              <a:pPr algn="ctr" defTabSz="912813"/>
              <a:endParaRPr lang="fr-FR" sz="1100" b="1" dirty="0">
                <a:solidFill>
                  <a:srgbClr val="008000"/>
                </a:solidFill>
              </a:endParaRPr>
            </a:p>
            <a:p>
              <a:pPr algn="ctr" defTabSz="912813"/>
              <a:r>
                <a:rPr lang="fr-FR" sz="1100" b="1" dirty="0">
                  <a:solidFill>
                    <a:srgbClr val="008000"/>
                  </a:solidFill>
                </a:rPr>
                <a:t>GLOBALSTAR</a:t>
              </a:r>
            </a:p>
            <a:p>
              <a:pPr algn="ctr" defTabSz="912813"/>
              <a:endParaRPr lang="fr-FR" sz="1100" b="1" dirty="0">
                <a:solidFill>
                  <a:srgbClr val="008000"/>
                </a:solidFill>
              </a:endParaRPr>
            </a:p>
            <a:p>
              <a:pPr algn="ctr" defTabSz="912813"/>
              <a:r>
                <a:rPr lang="fr-FR" sz="1100" b="1" dirty="0">
                  <a:solidFill>
                    <a:srgbClr val="008000"/>
                  </a:solidFill>
                </a:rPr>
                <a:t>ORBCOMM</a:t>
              </a:r>
            </a:p>
            <a:p>
              <a:pPr algn="ctr" defTabSz="912813"/>
              <a:endParaRPr lang="fr-FR" sz="1100" b="1" dirty="0">
                <a:solidFill>
                  <a:srgbClr val="008000"/>
                </a:solidFill>
              </a:endParaRPr>
            </a:p>
            <a:p>
              <a:pPr algn="ctr" defTabSz="912813"/>
              <a:r>
                <a:rPr lang="fr-FR" sz="1100" b="1" dirty="0">
                  <a:solidFill>
                    <a:srgbClr val="008000"/>
                  </a:solidFill>
                </a:rPr>
                <a:t>SOREMAR</a:t>
              </a:r>
            </a:p>
            <a:p>
              <a:pPr algn="ctr" defTabSz="912813"/>
              <a:endParaRPr lang="fr-FR" sz="1100" b="1" dirty="0" smtClean="0">
                <a:solidFill>
                  <a:srgbClr val="008000"/>
                </a:solidFill>
              </a:endParaRPr>
            </a:p>
          </p:txBody>
        </p:sp>
        <p:grpSp>
          <p:nvGrpSpPr>
            <p:cNvPr id="18" name="Group 22"/>
            <p:cNvGrpSpPr>
              <a:grpSpLocks/>
            </p:cNvGrpSpPr>
            <p:nvPr/>
          </p:nvGrpSpPr>
          <p:grpSpPr bwMode="auto">
            <a:xfrm>
              <a:off x="4149" y="2130"/>
              <a:ext cx="521" cy="799"/>
              <a:chOff x="1429" y="2614"/>
              <a:chExt cx="907" cy="816"/>
            </a:xfrm>
          </p:grpSpPr>
          <p:sp>
            <p:nvSpPr>
              <p:cNvPr id="27" name="Rectangle 23"/>
              <p:cNvSpPr>
                <a:spLocks noChangeArrowheads="1"/>
              </p:cNvSpPr>
              <p:nvPr/>
            </p:nvSpPr>
            <p:spPr bwMode="auto">
              <a:xfrm>
                <a:off x="1558" y="2614"/>
                <a:ext cx="778" cy="726"/>
              </a:xfrm>
              <a:prstGeom prst="rect">
                <a:avLst/>
              </a:prstGeom>
              <a:solidFill>
                <a:schemeClr val="hlink"/>
              </a:solidFill>
              <a:ln w="9525" algn="ctr">
                <a:solidFill>
                  <a:schemeClr val="tx1"/>
                </a:solidFill>
                <a:miter lim="800000"/>
                <a:headEnd/>
                <a:tailEnd/>
              </a:ln>
              <a:effectLst>
                <a:outerShdw dist="35921" dir="2700000" algn="ctr" rotWithShape="0">
                  <a:schemeClr val="tx1"/>
                </a:outerShdw>
              </a:effectLst>
            </p:spPr>
            <p:txBody>
              <a:bodyPr wrap="none" lIns="45715" tIns="45715" rIns="45715" bIns="45715" anchor="ctr"/>
              <a:lstStyle/>
              <a:p>
                <a:endParaRPr lang="fr-FR"/>
              </a:p>
            </p:txBody>
          </p:sp>
          <p:sp>
            <p:nvSpPr>
              <p:cNvPr id="28" name="AutoShape 24"/>
              <p:cNvSpPr>
                <a:spLocks noChangeArrowheads="1"/>
              </p:cNvSpPr>
              <p:nvPr/>
            </p:nvSpPr>
            <p:spPr bwMode="auto">
              <a:xfrm>
                <a:off x="1429" y="2704"/>
                <a:ext cx="771" cy="726"/>
              </a:xfrm>
              <a:prstGeom prst="flowChartDocument">
                <a:avLst/>
              </a:prstGeom>
              <a:gradFill rotWithShape="1">
                <a:gsLst>
                  <a:gs pos="0">
                    <a:schemeClr val="hlink"/>
                  </a:gs>
                  <a:gs pos="100000">
                    <a:srgbClr val="FFFFFF"/>
                  </a:gs>
                </a:gsLst>
                <a:lin ang="5400000" scaled="1"/>
              </a:gradFill>
              <a:ln w="9525" algn="ctr">
                <a:solidFill>
                  <a:schemeClr val="tx1"/>
                </a:solidFill>
                <a:miter lim="800000"/>
                <a:headEnd/>
                <a:tailEnd/>
              </a:ln>
              <a:effectLst>
                <a:outerShdw dist="35921" dir="2700000" algn="ctr" rotWithShape="0">
                  <a:schemeClr val="tx1"/>
                </a:outerShdw>
              </a:effectLst>
            </p:spPr>
            <p:txBody>
              <a:bodyPr wrap="none" lIns="45710" tIns="45710" rIns="45710" bIns="45710" anchor="ctr"/>
              <a:lstStyle/>
              <a:p>
                <a:pPr algn="ctr" defTabSz="912813"/>
                <a:r>
                  <a:rPr lang="fr-FR" sz="1100" b="1" dirty="0" smtClean="0">
                    <a:solidFill>
                      <a:srgbClr val="008000"/>
                    </a:solidFill>
                  </a:rPr>
                  <a:t>MORATEL</a:t>
                </a:r>
              </a:p>
              <a:p>
                <a:pPr algn="ctr" defTabSz="912813"/>
                <a:endParaRPr lang="fr-FR" sz="1100" b="1" dirty="0" smtClean="0">
                  <a:solidFill>
                    <a:srgbClr val="008000"/>
                  </a:solidFill>
                </a:endParaRPr>
              </a:p>
              <a:p>
                <a:pPr algn="ctr" defTabSz="912813"/>
                <a:r>
                  <a:rPr lang="fr-FR" sz="1100" b="1" dirty="0" smtClean="0">
                    <a:solidFill>
                      <a:srgbClr val="008000"/>
                    </a:solidFill>
                  </a:rPr>
                  <a:t>CIRES</a:t>
                </a:r>
              </a:p>
              <a:p>
                <a:pPr algn="ctr" defTabSz="912813"/>
                <a:r>
                  <a:rPr lang="fr-FR" sz="1100" b="1" dirty="0" smtClean="0">
                    <a:solidFill>
                      <a:srgbClr val="008000"/>
                    </a:solidFill>
                  </a:rPr>
                  <a:t> TELECOM</a:t>
                </a:r>
                <a:endParaRPr lang="en-US" sz="1100" b="1" dirty="0">
                  <a:solidFill>
                    <a:srgbClr val="008000"/>
                  </a:solidFill>
                </a:endParaRPr>
              </a:p>
            </p:txBody>
          </p:sp>
        </p:grpSp>
        <p:sp>
          <p:nvSpPr>
            <p:cNvPr id="19" name="Text Box 25"/>
            <p:cNvSpPr txBox="1">
              <a:spLocks noChangeArrowheads="1"/>
            </p:cNvSpPr>
            <p:nvPr/>
          </p:nvSpPr>
          <p:spPr bwMode="auto">
            <a:xfrm>
              <a:off x="4217" y="1858"/>
              <a:ext cx="528" cy="170"/>
            </a:xfrm>
            <a:prstGeom prst="rect">
              <a:avLst/>
            </a:prstGeom>
            <a:gradFill rotWithShape="1">
              <a:gsLst>
                <a:gs pos="0">
                  <a:srgbClr val="FF99CC"/>
                </a:gs>
                <a:gs pos="50000">
                  <a:schemeClr val="bg1"/>
                </a:gs>
                <a:gs pos="100000">
                  <a:srgbClr val="FF99CC"/>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marL="193675" indent="-193675" defTabSz="912813">
                <a:defRPr>
                  <a:solidFill>
                    <a:schemeClr val="tx1"/>
                  </a:solidFill>
                  <a:latin typeface="Arial" charset="0"/>
                </a:defRPr>
              </a:lvl1pPr>
              <a:lvl2pPr marL="646113" indent="-220663" defTabSz="912813">
                <a:defRPr>
                  <a:solidFill>
                    <a:schemeClr val="tx1"/>
                  </a:solidFill>
                  <a:latin typeface="Arial" charset="0"/>
                </a:defRPr>
              </a:lvl2pPr>
              <a:lvl3pPr marL="2278063" indent="11113" defTabSz="912813">
                <a:defRPr>
                  <a:solidFill>
                    <a:schemeClr val="tx1"/>
                  </a:solidFill>
                  <a:latin typeface="Arial" charset="0"/>
                </a:defRPr>
              </a:lvl3pPr>
              <a:lvl4pPr marL="2403475" defTabSz="912813">
                <a:defRPr>
                  <a:solidFill>
                    <a:schemeClr val="tx1"/>
                  </a:solidFill>
                  <a:latin typeface="Arial" charset="0"/>
                </a:defRPr>
              </a:lvl4pPr>
              <a:lvl5pPr marL="2517775" defTabSz="912813">
                <a:defRPr>
                  <a:solidFill>
                    <a:schemeClr val="tx1"/>
                  </a:solidFill>
                  <a:latin typeface="Arial" charset="0"/>
                </a:defRPr>
              </a:lvl5pPr>
              <a:lvl6pPr marL="2974975" defTabSz="912813" fontAlgn="base">
                <a:spcBef>
                  <a:spcPct val="0"/>
                </a:spcBef>
                <a:spcAft>
                  <a:spcPct val="0"/>
                </a:spcAft>
                <a:defRPr>
                  <a:solidFill>
                    <a:schemeClr val="tx1"/>
                  </a:solidFill>
                  <a:latin typeface="Arial" charset="0"/>
                </a:defRPr>
              </a:lvl6pPr>
              <a:lvl7pPr marL="3432175" defTabSz="912813" fontAlgn="base">
                <a:spcBef>
                  <a:spcPct val="0"/>
                </a:spcBef>
                <a:spcAft>
                  <a:spcPct val="0"/>
                </a:spcAft>
                <a:defRPr>
                  <a:solidFill>
                    <a:schemeClr val="tx1"/>
                  </a:solidFill>
                  <a:latin typeface="Arial" charset="0"/>
                </a:defRPr>
              </a:lvl7pPr>
              <a:lvl8pPr marL="3889375" defTabSz="912813" fontAlgn="base">
                <a:spcBef>
                  <a:spcPct val="0"/>
                </a:spcBef>
                <a:spcAft>
                  <a:spcPct val="0"/>
                </a:spcAft>
                <a:defRPr>
                  <a:solidFill>
                    <a:schemeClr val="tx1"/>
                  </a:solidFill>
                  <a:latin typeface="Arial" charset="0"/>
                </a:defRPr>
              </a:lvl8pPr>
              <a:lvl9pPr marL="4346575" defTabSz="912813" fontAlgn="base">
                <a:spcBef>
                  <a:spcPct val="0"/>
                </a:spcBef>
                <a:spcAft>
                  <a:spcPct val="0"/>
                </a:spcAft>
                <a:defRPr>
                  <a:solidFill>
                    <a:schemeClr val="tx1"/>
                  </a:solidFill>
                  <a:latin typeface="Arial" charset="0"/>
                </a:defRPr>
              </a:lvl9pPr>
            </a:lstStyle>
            <a:p>
              <a:pPr algn="ctr">
                <a:spcBef>
                  <a:spcPct val="20000"/>
                </a:spcBef>
                <a:buClr>
                  <a:srgbClr val="0B1F65"/>
                </a:buClr>
                <a:buFont typeface="Webdings" pitchFamily="18" charset="2"/>
                <a:buNone/>
                <a:defRPr/>
              </a:pPr>
              <a:r>
                <a:rPr lang="fr-FR" sz="1100" b="1" smtClean="0">
                  <a:solidFill>
                    <a:srgbClr val="000CB3"/>
                  </a:solidFill>
                </a:rPr>
                <a:t>Duopole</a:t>
              </a:r>
            </a:p>
          </p:txBody>
        </p:sp>
        <p:sp>
          <p:nvSpPr>
            <p:cNvPr id="20" name="Text Box 26"/>
            <p:cNvSpPr txBox="1">
              <a:spLocks noChangeArrowheads="1"/>
            </p:cNvSpPr>
            <p:nvPr/>
          </p:nvSpPr>
          <p:spPr bwMode="auto">
            <a:xfrm>
              <a:off x="3474" y="1858"/>
              <a:ext cx="529" cy="170"/>
            </a:xfrm>
            <a:prstGeom prst="rect">
              <a:avLst/>
            </a:prstGeom>
            <a:gradFill rotWithShape="1">
              <a:gsLst>
                <a:gs pos="0">
                  <a:srgbClr val="FF99CC"/>
                </a:gs>
                <a:gs pos="50000">
                  <a:schemeClr val="bg1"/>
                </a:gs>
                <a:gs pos="100000">
                  <a:srgbClr val="FF99CC"/>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marL="193675" indent="-193675" defTabSz="912813">
                <a:defRPr>
                  <a:solidFill>
                    <a:schemeClr val="tx1"/>
                  </a:solidFill>
                  <a:latin typeface="Arial" charset="0"/>
                </a:defRPr>
              </a:lvl1pPr>
              <a:lvl2pPr marL="646113" indent="-220663" defTabSz="912813">
                <a:defRPr>
                  <a:solidFill>
                    <a:schemeClr val="tx1"/>
                  </a:solidFill>
                  <a:latin typeface="Arial" charset="0"/>
                </a:defRPr>
              </a:lvl2pPr>
              <a:lvl3pPr marL="2278063" indent="11113" defTabSz="912813">
                <a:defRPr>
                  <a:solidFill>
                    <a:schemeClr val="tx1"/>
                  </a:solidFill>
                  <a:latin typeface="Arial" charset="0"/>
                </a:defRPr>
              </a:lvl3pPr>
              <a:lvl4pPr marL="2403475" defTabSz="912813">
                <a:defRPr>
                  <a:solidFill>
                    <a:schemeClr val="tx1"/>
                  </a:solidFill>
                  <a:latin typeface="Arial" charset="0"/>
                </a:defRPr>
              </a:lvl4pPr>
              <a:lvl5pPr marL="2517775" defTabSz="912813">
                <a:defRPr>
                  <a:solidFill>
                    <a:schemeClr val="tx1"/>
                  </a:solidFill>
                  <a:latin typeface="Arial" charset="0"/>
                </a:defRPr>
              </a:lvl5pPr>
              <a:lvl6pPr marL="2974975" defTabSz="912813" fontAlgn="base">
                <a:spcBef>
                  <a:spcPct val="0"/>
                </a:spcBef>
                <a:spcAft>
                  <a:spcPct val="0"/>
                </a:spcAft>
                <a:defRPr>
                  <a:solidFill>
                    <a:schemeClr val="tx1"/>
                  </a:solidFill>
                  <a:latin typeface="Arial" charset="0"/>
                </a:defRPr>
              </a:lvl6pPr>
              <a:lvl7pPr marL="3432175" defTabSz="912813" fontAlgn="base">
                <a:spcBef>
                  <a:spcPct val="0"/>
                </a:spcBef>
                <a:spcAft>
                  <a:spcPct val="0"/>
                </a:spcAft>
                <a:defRPr>
                  <a:solidFill>
                    <a:schemeClr val="tx1"/>
                  </a:solidFill>
                  <a:latin typeface="Arial" charset="0"/>
                </a:defRPr>
              </a:lvl7pPr>
              <a:lvl8pPr marL="3889375" defTabSz="912813" fontAlgn="base">
                <a:spcBef>
                  <a:spcPct val="0"/>
                </a:spcBef>
                <a:spcAft>
                  <a:spcPct val="0"/>
                </a:spcAft>
                <a:defRPr>
                  <a:solidFill>
                    <a:schemeClr val="tx1"/>
                  </a:solidFill>
                  <a:latin typeface="Arial" charset="0"/>
                </a:defRPr>
              </a:lvl8pPr>
              <a:lvl9pPr marL="4346575" defTabSz="912813" fontAlgn="base">
                <a:spcBef>
                  <a:spcPct val="0"/>
                </a:spcBef>
                <a:spcAft>
                  <a:spcPct val="0"/>
                </a:spcAft>
                <a:defRPr>
                  <a:solidFill>
                    <a:schemeClr val="tx1"/>
                  </a:solidFill>
                  <a:latin typeface="Arial" charset="0"/>
                </a:defRPr>
              </a:lvl9pPr>
            </a:lstStyle>
            <a:p>
              <a:pPr algn="ctr">
                <a:spcBef>
                  <a:spcPct val="20000"/>
                </a:spcBef>
                <a:buClr>
                  <a:srgbClr val="0B1F65"/>
                </a:buClr>
                <a:buFont typeface="Webdings" pitchFamily="18" charset="2"/>
                <a:buNone/>
                <a:defRPr/>
              </a:pPr>
              <a:r>
                <a:rPr lang="fr-FR" sz="1100" b="1" smtClean="0">
                  <a:solidFill>
                    <a:srgbClr val="000CB3"/>
                  </a:solidFill>
                </a:rPr>
                <a:t>Oligopole</a:t>
              </a:r>
            </a:p>
          </p:txBody>
        </p:sp>
        <p:sp>
          <p:nvSpPr>
            <p:cNvPr id="21" name="Text Box 27"/>
            <p:cNvSpPr txBox="1">
              <a:spLocks noChangeArrowheads="1"/>
            </p:cNvSpPr>
            <p:nvPr/>
          </p:nvSpPr>
          <p:spPr bwMode="auto">
            <a:xfrm>
              <a:off x="2629" y="1858"/>
              <a:ext cx="527" cy="170"/>
            </a:xfrm>
            <a:prstGeom prst="rect">
              <a:avLst/>
            </a:prstGeom>
            <a:gradFill rotWithShape="1">
              <a:gsLst>
                <a:gs pos="0">
                  <a:srgbClr val="FF99CC"/>
                </a:gs>
                <a:gs pos="50000">
                  <a:schemeClr val="bg1"/>
                </a:gs>
                <a:gs pos="100000">
                  <a:srgbClr val="FF99CC"/>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marL="193675" indent="-193675" defTabSz="912813">
                <a:defRPr>
                  <a:solidFill>
                    <a:schemeClr val="tx1"/>
                  </a:solidFill>
                  <a:latin typeface="Arial" charset="0"/>
                </a:defRPr>
              </a:lvl1pPr>
              <a:lvl2pPr marL="646113" indent="-220663" defTabSz="912813">
                <a:defRPr>
                  <a:solidFill>
                    <a:schemeClr val="tx1"/>
                  </a:solidFill>
                  <a:latin typeface="Arial" charset="0"/>
                </a:defRPr>
              </a:lvl2pPr>
              <a:lvl3pPr marL="2278063" indent="11113" defTabSz="912813">
                <a:defRPr>
                  <a:solidFill>
                    <a:schemeClr val="tx1"/>
                  </a:solidFill>
                  <a:latin typeface="Arial" charset="0"/>
                </a:defRPr>
              </a:lvl3pPr>
              <a:lvl4pPr marL="2403475" defTabSz="912813">
                <a:defRPr>
                  <a:solidFill>
                    <a:schemeClr val="tx1"/>
                  </a:solidFill>
                  <a:latin typeface="Arial" charset="0"/>
                </a:defRPr>
              </a:lvl4pPr>
              <a:lvl5pPr marL="2517775" defTabSz="912813">
                <a:defRPr>
                  <a:solidFill>
                    <a:schemeClr val="tx1"/>
                  </a:solidFill>
                  <a:latin typeface="Arial" charset="0"/>
                </a:defRPr>
              </a:lvl5pPr>
              <a:lvl6pPr marL="2974975" defTabSz="912813" fontAlgn="base">
                <a:spcBef>
                  <a:spcPct val="0"/>
                </a:spcBef>
                <a:spcAft>
                  <a:spcPct val="0"/>
                </a:spcAft>
                <a:defRPr>
                  <a:solidFill>
                    <a:schemeClr val="tx1"/>
                  </a:solidFill>
                  <a:latin typeface="Arial" charset="0"/>
                </a:defRPr>
              </a:lvl6pPr>
              <a:lvl7pPr marL="3432175" defTabSz="912813" fontAlgn="base">
                <a:spcBef>
                  <a:spcPct val="0"/>
                </a:spcBef>
                <a:spcAft>
                  <a:spcPct val="0"/>
                </a:spcAft>
                <a:defRPr>
                  <a:solidFill>
                    <a:schemeClr val="tx1"/>
                  </a:solidFill>
                  <a:latin typeface="Arial" charset="0"/>
                </a:defRPr>
              </a:lvl7pPr>
              <a:lvl8pPr marL="3889375" defTabSz="912813" fontAlgn="base">
                <a:spcBef>
                  <a:spcPct val="0"/>
                </a:spcBef>
                <a:spcAft>
                  <a:spcPct val="0"/>
                </a:spcAft>
                <a:defRPr>
                  <a:solidFill>
                    <a:schemeClr val="tx1"/>
                  </a:solidFill>
                  <a:latin typeface="Arial" charset="0"/>
                </a:defRPr>
              </a:lvl8pPr>
              <a:lvl9pPr marL="4346575" defTabSz="912813" fontAlgn="base">
                <a:spcBef>
                  <a:spcPct val="0"/>
                </a:spcBef>
                <a:spcAft>
                  <a:spcPct val="0"/>
                </a:spcAft>
                <a:defRPr>
                  <a:solidFill>
                    <a:schemeClr val="tx1"/>
                  </a:solidFill>
                  <a:latin typeface="Arial" charset="0"/>
                </a:defRPr>
              </a:lvl9pPr>
            </a:lstStyle>
            <a:p>
              <a:pPr algn="ctr">
                <a:spcBef>
                  <a:spcPct val="20000"/>
                </a:spcBef>
                <a:buClr>
                  <a:srgbClr val="0B1F65"/>
                </a:buClr>
                <a:buFont typeface="Webdings" pitchFamily="18" charset="2"/>
                <a:buNone/>
                <a:defRPr/>
              </a:pPr>
              <a:r>
                <a:rPr lang="fr-FR" sz="1100" b="1" smtClean="0">
                  <a:solidFill>
                    <a:srgbClr val="000CB3"/>
                  </a:solidFill>
                </a:rPr>
                <a:t>oligopole</a:t>
              </a:r>
            </a:p>
          </p:txBody>
        </p:sp>
        <p:sp>
          <p:nvSpPr>
            <p:cNvPr id="22" name="Text Box 28"/>
            <p:cNvSpPr txBox="1">
              <a:spLocks noChangeArrowheads="1"/>
            </p:cNvSpPr>
            <p:nvPr/>
          </p:nvSpPr>
          <p:spPr bwMode="auto">
            <a:xfrm>
              <a:off x="4893" y="1846"/>
              <a:ext cx="704" cy="240"/>
            </a:xfrm>
            <a:prstGeom prst="rect">
              <a:avLst/>
            </a:prstGeom>
            <a:gradFill rotWithShape="1">
              <a:gsLst>
                <a:gs pos="0">
                  <a:srgbClr val="339966"/>
                </a:gs>
                <a:gs pos="50000">
                  <a:schemeClr val="bg1"/>
                </a:gs>
                <a:gs pos="100000">
                  <a:srgbClr val="339966"/>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marL="193675" indent="-193675" defTabSz="912813">
                <a:defRPr>
                  <a:solidFill>
                    <a:schemeClr val="tx1"/>
                  </a:solidFill>
                  <a:latin typeface="Arial" charset="0"/>
                </a:defRPr>
              </a:lvl1pPr>
              <a:lvl2pPr marL="646113" indent="-220663" defTabSz="912813">
                <a:defRPr>
                  <a:solidFill>
                    <a:schemeClr val="tx1"/>
                  </a:solidFill>
                  <a:latin typeface="Arial" charset="0"/>
                </a:defRPr>
              </a:lvl2pPr>
              <a:lvl3pPr marL="2278063" indent="11113" defTabSz="912813">
                <a:defRPr>
                  <a:solidFill>
                    <a:schemeClr val="tx1"/>
                  </a:solidFill>
                  <a:latin typeface="Arial" charset="0"/>
                </a:defRPr>
              </a:lvl3pPr>
              <a:lvl4pPr marL="2403475" defTabSz="912813">
                <a:defRPr>
                  <a:solidFill>
                    <a:schemeClr val="tx1"/>
                  </a:solidFill>
                  <a:latin typeface="Arial" charset="0"/>
                </a:defRPr>
              </a:lvl4pPr>
              <a:lvl5pPr marL="2517775" defTabSz="912813">
                <a:defRPr>
                  <a:solidFill>
                    <a:schemeClr val="tx1"/>
                  </a:solidFill>
                  <a:latin typeface="Arial" charset="0"/>
                </a:defRPr>
              </a:lvl5pPr>
              <a:lvl6pPr marL="2974975" defTabSz="912813" fontAlgn="base">
                <a:spcBef>
                  <a:spcPct val="0"/>
                </a:spcBef>
                <a:spcAft>
                  <a:spcPct val="0"/>
                </a:spcAft>
                <a:defRPr>
                  <a:solidFill>
                    <a:schemeClr val="tx1"/>
                  </a:solidFill>
                  <a:latin typeface="Arial" charset="0"/>
                </a:defRPr>
              </a:lvl6pPr>
              <a:lvl7pPr marL="3432175" defTabSz="912813" fontAlgn="base">
                <a:spcBef>
                  <a:spcPct val="0"/>
                </a:spcBef>
                <a:spcAft>
                  <a:spcPct val="0"/>
                </a:spcAft>
                <a:defRPr>
                  <a:solidFill>
                    <a:schemeClr val="tx1"/>
                  </a:solidFill>
                  <a:latin typeface="Arial" charset="0"/>
                </a:defRPr>
              </a:lvl7pPr>
              <a:lvl8pPr marL="3889375" defTabSz="912813" fontAlgn="base">
                <a:spcBef>
                  <a:spcPct val="0"/>
                </a:spcBef>
                <a:spcAft>
                  <a:spcPct val="0"/>
                </a:spcAft>
                <a:defRPr>
                  <a:solidFill>
                    <a:schemeClr val="tx1"/>
                  </a:solidFill>
                  <a:latin typeface="Arial" charset="0"/>
                </a:defRPr>
              </a:lvl8pPr>
              <a:lvl9pPr marL="4346575" defTabSz="912813" fontAlgn="base">
                <a:spcBef>
                  <a:spcPct val="0"/>
                </a:spcBef>
                <a:spcAft>
                  <a:spcPct val="0"/>
                </a:spcAft>
                <a:defRPr>
                  <a:solidFill>
                    <a:schemeClr val="tx1"/>
                  </a:solidFill>
                  <a:latin typeface="Arial" charset="0"/>
                </a:defRPr>
              </a:lvl9pPr>
            </a:lstStyle>
            <a:p>
              <a:pPr algn="ctr">
                <a:spcBef>
                  <a:spcPct val="20000"/>
                </a:spcBef>
                <a:buClr>
                  <a:srgbClr val="0B1F65"/>
                </a:buClr>
                <a:buFont typeface="Webdings" pitchFamily="18" charset="2"/>
                <a:buNone/>
                <a:defRPr/>
              </a:pPr>
              <a:r>
                <a:rPr lang="en-US" sz="1100" b="1" smtClean="0">
                  <a:solidFill>
                    <a:srgbClr val="000CB3"/>
                  </a:solidFill>
                </a:rPr>
                <a:t>Concurrence ouverte</a:t>
              </a:r>
              <a:endParaRPr lang="fr-FR" sz="1100" b="1" smtClean="0">
                <a:solidFill>
                  <a:srgbClr val="000CB3"/>
                </a:solidFill>
              </a:endParaRPr>
            </a:p>
          </p:txBody>
        </p:sp>
        <p:sp>
          <p:nvSpPr>
            <p:cNvPr id="23" name="AutoShape 29"/>
            <p:cNvSpPr>
              <a:spLocks noChangeArrowheads="1"/>
            </p:cNvSpPr>
            <p:nvPr/>
          </p:nvSpPr>
          <p:spPr bwMode="auto">
            <a:xfrm>
              <a:off x="4814" y="2207"/>
              <a:ext cx="783" cy="1360"/>
            </a:xfrm>
            <a:prstGeom prst="flowChartMultidocument">
              <a:avLst/>
            </a:prstGeom>
            <a:gradFill rotWithShape="1">
              <a:gsLst>
                <a:gs pos="0">
                  <a:schemeClr val="hlink"/>
                </a:gs>
                <a:gs pos="100000">
                  <a:srgbClr val="FFFFFF"/>
                </a:gs>
              </a:gsLst>
              <a:lin ang="0" scaled="1"/>
            </a:gradFill>
            <a:ln w="9525">
              <a:solidFill>
                <a:schemeClr val="tx1"/>
              </a:solidFill>
              <a:miter lim="800000"/>
              <a:headEnd/>
              <a:tailEnd/>
            </a:ln>
            <a:effectLst>
              <a:outerShdw dist="35921" dir="2700000" algn="ctr" rotWithShape="0">
                <a:schemeClr val="tx1"/>
              </a:outerShdw>
            </a:effectLst>
          </p:spPr>
          <p:txBody>
            <a:bodyPr wrap="none" lIns="45710" tIns="45710" rIns="45710" bIns="45710" anchor="ctr"/>
            <a:lstStyle/>
            <a:p>
              <a:pPr algn="ctr" defTabSz="912813"/>
              <a:r>
                <a:rPr lang="fr-FR" sz="1100" b="1" dirty="0" smtClean="0">
                  <a:solidFill>
                    <a:srgbClr val="FF0066"/>
                  </a:solidFill>
                </a:rPr>
                <a:t>IAM</a:t>
              </a:r>
              <a:endParaRPr lang="fr-FR" sz="1100" b="1" dirty="0">
                <a:solidFill>
                  <a:srgbClr val="FF0066"/>
                </a:solidFill>
              </a:endParaRPr>
            </a:p>
            <a:p>
              <a:pPr algn="ctr" defTabSz="912813"/>
              <a:endParaRPr lang="fr-FR" sz="1100" b="1" dirty="0">
                <a:solidFill>
                  <a:srgbClr val="FF0066"/>
                </a:solidFill>
              </a:endParaRPr>
            </a:p>
            <a:p>
              <a:pPr algn="ctr" defTabSz="912813"/>
              <a:r>
                <a:rPr lang="fr-FR" sz="1100" b="1" dirty="0" smtClean="0">
                  <a:solidFill>
                    <a:srgbClr val="FF0066"/>
                  </a:solidFill>
                </a:rPr>
                <a:t>WANA</a:t>
              </a:r>
              <a:endParaRPr lang="fr-FR" sz="1100" b="1" dirty="0">
                <a:solidFill>
                  <a:srgbClr val="FF0066"/>
                </a:solidFill>
              </a:endParaRPr>
            </a:p>
            <a:p>
              <a:pPr algn="ctr" defTabSz="912813"/>
              <a:endParaRPr lang="fr-FR" sz="1100" b="1" dirty="0">
                <a:solidFill>
                  <a:srgbClr val="FF0066"/>
                </a:solidFill>
              </a:endParaRPr>
            </a:p>
            <a:p>
              <a:pPr algn="ctr" defTabSz="912813"/>
              <a:r>
                <a:rPr lang="fr-FR" sz="1100" b="1" dirty="0">
                  <a:solidFill>
                    <a:srgbClr val="FF0066"/>
                  </a:solidFill>
                </a:rPr>
                <a:t>MEDITELECOM</a:t>
              </a:r>
            </a:p>
            <a:p>
              <a:pPr algn="ctr" defTabSz="912813"/>
              <a:endParaRPr lang="fr-FR" sz="1100" b="1" dirty="0">
                <a:solidFill>
                  <a:srgbClr val="FF0066"/>
                </a:solidFill>
              </a:endParaRPr>
            </a:p>
            <a:p>
              <a:pPr algn="ctr" defTabSz="912813"/>
              <a:r>
                <a:rPr lang="fr-FR" sz="1100" b="1" dirty="0" err="1">
                  <a:solidFill>
                    <a:srgbClr val="FF0066"/>
                  </a:solidFill>
                </a:rPr>
                <a:t>ISPs</a:t>
              </a:r>
              <a:endParaRPr lang="en-US" sz="1100" b="1" dirty="0">
                <a:solidFill>
                  <a:srgbClr val="FF0066"/>
                </a:solidFill>
              </a:endParaRPr>
            </a:p>
          </p:txBody>
        </p:sp>
      </p:grpSp>
      <p:sp>
        <p:nvSpPr>
          <p:cNvPr id="31" name="Text Box 7"/>
          <p:cNvSpPr txBox="1">
            <a:spLocks noChangeArrowheads="1"/>
          </p:cNvSpPr>
          <p:nvPr/>
        </p:nvSpPr>
        <p:spPr bwMode="auto">
          <a:xfrm>
            <a:off x="1919888" y="428626"/>
            <a:ext cx="7711213" cy="430879"/>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smtClean="0">
                <a:solidFill>
                  <a:srgbClr val="0560E5"/>
                </a:solidFill>
                <a:latin typeface="Century Gothic" pitchFamily="34" charset="0"/>
              </a:rPr>
              <a:t>Paysage du secteur des télécommunications au Maroc</a:t>
            </a:r>
            <a:r>
              <a:rPr lang="fr-FR" altLang="fr-FR" sz="1600" b="1" i="1" dirty="0" smtClean="0">
                <a:solidFill>
                  <a:srgbClr val="0560E5"/>
                </a:solidFill>
                <a:latin typeface="Century Gothic" pitchFamily="34" charset="0"/>
              </a:rPr>
              <a:t> </a:t>
            </a:r>
            <a:endParaRPr lang="fr-FR" altLang="fr-FR" sz="1600" b="1" i="1" dirty="0">
              <a:solidFill>
                <a:srgbClr val="0560E5"/>
              </a:solidFill>
              <a:latin typeface="Century Gothic" pitchFamily="34" charset="0"/>
            </a:endParaRPr>
          </a:p>
        </p:txBody>
      </p:sp>
    </p:spTree>
    <p:extLst>
      <p:ext uri="{BB962C8B-B14F-4D97-AF65-F5344CB8AC3E}">
        <p14:creationId xmlns:p14="http://schemas.microsoft.com/office/powerpoint/2010/main" val="102668252"/>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7"/>
          <p:cNvSpPr txBox="1">
            <a:spLocks noChangeArrowheads="1"/>
          </p:cNvSpPr>
          <p:nvPr/>
        </p:nvSpPr>
        <p:spPr bwMode="auto">
          <a:xfrm>
            <a:off x="2321719" y="428626"/>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dirty="0">
                <a:solidFill>
                  <a:srgbClr val="0560E5"/>
                </a:solidFill>
                <a:latin typeface="Century Gothic" pitchFamily="34" charset="0"/>
              </a:rPr>
              <a:t>Téléphonie mobile : Parc et trafic</a:t>
            </a:r>
            <a:r>
              <a:rPr lang="fr-FR" altLang="fr-FR" sz="1600" b="1" i="1" dirty="0">
                <a:solidFill>
                  <a:srgbClr val="0560E5"/>
                </a:solidFill>
                <a:latin typeface="Century Gothic" pitchFamily="34" charset="0"/>
              </a:rPr>
              <a:t> </a:t>
            </a:r>
          </a:p>
        </p:txBody>
      </p:sp>
      <p:sp>
        <p:nvSpPr>
          <p:cNvPr id="6" name="Rectangle 4"/>
          <p:cNvSpPr>
            <a:spLocks noChangeArrowheads="1"/>
          </p:cNvSpPr>
          <p:nvPr/>
        </p:nvSpPr>
        <p:spPr bwMode="auto">
          <a:xfrm>
            <a:off x="232173" y="5084764"/>
            <a:ext cx="4720828" cy="954107"/>
          </a:xfrm>
          <a:prstGeom prst="rect">
            <a:avLst/>
          </a:prstGeom>
          <a:noFill/>
          <a:ln w="9525">
            <a:noFill/>
            <a:miter lim="800000"/>
            <a:headEnd/>
            <a:tailEnd/>
          </a:ln>
        </p:spPr>
        <p:txBody>
          <a:bodyPr>
            <a:spAutoFit/>
          </a:bodyPr>
          <a:lstStyle/>
          <a:p>
            <a:pPr marL="285750" indent="-285750" algn="just">
              <a:buFont typeface="Arial" pitchFamily="34" charset="0"/>
              <a:buChar char="•"/>
              <a:defRPr/>
            </a:pPr>
            <a:r>
              <a:rPr lang="fr-FR" sz="1400" b="1" kern="0" dirty="0" smtClean="0">
                <a:solidFill>
                  <a:srgbClr val="000099"/>
                </a:solidFill>
                <a:latin typeface="Century Gothic" pitchFamily="34" charset="0"/>
                <a:ea typeface="굴림" pitchFamily="34" charset="-127"/>
                <a:cs typeface="+mn-cs"/>
              </a:rPr>
              <a:t>Le parc des abonnés mobiles a connu une très forte évolution depuis 1999. Avec 42,4 millions d’abonnés, le taux de pénétration a atteint  près de 130% à fin 2013.  </a:t>
            </a:r>
            <a:endParaRPr lang="fr-FR" sz="1400" b="1" kern="0" dirty="0">
              <a:solidFill>
                <a:srgbClr val="000099"/>
              </a:solidFill>
              <a:latin typeface="Century Gothic" pitchFamily="34" charset="0"/>
              <a:ea typeface="굴림" pitchFamily="34" charset="-127"/>
              <a:cs typeface="+mn-cs"/>
            </a:endParaRPr>
          </a:p>
        </p:txBody>
      </p:sp>
      <p:sp>
        <p:nvSpPr>
          <p:cNvPr id="7" name="Rectangle 6"/>
          <p:cNvSpPr>
            <a:spLocks noChangeArrowheads="1"/>
          </p:cNvSpPr>
          <p:nvPr/>
        </p:nvSpPr>
        <p:spPr bwMode="auto">
          <a:xfrm>
            <a:off x="5063067" y="5084763"/>
            <a:ext cx="4719108" cy="738664"/>
          </a:xfrm>
          <a:prstGeom prst="rect">
            <a:avLst/>
          </a:prstGeom>
          <a:noFill/>
          <a:ln w="9525">
            <a:noFill/>
            <a:miter lim="800000"/>
            <a:headEnd/>
            <a:tailEnd/>
          </a:ln>
        </p:spPr>
        <p:txBody>
          <a:bodyPr>
            <a:spAutoFit/>
          </a:bodyPr>
          <a:lstStyle/>
          <a:p>
            <a:pPr marL="285750" indent="-285750" algn="just">
              <a:buFont typeface="Arial" pitchFamily="34" charset="0"/>
              <a:buChar char="•"/>
              <a:defRPr/>
            </a:pPr>
            <a:r>
              <a:rPr lang="fr-FR" sz="1400" b="1" kern="0" dirty="0">
                <a:solidFill>
                  <a:srgbClr val="000099"/>
                </a:solidFill>
                <a:latin typeface="Century Gothic" pitchFamily="34" charset="0"/>
                <a:ea typeface="굴림" pitchFamily="34" charset="-127"/>
                <a:cs typeface="+mn-cs"/>
              </a:rPr>
              <a:t>Le trafic voix sortant du mobile a dépassé </a:t>
            </a:r>
            <a:r>
              <a:rPr lang="fr-FR" sz="1400" b="1" kern="0" dirty="0" smtClean="0">
                <a:solidFill>
                  <a:srgbClr val="000099"/>
                </a:solidFill>
                <a:latin typeface="Century Gothic" pitchFamily="34" charset="0"/>
                <a:ea typeface="굴림" pitchFamily="34" charset="-127"/>
                <a:cs typeface="+mn-cs"/>
              </a:rPr>
              <a:t>40 </a:t>
            </a:r>
            <a:r>
              <a:rPr lang="fr-FR" sz="1400" b="1" kern="0" dirty="0">
                <a:solidFill>
                  <a:srgbClr val="000099"/>
                </a:solidFill>
                <a:latin typeface="Century Gothic" pitchFamily="34" charset="0"/>
                <a:ea typeface="굴림" pitchFamily="34" charset="-127"/>
                <a:cs typeface="+mn-cs"/>
              </a:rPr>
              <a:t>milliards de minutes en </a:t>
            </a:r>
            <a:r>
              <a:rPr lang="fr-FR" sz="1400" b="1" kern="0" dirty="0" smtClean="0">
                <a:solidFill>
                  <a:srgbClr val="000099"/>
                </a:solidFill>
                <a:latin typeface="Century Gothic" pitchFamily="34" charset="0"/>
                <a:ea typeface="굴림" pitchFamily="34" charset="-127"/>
                <a:cs typeface="+mn-cs"/>
              </a:rPr>
              <a:t>2013, </a:t>
            </a:r>
            <a:r>
              <a:rPr lang="fr-FR" sz="1400" b="1" kern="0" dirty="0">
                <a:solidFill>
                  <a:srgbClr val="000099"/>
                </a:solidFill>
                <a:latin typeface="Century Gothic" pitchFamily="34" charset="0"/>
                <a:ea typeface="굴림" pitchFamily="34" charset="-127"/>
                <a:cs typeface="+mn-cs"/>
              </a:rPr>
              <a:t>enregistrant une croissance </a:t>
            </a:r>
            <a:r>
              <a:rPr lang="fr-FR" sz="1400" b="1" kern="0" dirty="0" smtClean="0">
                <a:solidFill>
                  <a:srgbClr val="000099"/>
                </a:solidFill>
                <a:latin typeface="Century Gothic" pitchFamily="34" charset="0"/>
                <a:ea typeface="굴림" pitchFamily="34" charset="-127"/>
                <a:cs typeface="+mn-cs"/>
              </a:rPr>
              <a:t>de 23,2% </a:t>
            </a:r>
            <a:r>
              <a:rPr lang="fr-FR" sz="1400" b="1" kern="0" dirty="0">
                <a:solidFill>
                  <a:srgbClr val="000099"/>
                </a:solidFill>
                <a:latin typeface="Century Gothic" pitchFamily="34" charset="0"/>
                <a:ea typeface="굴림" pitchFamily="34" charset="-127"/>
                <a:cs typeface="+mn-cs"/>
              </a:rPr>
              <a:t>par rapport à </a:t>
            </a:r>
            <a:r>
              <a:rPr lang="fr-FR" sz="1400" b="1" kern="0" dirty="0" smtClean="0">
                <a:solidFill>
                  <a:srgbClr val="000099"/>
                </a:solidFill>
                <a:latin typeface="Century Gothic" pitchFamily="34" charset="0"/>
                <a:ea typeface="굴림" pitchFamily="34" charset="-127"/>
                <a:cs typeface="+mn-cs"/>
              </a:rPr>
              <a:t>2012. </a:t>
            </a:r>
            <a:endParaRPr lang="fr-FR" sz="1400" b="1" kern="0" dirty="0">
              <a:solidFill>
                <a:srgbClr val="000099"/>
              </a:solidFill>
              <a:latin typeface="Century Gothic" pitchFamily="34" charset="0"/>
              <a:ea typeface="굴림" pitchFamily="34" charset="-127"/>
              <a:cs typeface="+mn-cs"/>
            </a:endParaRPr>
          </a:p>
        </p:txBody>
      </p:sp>
      <p:sp>
        <p:nvSpPr>
          <p:cNvPr id="21509" name="Rectangle 5"/>
          <p:cNvSpPr>
            <a:spLocks noChangeArrowheads="1"/>
          </p:cNvSpPr>
          <p:nvPr/>
        </p:nvSpPr>
        <p:spPr bwMode="auto">
          <a:xfrm>
            <a:off x="0" y="-184666"/>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a:solidFill>
                <a:schemeClr val="tx1"/>
              </a:solidFill>
            </a:endParaRPr>
          </a:p>
        </p:txBody>
      </p:sp>
      <p:graphicFrame>
        <p:nvGraphicFramePr>
          <p:cNvPr id="21510" name="Objet 2"/>
          <p:cNvGraphicFramePr>
            <a:graphicFrameLocks/>
          </p:cNvGraphicFramePr>
          <p:nvPr>
            <p:extLst>
              <p:ext uri="{D42A27DB-BD31-4B8C-83A1-F6EECF244321}">
                <p14:modId xmlns:p14="http://schemas.microsoft.com/office/powerpoint/2010/main" val="1302183287"/>
              </p:ext>
            </p:extLst>
          </p:nvPr>
        </p:nvGraphicFramePr>
        <p:xfrm>
          <a:off x="5180013" y="1125537"/>
          <a:ext cx="4573587" cy="3924135"/>
        </p:xfrm>
        <a:graphic>
          <a:graphicData uri="http://schemas.openxmlformats.org/presentationml/2006/ole">
            <mc:AlternateContent xmlns:mc="http://schemas.openxmlformats.org/markup-compatibility/2006">
              <mc:Choice xmlns:v="urn:schemas-microsoft-com:vml" Requires="v">
                <p:oleObj spid="_x0000_s2212926" name="Feuille de calcul" r:id="rId4" imgW="4791181" imgH="3371740" progId="Excel.Sheet.8">
                  <p:embed/>
                </p:oleObj>
              </mc:Choice>
              <mc:Fallback>
                <p:oleObj name="Feuille de calcul" r:id="rId4" imgW="4791181" imgH="3371740" progId="Excel.Sheet.8">
                  <p:embed/>
                  <p:pic>
                    <p:nvPicPr>
                      <p:cNvPr id="0" name=""/>
                      <p:cNvPicPr>
                        <a:picLocks noChangeArrowheads="1"/>
                      </p:cNvPicPr>
                      <p:nvPr/>
                    </p:nvPicPr>
                    <p:blipFill>
                      <a:blip r:embed="rId5"/>
                      <a:srcRect/>
                      <a:stretch>
                        <a:fillRect/>
                      </a:stretch>
                    </p:blipFill>
                    <p:spPr bwMode="auto">
                      <a:xfrm>
                        <a:off x="5180013" y="1125537"/>
                        <a:ext cx="4573587" cy="3924135"/>
                      </a:xfrm>
                      <a:prstGeom prst="rect">
                        <a:avLst/>
                      </a:prstGeom>
                      <a:noFill/>
                      <a:ln>
                        <a:noFill/>
                      </a:ln>
                      <a:extLst/>
                    </p:spPr>
                  </p:pic>
                </p:oleObj>
              </mc:Fallback>
            </mc:AlternateContent>
          </a:graphicData>
        </a:graphic>
      </p:graphicFrame>
      <p:sp>
        <p:nvSpPr>
          <p:cNvPr id="21511" name="Rectangle 6"/>
          <p:cNvSpPr>
            <a:spLocks noChangeArrowheads="1"/>
          </p:cNvSpPr>
          <p:nvPr/>
        </p:nvSpPr>
        <p:spPr bwMode="auto">
          <a:xfrm>
            <a:off x="0" y="2815709"/>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a:solidFill>
                <a:schemeClr val="tx1"/>
              </a:solidFill>
            </a:endParaRPr>
          </a:p>
        </p:txBody>
      </p:sp>
      <p:graphicFrame>
        <p:nvGraphicFramePr>
          <p:cNvPr id="21512" name="Objet 9"/>
          <p:cNvGraphicFramePr>
            <a:graphicFrameLocks/>
          </p:cNvGraphicFramePr>
          <p:nvPr>
            <p:extLst>
              <p:ext uri="{D42A27DB-BD31-4B8C-83A1-F6EECF244321}">
                <p14:modId xmlns:p14="http://schemas.microsoft.com/office/powerpoint/2010/main" val="1450849234"/>
              </p:ext>
            </p:extLst>
          </p:nvPr>
        </p:nvGraphicFramePr>
        <p:xfrm>
          <a:off x="231775" y="1125537"/>
          <a:ext cx="5005388" cy="3959225"/>
        </p:xfrm>
        <a:graphic>
          <a:graphicData uri="http://schemas.openxmlformats.org/presentationml/2006/ole">
            <mc:AlternateContent xmlns:mc="http://schemas.openxmlformats.org/markup-compatibility/2006">
              <mc:Choice xmlns:v="urn:schemas-microsoft-com:vml" Requires="v">
                <p:oleObj spid="_x0000_s2212927" name="Feuille de calcul" r:id="rId6" imgW="4600602" imgH="3762334" progId="Excel.Sheet.8">
                  <p:embed/>
                </p:oleObj>
              </mc:Choice>
              <mc:Fallback>
                <p:oleObj name="Feuille de calcul" r:id="rId6" imgW="4600602" imgH="3762334" progId="Excel.Sheet.8">
                  <p:embed/>
                  <p:pic>
                    <p:nvPicPr>
                      <p:cNvPr id="0" name=""/>
                      <p:cNvPicPr>
                        <a:picLocks noChangeArrowheads="1"/>
                      </p:cNvPicPr>
                      <p:nvPr/>
                    </p:nvPicPr>
                    <p:blipFill>
                      <a:blip r:embed="rId7"/>
                      <a:srcRect/>
                      <a:stretch>
                        <a:fillRect/>
                      </a:stretch>
                    </p:blipFill>
                    <p:spPr bwMode="auto">
                      <a:xfrm>
                        <a:off x="231775" y="1125537"/>
                        <a:ext cx="5005388" cy="3959225"/>
                      </a:xfrm>
                      <a:prstGeom prst="rect">
                        <a:avLst/>
                      </a:prstGeom>
                      <a:noFill/>
                      <a:ln>
                        <a:noFill/>
                      </a:ln>
                      <a:extLst/>
                    </p:spPr>
                  </p:pic>
                </p:oleObj>
              </mc:Fallback>
            </mc:AlternateContent>
          </a:graphicData>
        </a:graphic>
      </p:graphicFrame>
      <p:pic>
        <p:nvPicPr>
          <p:cNvPr id="9" name="Image 8"/>
          <p:cNvPicPr/>
          <p:nvPr/>
        </p:nvPicPr>
        <p:blipFill>
          <a:blip r:embed="rId8">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4186625999"/>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 Box 7"/>
          <p:cNvSpPr txBox="1">
            <a:spLocks noChangeArrowheads="1"/>
          </p:cNvSpPr>
          <p:nvPr/>
        </p:nvSpPr>
        <p:spPr bwMode="auto">
          <a:xfrm>
            <a:off x="2321719" y="428626"/>
            <a:ext cx="6153541" cy="436563"/>
          </a:xfrm>
          <a:prstGeom prst="rect">
            <a:avLst/>
          </a:prstGeom>
          <a:solidFill>
            <a:srgbClr val="C0C0C0"/>
          </a:solidFill>
          <a:ln w="9525">
            <a:solidFill>
              <a:schemeClr val="tx1"/>
            </a:solidFill>
            <a:miter lim="800000"/>
            <a:headEnd/>
            <a:tailEnd/>
          </a:ln>
        </p:spPr>
        <p:txBody>
          <a:bodyPr wrap="square" lIns="91430" tIns="45716" rIns="91430" bIns="45716">
            <a:spAutoFit/>
          </a:bodyPr>
          <a:lstStyle>
            <a:lvl1pPr defTabSz="912813" eaLnBrk="0" hangingPunct="0">
              <a:defRPr>
                <a:solidFill>
                  <a:schemeClr val="tx1"/>
                </a:solidFill>
                <a:latin typeface="Book Antiqua" pitchFamily="18" charset="0"/>
                <a:cs typeface="Arial" charset="0"/>
              </a:defRPr>
            </a:lvl1pPr>
            <a:lvl2pPr marL="742950" indent="-285750" defTabSz="912813" eaLnBrk="0" hangingPunct="0">
              <a:defRPr>
                <a:solidFill>
                  <a:schemeClr val="tx1"/>
                </a:solidFill>
                <a:latin typeface="Book Antiqua" pitchFamily="18" charset="0"/>
                <a:cs typeface="Arial" charset="0"/>
              </a:defRPr>
            </a:lvl2pPr>
            <a:lvl3pPr marL="1143000" indent="-228600" defTabSz="912813" eaLnBrk="0" hangingPunct="0">
              <a:defRPr>
                <a:solidFill>
                  <a:schemeClr val="tx1"/>
                </a:solidFill>
                <a:latin typeface="Book Antiqua" pitchFamily="18" charset="0"/>
                <a:cs typeface="Arial" charset="0"/>
              </a:defRPr>
            </a:lvl3pPr>
            <a:lvl4pPr marL="1600200" indent="-228600" defTabSz="912813" eaLnBrk="0" hangingPunct="0">
              <a:defRPr>
                <a:solidFill>
                  <a:schemeClr val="tx1"/>
                </a:solidFill>
                <a:latin typeface="Book Antiqua" pitchFamily="18" charset="0"/>
                <a:cs typeface="Arial" charset="0"/>
              </a:defRPr>
            </a:lvl4pPr>
            <a:lvl5pPr marL="2057400" indent="-228600" defTabSz="912813" eaLnBrk="0" hangingPunct="0">
              <a:defRPr>
                <a:solidFill>
                  <a:schemeClr val="tx1"/>
                </a:solidFill>
                <a:latin typeface="Book Antiqua" pitchFamily="18" charset="0"/>
                <a:cs typeface="Arial" charset="0"/>
              </a:defRPr>
            </a:lvl5pPr>
            <a:lvl6pPr marL="2514600" indent="-228600" defTabSz="912813" eaLnBrk="0" fontAlgn="base" hangingPunct="0">
              <a:spcBef>
                <a:spcPct val="0"/>
              </a:spcBef>
              <a:spcAft>
                <a:spcPct val="0"/>
              </a:spcAft>
              <a:defRPr>
                <a:solidFill>
                  <a:schemeClr val="tx1"/>
                </a:solidFill>
                <a:latin typeface="Book Antiqua" pitchFamily="18" charset="0"/>
                <a:cs typeface="Arial" charset="0"/>
              </a:defRPr>
            </a:lvl6pPr>
            <a:lvl7pPr marL="2971800" indent="-228600" defTabSz="912813" eaLnBrk="0" fontAlgn="base" hangingPunct="0">
              <a:spcBef>
                <a:spcPct val="0"/>
              </a:spcBef>
              <a:spcAft>
                <a:spcPct val="0"/>
              </a:spcAft>
              <a:defRPr>
                <a:solidFill>
                  <a:schemeClr val="tx1"/>
                </a:solidFill>
                <a:latin typeface="Book Antiqua" pitchFamily="18" charset="0"/>
                <a:cs typeface="Arial" charset="0"/>
              </a:defRPr>
            </a:lvl7pPr>
            <a:lvl8pPr marL="3429000" indent="-228600" defTabSz="912813" eaLnBrk="0" fontAlgn="base" hangingPunct="0">
              <a:spcBef>
                <a:spcPct val="0"/>
              </a:spcBef>
              <a:spcAft>
                <a:spcPct val="0"/>
              </a:spcAft>
              <a:defRPr>
                <a:solidFill>
                  <a:schemeClr val="tx1"/>
                </a:solidFill>
                <a:latin typeface="Book Antiqua" pitchFamily="18" charset="0"/>
                <a:cs typeface="Arial" charset="0"/>
              </a:defRPr>
            </a:lvl8pPr>
            <a:lvl9pPr marL="3886200" indent="-228600" defTabSz="912813" eaLnBrk="0" fontAlgn="base" hangingPunct="0">
              <a:spcBef>
                <a:spcPct val="0"/>
              </a:spcBef>
              <a:spcAft>
                <a:spcPct val="0"/>
              </a:spcAft>
              <a:defRPr>
                <a:solidFill>
                  <a:schemeClr val="tx1"/>
                </a:solidFill>
                <a:latin typeface="Book Antiqua" pitchFamily="18" charset="0"/>
                <a:cs typeface="Arial" charset="0"/>
              </a:defRPr>
            </a:lvl9pPr>
          </a:lstStyle>
          <a:p>
            <a:pPr algn="ctr" eaLnBrk="1" hangingPunct="1">
              <a:spcBef>
                <a:spcPct val="50000"/>
              </a:spcBef>
            </a:pPr>
            <a:r>
              <a:rPr lang="fr-FR" altLang="fr-FR" sz="2200" b="1" i="1" dirty="0">
                <a:solidFill>
                  <a:srgbClr val="0560E5"/>
                </a:solidFill>
                <a:latin typeface="Century Gothic" pitchFamily="34" charset="0"/>
              </a:rPr>
              <a:t>ARPM </a:t>
            </a:r>
            <a:r>
              <a:rPr lang="fr-FR" altLang="fr-FR" sz="2200" i="1" dirty="0" smtClean="0">
                <a:solidFill>
                  <a:srgbClr val="0560E5"/>
                </a:solidFill>
                <a:latin typeface="Century Gothic" pitchFamily="34" charset="0"/>
              </a:rPr>
              <a:t>et usage </a:t>
            </a:r>
            <a:r>
              <a:rPr lang="fr-FR" altLang="fr-FR" sz="2200" b="1" i="1" dirty="0" smtClean="0">
                <a:solidFill>
                  <a:srgbClr val="0560E5"/>
                </a:solidFill>
                <a:latin typeface="Century Gothic" pitchFamily="34" charset="0"/>
              </a:rPr>
              <a:t>mobile</a:t>
            </a:r>
            <a:endParaRPr lang="fr-FR" altLang="fr-FR" sz="1600" b="1" i="1" dirty="0">
              <a:solidFill>
                <a:srgbClr val="0560E5"/>
              </a:solidFill>
              <a:latin typeface="Century Gothic" pitchFamily="34" charset="0"/>
            </a:endParaRPr>
          </a:p>
        </p:txBody>
      </p:sp>
      <p:sp>
        <p:nvSpPr>
          <p:cNvPr id="6" name="Rectangle 4"/>
          <p:cNvSpPr>
            <a:spLocks noChangeArrowheads="1"/>
          </p:cNvSpPr>
          <p:nvPr/>
        </p:nvSpPr>
        <p:spPr bwMode="auto">
          <a:xfrm>
            <a:off x="276227" y="5041397"/>
            <a:ext cx="4473197" cy="1200329"/>
          </a:xfrm>
          <a:prstGeom prst="rect">
            <a:avLst/>
          </a:prstGeom>
          <a:noFill/>
          <a:ln w="9525">
            <a:noFill/>
            <a:miter lim="800000"/>
            <a:headEnd/>
            <a:tailEnd/>
          </a:ln>
        </p:spPr>
        <p:txBody>
          <a:bodyPr wrap="square">
            <a:spAutoFit/>
          </a:bodyPr>
          <a:lstStyle/>
          <a:p>
            <a:pPr marL="285750" indent="-285750" algn="just">
              <a:buFont typeface="Arial" pitchFamily="34" charset="0"/>
              <a:buChar char="•"/>
              <a:defRPr/>
            </a:pPr>
            <a:r>
              <a:rPr lang="fr-FR" sz="1200" b="1" kern="0" dirty="0">
                <a:solidFill>
                  <a:srgbClr val="000099"/>
                </a:solidFill>
                <a:latin typeface="Century Gothic" pitchFamily="34" charset="0"/>
                <a:ea typeface="굴림" pitchFamily="34" charset="-127"/>
                <a:cs typeface="+mn-cs"/>
              </a:rPr>
              <a:t>L’ARPM «Average Revenue Per Minute » mobile est passé de 1,27 DHHT/min à fin 2008 à </a:t>
            </a:r>
            <a:r>
              <a:rPr lang="fr-FR" sz="1200" b="1" kern="0" dirty="0" smtClean="0">
                <a:solidFill>
                  <a:srgbClr val="000099"/>
                </a:solidFill>
                <a:latin typeface="Century Gothic" pitchFamily="34" charset="0"/>
                <a:ea typeface="굴림" pitchFamily="34" charset="-127"/>
                <a:cs typeface="+mn-cs"/>
              </a:rPr>
              <a:t>0,41 </a:t>
            </a:r>
            <a:r>
              <a:rPr lang="fr-FR" sz="1200" b="1" kern="0" dirty="0">
                <a:solidFill>
                  <a:srgbClr val="000099"/>
                </a:solidFill>
                <a:latin typeface="Century Gothic" pitchFamily="34" charset="0"/>
                <a:ea typeface="굴림" pitchFamily="34" charset="-127"/>
                <a:cs typeface="+mn-cs"/>
              </a:rPr>
              <a:t>DHHT/min à fin </a:t>
            </a:r>
            <a:r>
              <a:rPr lang="fr-FR" sz="1200" b="1" kern="0" dirty="0" smtClean="0">
                <a:solidFill>
                  <a:srgbClr val="000099"/>
                </a:solidFill>
                <a:latin typeface="Century Gothic" pitchFamily="34" charset="0"/>
                <a:ea typeface="굴림" pitchFamily="34" charset="-127"/>
                <a:cs typeface="+mn-cs"/>
              </a:rPr>
              <a:t>2013 </a:t>
            </a:r>
            <a:r>
              <a:rPr lang="fr-FR" sz="1200" b="1" kern="0" dirty="0">
                <a:solidFill>
                  <a:srgbClr val="000099"/>
                </a:solidFill>
                <a:latin typeface="Century Gothic" pitchFamily="34" charset="0"/>
                <a:ea typeface="굴림" pitchFamily="34" charset="-127"/>
                <a:cs typeface="+mn-cs"/>
              </a:rPr>
              <a:t>marquant ainsi une baisse de </a:t>
            </a:r>
            <a:r>
              <a:rPr lang="fr-FR" sz="1200" b="1" kern="0" dirty="0" smtClean="0">
                <a:solidFill>
                  <a:srgbClr val="000099"/>
                </a:solidFill>
                <a:latin typeface="Century Gothic" pitchFamily="34" charset="0"/>
                <a:ea typeface="굴림" pitchFamily="34" charset="-127"/>
                <a:cs typeface="+mn-cs"/>
              </a:rPr>
              <a:t>67,7%. </a:t>
            </a:r>
            <a:r>
              <a:rPr lang="fr-FR" sz="1200" b="1" kern="0" dirty="0">
                <a:solidFill>
                  <a:srgbClr val="000099"/>
                </a:solidFill>
                <a:latin typeface="Century Gothic" pitchFamily="34" charset="0"/>
                <a:ea typeface="굴림" pitchFamily="34" charset="-127"/>
                <a:cs typeface="+mn-cs"/>
              </a:rPr>
              <a:t> </a:t>
            </a:r>
          </a:p>
          <a:p>
            <a:pPr marL="285750" indent="-285750" algn="just">
              <a:buFont typeface="Arial" pitchFamily="34" charset="0"/>
              <a:buChar char="•"/>
              <a:defRPr/>
            </a:pPr>
            <a:r>
              <a:rPr lang="fr-FR" sz="1200" b="1" kern="0" dirty="0" smtClean="0">
                <a:solidFill>
                  <a:srgbClr val="000099"/>
                </a:solidFill>
                <a:latin typeface="Century Gothic" pitchFamily="34" charset="0"/>
                <a:ea typeface="굴림" pitchFamily="34" charset="-127"/>
                <a:cs typeface="+mn-cs"/>
              </a:rPr>
              <a:t>Pour </a:t>
            </a:r>
            <a:r>
              <a:rPr lang="fr-FR" sz="1200" b="1" kern="0" dirty="0">
                <a:solidFill>
                  <a:srgbClr val="000099"/>
                </a:solidFill>
                <a:latin typeface="Century Gothic" pitchFamily="34" charset="0"/>
                <a:ea typeface="굴림" pitchFamily="34" charset="-127"/>
                <a:cs typeface="+mn-cs"/>
              </a:rPr>
              <a:t>le mobile prépayé, cet indicateur est de l’ordre de </a:t>
            </a:r>
            <a:r>
              <a:rPr lang="fr-FR" sz="1200" b="1" kern="0" dirty="0" smtClean="0">
                <a:solidFill>
                  <a:srgbClr val="000099"/>
                </a:solidFill>
                <a:latin typeface="Century Gothic" pitchFamily="34" charset="0"/>
                <a:ea typeface="굴림" pitchFamily="34" charset="-127"/>
                <a:cs typeface="+mn-cs"/>
              </a:rPr>
              <a:t>0,40 </a:t>
            </a:r>
            <a:r>
              <a:rPr lang="fr-FR" sz="1200" b="1" kern="0" dirty="0">
                <a:solidFill>
                  <a:srgbClr val="000099"/>
                </a:solidFill>
                <a:latin typeface="Century Gothic" pitchFamily="34" charset="0"/>
                <a:ea typeface="굴림" pitchFamily="34" charset="-127"/>
                <a:cs typeface="+mn-cs"/>
              </a:rPr>
              <a:t>DHHT/min alors qu’il est de </a:t>
            </a:r>
            <a:r>
              <a:rPr lang="fr-FR" sz="1200" b="1" kern="0" dirty="0" smtClean="0">
                <a:solidFill>
                  <a:srgbClr val="000099"/>
                </a:solidFill>
                <a:latin typeface="Century Gothic" pitchFamily="34" charset="0"/>
                <a:ea typeface="굴림" pitchFamily="34" charset="-127"/>
                <a:cs typeface="+mn-cs"/>
              </a:rPr>
              <a:t>0,44 </a:t>
            </a:r>
            <a:r>
              <a:rPr lang="fr-FR" sz="1200" b="1" kern="0" dirty="0">
                <a:solidFill>
                  <a:srgbClr val="000099"/>
                </a:solidFill>
                <a:latin typeface="Century Gothic" pitchFamily="34" charset="0"/>
                <a:ea typeface="굴림" pitchFamily="34" charset="-127"/>
                <a:cs typeface="+mn-cs"/>
              </a:rPr>
              <a:t>DHHT/min pour le </a:t>
            </a:r>
            <a:r>
              <a:rPr lang="fr-FR" sz="1200" b="1" kern="0" dirty="0" err="1">
                <a:solidFill>
                  <a:srgbClr val="000099"/>
                </a:solidFill>
                <a:latin typeface="Century Gothic" pitchFamily="34" charset="0"/>
                <a:ea typeface="굴림" pitchFamily="34" charset="-127"/>
                <a:cs typeface="+mn-cs"/>
              </a:rPr>
              <a:t>postpayé</a:t>
            </a:r>
            <a:r>
              <a:rPr lang="fr-FR" sz="1200" b="1" kern="0" dirty="0" smtClean="0">
                <a:solidFill>
                  <a:srgbClr val="000099"/>
                </a:solidFill>
                <a:latin typeface="Century Gothic" pitchFamily="34" charset="0"/>
                <a:ea typeface="굴림" pitchFamily="34" charset="-127"/>
                <a:cs typeface="+mn-cs"/>
              </a:rPr>
              <a:t>.</a:t>
            </a:r>
            <a:endParaRPr lang="fr-FR" sz="1200" b="1" kern="0" dirty="0">
              <a:solidFill>
                <a:srgbClr val="000099"/>
              </a:solidFill>
              <a:latin typeface="Century Gothic" pitchFamily="34" charset="0"/>
              <a:ea typeface="굴림" pitchFamily="34" charset="-127"/>
              <a:cs typeface="+mn-cs"/>
            </a:endParaRPr>
          </a:p>
        </p:txBody>
      </p:sp>
      <p:sp>
        <p:nvSpPr>
          <p:cNvPr id="7" name="Rectangle 4"/>
          <p:cNvSpPr>
            <a:spLocks noChangeArrowheads="1"/>
          </p:cNvSpPr>
          <p:nvPr/>
        </p:nvSpPr>
        <p:spPr bwMode="auto">
          <a:xfrm>
            <a:off x="4931062" y="5056877"/>
            <a:ext cx="4866047" cy="646331"/>
          </a:xfrm>
          <a:prstGeom prst="rect">
            <a:avLst/>
          </a:prstGeom>
          <a:noFill/>
          <a:ln w="9525">
            <a:noFill/>
            <a:miter lim="800000"/>
            <a:headEnd/>
            <a:tailEnd/>
          </a:ln>
        </p:spPr>
        <p:txBody>
          <a:bodyPr wrap="square">
            <a:spAutoFit/>
          </a:bodyPr>
          <a:lstStyle/>
          <a:p>
            <a:pPr marL="285750" indent="-285750" algn="just">
              <a:buFont typeface="Arial" pitchFamily="34" charset="0"/>
              <a:buChar char="•"/>
              <a:defRPr/>
            </a:pPr>
            <a:r>
              <a:rPr lang="fr-FR" sz="1200" b="1" kern="0" dirty="0">
                <a:solidFill>
                  <a:srgbClr val="000099"/>
                </a:solidFill>
                <a:latin typeface="Century Gothic" pitchFamily="34" charset="0"/>
                <a:ea typeface="굴림" pitchFamily="34" charset="-127"/>
                <a:cs typeface="+mn-cs"/>
              </a:rPr>
              <a:t>L’usage moyen sortant mensuel par client mobile s’est apprécié entre 2008 et </a:t>
            </a:r>
            <a:r>
              <a:rPr lang="fr-FR" sz="1200" b="1" kern="0" dirty="0" smtClean="0">
                <a:solidFill>
                  <a:srgbClr val="000099"/>
                </a:solidFill>
                <a:latin typeface="Century Gothic" pitchFamily="34" charset="0"/>
                <a:ea typeface="굴림" pitchFamily="34" charset="-127"/>
                <a:cs typeface="+mn-cs"/>
              </a:rPr>
              <a:t>2013 </a:t>
            </a:r>
            <a:r>
              <a:rPr lang="fr-FR" sz="1200" b="1" kern="0" dirty="0">
                <a:solidFill>
                  <a:srgbClr val="000099"/>
                </a:solidFill>
                <a:latin typeface="Century Gothic" pitchFamily="34" charset="0"/>
                <a:ea typeface="굴림" pitchFamily="34" charset="-127"/>
                <a:cs typeface="+mn-cs"/>
              </a:rPr>
              <a:t>en passant de 43 à </a:t>
            </a:r>
            <a:r>
              <a:rPr lang="fr-FR" sz="1200" b="1" kern="0" dirty="0" smtClean="0">
                <a:solidFill>
                  <a:srgbClr val="000099"/>
                </a:solidFill>
                <a:latin typeface="Century Gothic" pitchFamily="34" charset="0"/>
                <a:ea typeface="굴림" pitchFamily="34" charset="-127"/>
                <a:cs typeface="+mn-cs"/>
              </a:rPr>
              <a:t>83 </a:t>
            </a:r>
            <a:r>
              <a:rPr lang="fr-FR" sz="1200" b="1" kern="0" dirty="0">
                <a:solidFill>
                  <a:srgbClr val="000099"/>
                </a:solidFill>
                <a:latin typeface="Century Gothic" pitchFamily="34" charset="0"/>
                <a:ea typeface="굴림" pitchFamily="34" charset="-127"/>
                <a:cs typeface="+mn-cs"/>
              </a:rPr>
              <a:t>minutes/client/mois soit une croissance de </a:t>
            </a:r>
            <a:r>
              <a:rPr lang="fr-FR" sz="1200" b="1" kern="0" dirty="0" smtClean="0">
                <a:solidFill>
                  <a:srgbClr val="000099"/>
                </a:solidFill>
                <a:latin typeface="Century Gothic" pitchFamily="34" charset="0"/>
                <a:ea typeface="굴림" pitchFamily="34" charset="-127"/>
                <a:cs typeface="+mn-cs"/>
              </a:rPr>
              <a:t>93%. </a:t>
            </a:r>
            <a:endParaRPr lang="fr-FR" sz="1200" b="1" kern="0" dirty="0">
              <a:solidFill>
                <a:srgbClr val="000099"/>
              </a:solidFill>
              <a:latin typeface="Century Gothic" pitchFamily="34" charset="0"/>
              <a:ea typeface="굴림" pitchFamily="34" charset="-127"/>
              <a:cs typeface="+mn-cs"/>
            </a:endParaRPr>
          </a:p>
        </p:txBody>
      </p:sp>
      <p:graphicFrame>
        <p:nvGraphicFramePr>
          <p:cNvPr id="9" name="Graphique 8"/>
          <p:cNvGraphicFramePr>
            <a:graphicFrameLocks/>
          </p:cNvGraphicFramePr>
          <p:nvPr>
            <p:extLst>
              <p:ext uri="{D42A27DB-BD31-4B8C-83A1-F6EECF244321}">
                <p14:modId xmlns:p14="http://schemas.microsoft.com/office/powerpoint/2010/main" val="3546580097"/>
              </p:ext>
            </p:extLst>
          </p:nvPr>
        </p:nvGraphicFramePr>
        <p:xfrm>
          <a:off x="194339" y="1433018"/>
          <a:ext cx="4682131" cy="35056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Graphique 14"/>
          <p:cNvGraphicFramePr>
            <a:graphicFrameLocks/>
          </p:cNvGraphicFramePr>
          <p:nvPr>
            <p:extLst>
              <p:ext uri="{D42A27DB-BD31-4B8C-83A1-F6EECF244321}">
                <p14:modId xmlns:p14="http://schemas.microsoft.com/office/powerpoint/2010/main" val="413845144"/>
              </p:ext>
            </p:extLst>
          </p:nvPr>
        </p:nvGraphicFramePr>
        <p:xfrm>
          <a:off x="5023493" y="1433018"/>
          <a:ext cx="4719024" cy="3505672"/>
        </p:xfrm>
        <a:graphic>
          <a:graphicData uri="http://schemas.openxmlformats.org/drawingml/2006/chart">
            <c:chart xmlns:c="http://schemas.openxmlformats.org/drawingml/2006/chart" xmlns:r="http://schemas.openxmlformats.org/officeDocument/2006/relationships" r:id="rId4"/>
          </a:graphicData>
        </a:graphic>
      </p:graphicFrame>
      <p:pic>
        <p:nvPicPr>
          <p:cNvPr id="8" name="Image 7"/>
          <p:cNvPicPr/>
          <p:nvPr/>
        </p:nvPicPr>
        <p:blipFill>
          <a:blip r:embed="rId5">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3648927593"/>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ext Box 7"/>
          <p:cNvSpPr txBox="1">
            <a:spLocks noChangeArrowheads="1"/>
          </p:cNvSpPr>
          <p:nvPr/>
        </p:nvSpPr>
        <p:spPr bwMode="auto">
          <a:xfrm>
            <a:off x="2321719" y="428626"/>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a:solidFill>
                  <a:srgbClr val="0560E5"/>
                </a:solidFill>
                <a:latin typeface="Century Gothic" pitchFamily="34" charset="0"/>
              </a:rPr>
              <a:t>Téléphonie fixe : Parc et trafic</a:t>
            </a:r>
            <a:r>
              <a:rPr lang="fr-FR" altLang="fr-FR" sz="1600" b="1" i="1">
                <a:solidFill>
                  <a:srgbClr val="0560E5"/>
                </a:solidFill>
                <a:latin typeface="Century Gothic" pitchFamily="34" charset="0"/>
              </a:rPr>
              <a:t> </a:t>
            </a:r>
          </a:p>
        </p:txBody>
      </p:sp>
      <p:sp>
        <p:nvSpPr>
          <p:cNvPr id="6" name="Rectangle 4"/>
          <p:cNvSpPr>
            <a:spLocks noChangeArrowheads="1"/>
          </p:cNvSpPr>
          <p:nvPr/>
        </p:nvSpPr>
        <p:spPr bwMode="auto">
          <a:xfrm>
            <a:off x="309562" y="5300664"/>
            <a:ext cx="4526492" cy="738664"/>
          </a:xfrm>
          <a:prstGeom prst="rect">
            <a:avLst/>
          </a:prstGeom>
          <a:noFill/>
          <a:ln w="9525">
            <a:noFill/>
            <a:miter lim="800000"/>
            <a:headEnd/>
            <a:tailEnd/>
          </a:ln>
        </p:spPr>
        <p:txBody>
          <a:bodyPr>
            <a:spAutoFit/>
          </a:bodyPr>
          <a:lstStyle/>
          <a:p>
            <a:pPr marL="285750" indent="-285750" algn="just">
              <a:buFont typeface="Arial" pitchFamily="34" charset="0"/>
              <a:buChar char="•"/>
              <a:defRPr/>
            </a:pPr>
            <a:r>
              <a:rPr lang="fr-FR" sz="1400" b="1" kern="0" dirty="0">
                <a:solidFill>
                  <a:srgbClr val="000099"/>
                </a:solidFill>
                <a:latin typeface="Century Gothic" pitchFamily="34" charset="0"/>
                <a:ea typeface="굴림" pitchFamily="34" charset="-127"/>
                <a:cs typeface="+mn-cs"/>
              </a:rPr>
              <a:t>Le marché de la téléphonie fixe </a:t>
            </a:r>
            <a:r>
              <a:rPr lang="fr-FR" sz="1400" kern="0" dirty="0" smtClean="0">
                <a:solidFill>
                  <a:srgbClr val="000099"/>
                </a:solidFill>
                <a:latin typeface="Century Gothic" pitchFamily="34" charset="0"/>
                <a:ea typeface="굴림" pitchFamily="34" charset="-127"/>
              </a:rPr>
              <a:t>continue dans sa courbe décroissante atteignant un taux de pénétration de 8,9%.</a:t>
            </a:r>
          </a:p>
        </p:txBody>
      </p:sp>
      <p:sp>
        <p:nvSpPr>
          <p:cNvPr id="9" name="Rectangle 8"/>
          <p:cNvSpPr>
            <a:spLocks noChangeArrowheads="1"/>
          </p:cNvSpPr>
          <p:nvPr/>
        </p:nvSpPr>
        <p:spPr bwMode="auto">
          <a:xfrm>
            <a:off x="5030391" y="5300664"/>
            <a:ext cx="4758663" cy="738664"/>
          </a:xfrm>
          <a:prstGeom prst="rect">
            <a:avLst/>
          </a:prstGeom>
          <a:noFill/>
          <a:ln w="9525">
            <a:noFill/>
            <a:miter lim="800000"/>
            <a:headEnd/>
            <a:tailEnd/>
          </a:ln>
        </p:spPr>
        <p:txBody>
          <a:bodyPr>
            <a:spAutoFit/>
          </a:bodyPr>
          <a:lstStyle/>
          <a:p>
            <a:pPr marL="285750" indent="-285750" algn="just">
              <a:buFont typeface="Arial" pitchFamily="34" charset="0"/>
              <a:buChar char="•"/>
              <a:defRPr/>
            </a:pPr>
            <a:r>
              <a:rPr lang="fr-FR" sz="1400" b="1" kern="0" dirty="0">
                <a:solidFill>
                  <a:srgbClr val="000099"/>
                </a:solidFill>
                <a:latin typeface="Century Gothic" pitchFamily="34" charset="0"/>
                <a:ea typeface="굴림" pitchFamily="34" charset="-127"/>
                <a:cs typeface="+mn-cs"/>
              </a:rPr>
              <a:t>Le trafic voix sortant du fixe est en </a:t>
            </a:r>
            <a:r>
              <a:rPr lang="fr-FR" sz="1400" kern="0" dirty="0" smtClean="0">
                <a:solidFill>
                  <a:srgbClr val="000099"/>
                </a:solidFill>
                <a:latin typeface="Century Gothic" pitchFamily="34" charset="0"/>
                <a:ea typeface="굴림" pitchFamily="34" charset="-127"/>
              </a:rPr>
              <a:t>légère hausse par rapport à 2012 et </a:t>
            </a:r>
            <a:r>
              <a:rPr lang="fr-FR" sz="1400" b="1" kern="0" dirty="0" smtClean="0">
                <a:solidFill>
                  <a:srgbClr val="000099"/>
                </a:solidFill>
                <a:latin typeface="Century Gothic" pitchFamily="34" charset="0"/>
                <a:ea typeface="굴림" pitchFamily="34" charset="-127"/>
                <a:cs typeface="+mn-cs"/>
              </a:rPr>
              <a:t>atteint 4 640 </a:t>
            </a:r>
            <a:r>
              <a:rPr lang="fr-FR" sz="1400" b="1" kern="0" dirty="0">
                <a:solidFill>
                  <a:srgbClr val="000099"/>
                </a:solidFill>
                <a:latin typeface="Century Gothic" pitchFamily="34" charset="0"/>
                <a:ea typeface="굴림" pitchFamily="34" charset="-127"/>
                <a:cs typeface="+mn-cs"/>
              </a:rPr>
              <a:t>millions de minutes en </a:t>
            </a:r>
            <a:r>
              <a:rPr lang="fr-FR" sz="1400" b="1" kern="0" dirty="0" smtClean="0">
                <a:solidFill>
                  <a:srgbClr val="000099"/>
                </a:solidFill>
                <a:latin typeface="Century Gothic" pitchFamily="34" charset="0"/>
                <a:ea typeface="굴림" pitchFamily="34" charset="-127"/>
                <a:cs typeface="+mn-cs"/>
              </a:rPr>
              <a:t>2013.</a:t>
            </a:r>
            <a:endParaRPr lang="fr-FR" sz="1400" b="1" kern="0" dirty="0">
              <a:solidFill>
                <a:srgbClr val="000099"/>
              </a:solidFill>
              <a:latin typeface="Century Gothic" pitchFamily="34" charset="0"/>
              <a:ea typeface="굴림" pitchFamily="34" charset="-127"/>
              <a:cs typeface="+mn-cs"/>
            </a:endParaRPr>
          </a:p>
        </p:txBody>
      </p:sp>
      <p:sp>
        <p:nvSpPr>
          <p:cNvPr id="24581" name="Rectangle 7"/>
          <p:cNvSpPr>
            <a:spLocks noChangeArrowheads="1"/>
          </p:cNvSpPr>
          <p:nvPr/>
        </p:nvSpPr>
        <p:spPr bwMode="auto">
          <a:xfrm>
            <a:off x="0" y="-184666"/>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a:solidFill>
                <a:schemeClr val="tx1"/>
              </a:solidFill>
            </a:endParaRPr>
          </a:p>
        </p:txBody>
      </p:sp>
      <p:graphicFrame>
        <p:nvGraphicFramePr>
          <p:cNvPr id="24582" name="Objet 4"/>
          <p:cNvGraphicFramePr>
            <a:graphicFrameLocks/>
          </p:cNvGraphicFramePr>
          <p:nvPr>
            <p:extLst>
              <p:ext uri="{D42A27DB-BD31-4B8C-83A1-F6EECF244321}">
                <p14:modId xmlns:p14="http://schemas.microsoft.com/office/powerpoint/2010/main" val="271525131"/>
              </p:ext>
            </p:extLst>
          </p:nvPr>
        </p:nvGraphicFramePr>
        <p:xfrm>
          <a:off x="5186150" y="1299523"/>
          <a:ext cx="4462818" cy="3798888"/>
        </p:xfrm>
        <a:graphic>
          <a:graphicData uri="http://schemas.openxmlformats.org/presentationml/2006/ole">
            <mc:AlternateContent xmlns:mc="http://schemas.openxmlformats.org/markup-compatibility/2006">
              <mc:Choice xmlns:v="urn:schemas-microsoft-com:vml" Requires="v">
                <p:oleObj spid="_x0000_s2213950" name="Feuille de calcul" r:id="rId4" imgW="3743270" imgH="3714826" progId="Excel.Sheet.8">
                  <p:embed/>
                </p:oleObj>
              </mc:Choice>
              <mc:Fallback>
                <p:oleObj name="Feuille de calcul" r:id="rId4" imgW="3743270" imgH="3714826" progId="Excel.Sheet.8">
                  <p:embed/>
                  <p:pic>
                    <p:nvPicPr>
                      <p:cNvPr id="0" name=""/>
                      <p:cNvPicPr>
                        <a:picLocks noChangeArrowheads="1"/>
                      </p:cNvPicPr>
                      <p:nvPr/>
                    </p:nvPicPr>
                    <p:blipFill>
                      <a:blip r:embed="rId5"/>
                      <a:srcRect/>
                      <a:stretch>
                        <a:fillRect/>
                      </a:stretch>
                    </p:blipFill>
                    <p:spPr bwMode="auto">
                      <a:xfrm>
                        <a:off x="5186150" y="1299523"/>
                        <a:ext cx="4462818" cy="3798888"/>
                      </a:xfrm>
                      <a:prstGeom prst="rect">
                        <a:avLst/>
                      </a:prstGeom>
                      <a:noFill/>
                      <a:ln>
                        <a:noFill/>
                      </a:ln>
                      <a:extLst/>
                    </p:spPr>
                  </p:pic>
                </p:oleObj>
              </mc:Fallback>
            </mc:AlternateContent>
          </a:graphicData>
        </a:graphic>
      </p:graphicFrame>
      <p:sp>
        <p:nvSpPr>
          <p:cNvPr id="24583" name="Rectangle 8"/>
          <p:cNvSpPr>
            <a:spLocks noChangeArrowheads="1"/>
          </p:cNvSpPr>
          <p:nvPr/>
        </p:nvSpPr>
        <p:spPr bwMode="auto">
          <a:xfrm>
            <a:off x="0" y="252043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endParaRPr lang="fr-FR" altLang="fr-FR" sz="1800">
              <a:solidFill>
                <a:schemeClr val="tx1"/>
              </a:solidFill>
            </a:endParaRPr>
          </a:p>
        </p:txBody>
      </p:sp>
      <p:sp>
        <p:nvSpPr>
          <p:cNvPr id="24584" name="ZoneTexte 7"/>
          <p:cNvSpPr txBox="1">
            <a:spLocks noChangeArrowheads="1"/>
          </p:cNvSpPr>
          <p:nvPr/>
        </p:nvSpPr>
        <p:spPr bwMode="auto">
          <a:xfrm>
            <a:off x="5005388" y="5084763"/>
            <a:ext cx="509966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Wingdings" pitchFamily="2" charset="2"/>
              <a:buChar char="§"/>
              <a:defRPr sz="2400">
                <a:solidFill>
                  <a:srgbClr val="000099"/>
                </a:solidFill>
                <a:latin typeface="Book Antiqua" pitchFamily="18" charset="0"/>
              </a:defRPr>
            </a:lvl1pPr>
            <a:lvl2pPr marL="742950" indent="-285750" eaLnBrk="0" hangingPunct="0">
              <a:spcBef>
                <a:spcPct val="20000"/>
              </a:spcBef>
              <a:buChar char="-"/>
              <a:defRPr sz="2800">
                <a:solidFill>
                  <a:schemeClr val="tx1"/>
                </a:solidFill>
                <a:latin typeface="Book Antiqua" pitchFamily="18" charset="0"/>
              </a:defRPr>
            </a:lvl2pPr>
            <a:lvl3pPr marL="1143000" indent="-228600" eaLnBrk="0" hangingPunct="0">
              <a:spcBef>
                <a:spcPct val="20000"/>
              </a:spcBef>
              <a:buChar char="•"/>
              <a:defRPr sz="1600">
                <a:solidFill>
                  <a:schemeClr val="tx1"/>
                </a:solidFill>
                <a:latin typeface="Book Antiqua" pitchFamily="18" charset="0"/>
              </a:defRPr>
            </a:lvl3pPr>
            <a:lvl4pPr marL="1600200" indent="-228600" eaLnBrk="0" hangingPunct="0">
              <a:spcBef>
                <a:spcPct val="20000"/>
              </a:spcBef>
              <a:buChar char="–"/>
              <a:defRPr sz="1400">
                <a:solidFill>
                  <a:schemeClr val="tx1"/>
                </a:solidFill>
                <a:latin typeface="Book Antiqua" pitchFamily="18" charset="0"/>
              </a:defRPr>
            </a:lvl4pPr>
            <a:lvl5pPr marL="2057400" indent="-228600" eaLnBrk="0" hangingPunct="0">
              <a:spcBef>
                <a:spcPct val="20000"/>
              </a:spcBef>
              <a:buChar char="»"/>
              <a:defRPr sz="1200">
                <a:solidFill>
                  <a:schemeClr val="tx1"/>
                </a:solidFill>
                <a:latin typeface="Book Antiqua" pitchFamily="18" charset="0"/>
              </a:defRPr>
            </a:lvl5pPr>
            <a:lvl6pPr marL="2514600" indent="-228600" eaLnBrk="0" fontAlgn="base" hangingPunct="0">
              <a:spcBef>
                <a:spcPct val="20000"/>
              </a:spcBef>
              <a:spcAft>
                <a:spcPct val="0"/>
              </a:spcAft>
              <a:buChar char="»"/>
              <a:defRPr sz="1200">
                <a:solidFill>
                  <a:schemeClr val="tx1"/>
                </a:solidFill>
                <a:latin typeface="Book Antiqua" pitchFamily="18" charset="0"/>
              </a:defRPr>
            </a:lvl6pPr>
            <a:lvl7pPr marL="2971800" indent="-228600" eaLnBrk="0" fontAlgn="base" hangingPunct="0">
              <a:spcBef>
                <a:spcPct val="20000"/>
              </a:spcBef>
              <a:spcAft>
                <a:spcPct val="0"/>
              </a:spcAft>
              <a:buChar char="»"/>
              <a:defRPr sz="1200">
                <a:solidFill>
                  <a:schemeClr val="tx1"/>
                </a:solidFill>
                <a:latin typeface="Book Antiqua" pitchFamily="18" charset="0"/>
              </a:defRPr>
            </a:lvl7pPr>
            <a:lvl8pPr marL="3429000" indent="-228600" eaLnBrk="0" fontAlgn="base" hangingPunct="0">
              <a:spcBef>
                <a:spcPct val="20000"/>
              </a:spcBef>
              <a:spcAft>
                <a:spcPct val="0"/>
              </a:spcAft>
              <a:buChar char="»"/>
              <a:defRPr sz="1200">
                <a:solidFill>
                  <a:schemeClr val="tx1"/>
                </a:solidFill>
                <a:latin typeface="Book Antiqua" pitchFamily="18" charset="0"/>
              </a:defRPr>
            </a:lvl8pPr>
            <a:lvl9pPr marL="3886200" indent="-228600" eaLnBrk="0" fontAlgn="base" hangingPunct="0">
              <a:spcBef>
                <a:spcPct val="20000"/>
              </a:spcBef>
              <a:spcAft>
                <a:spcPct val="0"/>
              </a:spcAft>
              <a:buChar char="»"/>
              <a:defRPr sz="1200">
                <a:solidFill>
                  <a:schemeClr val="tx1"/>
                </a:solidFill>
                <a:latin typeface="Book Antiqua" pitchFamily="18" charset="0"/>
              </a:defRPr>
            </a:lvl9pPr>
          </a:lstStyle>
          <a:p>
            <a:pPr eaLnBrk="1" hangingPunct="1">
              <a:spcBef>
                <a:spcPct val="0"/>
              </a:spcBef>
              <a:buFontTx/>
              <a:buNone/>
            </a:pPr>
            <a:r>
              <a:rPr lang="fr-FR" altLang="fr-FR" sz="800" dirty="0">
                <a:solidFill>
                  <a:schemeClr val="tx1"/>
                </a:solidFill>
              </a:rPr>
              <a:t>*A partir de 2007 ce chiffre correspond au trafic sortant des réseaux fixe et fixe avec mobilité restreinte.</a:t>
            </a:r>
          </a:p>
        </p:txBody>
      </p:sp>
      <p:graphicFrame>
        <p:nvGraphicFramePr>
          <p:cNvPr id="24585" name="Objet 9"/>
          <p:cNvGraphicFramePr>
            <a:graphicFrameLocks/>
          </p:cNvGraphicFramePr>
          <p:nvPr>
            <p:extLst>
              <p:ext uri="{D42A27DB-BD31-4B8C-83A1-F6EECF244321}">
                <p14:modId xmlns:p14="http://schemas.microsoft.com/office/powerpoint/2010/main" val="1367126931"/>
              </p:ext>
            </p:extLst>
          </p:nvPr>
        </p:nvGraphicFramePr>
        <p:xfrm>
          <a:off x="0" y="1285875"/>
          <a:ext cx="5005388" cy="3908425"/>
        </p:xfrm>
        <a:graphic>
          <a:graphicData uri="http://schemas.openxmlformats.org/presentationml/2006/ole">
            <mc:AlternateContent xmlns:mc="http://schemas.openxmlformats.org/markup-compatibility/2006">
              <mc:Choice xmlns:v="urn:schemas-microsoft-com:vml" Requires="v">
                <p:oleObj spid="_x0000_s2213951" name="Feuille de calcul" r:id="rId6" imgW="3829111" imgH="3152824" progId="Excel.Sheet.8">
                  <p:embed/>
                </p:oleObj>
              </mc:Choice>
              <mc:Fallback>
                <p:oleObj name="Feuille de calcul" r:id="rId6" imgW="3829111" imgH="3152824" progId="Excel.Sheet.8">
                  <p:embed/>
                  <p:pic>
                    <p:nvPicPr>
                      <p:cNvPr id="0" name=""/>
                      <p:cNvPicPr>
                        <a:picLocks noChangeArrowheads="1"/>
                      </p:cNvPicPr>
                      <p:nvPr/>
                    </p:nvPicPr>
                    <p:blipFill>
                      <a:blip r:embed="rId7"/>
                      <a:srcRect/>
                      <a:stretch>
                        <a:fillRect/>
                      </a:stretch>
                    </p:blipFill>
                    <p:spPr bwMode="auto">
                      <a:xfrm>
                        <a:off x="0" y="1285875"/>
                        <a:ext cx="5005388" cy="390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 name="Image 9"/>
          <p:cNvPicPr/>
          <p:nvPr/>
        </p:nvPicPr>
        <p:blipFill>
          <a:blip r:embed="rId8">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2677366449"/>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 Box 7"/>
          <p:cNvSpPr txBox="1">
            <a:spLocks noChangeArrowheads="1"/>
          </p:cNvSpPr>
          <p:nvPr/>
        </p:nvSpPr>
        <p:spPr bwMode="auto">
          <a:xfrm>
            <a:off x="2321719" y="428626"/>
            <a:ext cx="6153541" cy="436563"/>
          </a:xfrm>
          <a:prstGeom prst="rect">
            <a:avLst/>
          </a:prstGeom>
          <a:solidFill>
            <a:srgbClr val="C0C0C0"/>
          </a:solidFill>
          <a:ln w="9525">
            <a:solidFill>
              <a:schemeClr val="tx1"/>
            </a:solidFill>
            <a:miter lim="800000"/>
            <a:headEnd/>
            <a:tailEnd/>
          </a:ln>
        </p:spPr>
        <p:txBody>
          <a:bodyPr wrap="square" lIns="91430" tIns="45716" rIns="91430" bIns="45716">
            <a:spAutoFit/>
          </a:bodyPr>
          <a:lstStyle>
            <a:lvl1pPr defTabSz="912813" eaLnBrk="0" hangingPunct="0">
              <a:defRPr>
                <a:solidFill>
                  <a:schemeClr val="tx1"/>
                </a:solidFill>
                <a:latin typeface="Book Antiqua" pitchFamily="18" charset="0"/>
                <a:cs typeface="Arial" charset="0"/>
              </a:defRPr>
            </a:lvl1pPr>
            <a:lvl2pPr marL="742950" indent="-285750" defTabSz="912813" eaLnBrk="0" hangingPunct="0">
              <a:defRPr>
                <a:solidFill>
                  <a:schemeClr val="tx1"/>
                </a:solidFill>
                <a:latin typeface="Book Antiqua" pitchFamily="18" charset="0"/>
                <a:cs typeface="Arial" charset="0"/>
              </a:defRPr>
            </a:lvl2pPr>
            <a:lvl3pPr marL="1143000" indent="-228600" defTabSz="912813" eaLnBrk="0" hangingPunct="0">
              <a:defRPr>
                <a:solidFill>
                  <a:schemeClr val="tx1"/>
                </a:solidFill>
                <a:latin typeface="Book Antiqua" pitchFamily="18" charset="0"/>
                <a:cs typeface="Arial" charset="0"/>
              </a:defRPr>
            </a:lvl3pPr>
            <a:lvl4pPr marL="1600200" indent="-228600" defTabSz="912813" eaLnBrk="0" hangingPunct="0">
              <a:defRPr>
                <a:solidFill>
                  <a:schemeClr val="tx1"/>
                </a:solidFill>
                <a:latin typeface="Book Antiqua" pitchFamily="18" charset="0"/>
                <a:cs typeface="Arial" charset="0"/>
              </a:defRPr>
            </a:lvl4pPr>
            <a:lvl5pPr marL="2057400" indent="-228600" defTabSz="912813" eaLnBrk="0" hangingPunct="0">
              <a:defRPr>
                <a:solidFill>
                  <a:schemeClr val="tx1"/>
                </a:solidFill>
                <a:latin typeface="Book Antiqua" pitchFamily="18" charset="0"/>
                <a:cs typeface="Arial" charset="0"/>
              </a:defRPr>
            </a:lvl5pPr>
            <a:lvl6pPr marL="2514600" indent="-228600" defTabSz="912813" eaLnBrk="0" fontAlgn="base" hangingPunct="0">
              <a:spcBef>
                <a:spcPct val="0"/>
              </a:spcBef>
              <a:spcAft>
                <a:spcPct val="0"/>
              </a:spcAft>
              <a:defRPr>
                <a:solidFill>
                  <a:schemeClr val="tx1"/>
                </a:solidFill>
                <a:latin typeface="Book Antiqua" pitchFamily="18" charset="0"/>
                <a:cs typeface="Arial" charset="0"/>
              </a:defRPr>
            </a:lvl6pPr>
            <a:lvl7pPr marL="2971800" indent="-228600" defTabSz="912813" eaLnBrk="0" fontAlgn="base" hangingPunct="0">
              <a:spcBef>
                <a:spcPct val="0"/>
              </a:spcBef>
              <a:spcAft>
                <a:spcPct val="0"/>
              </a:spcAft>
              <a:defRPr>
                <a:solidFill>
                  <a:schemeClr val="tx1"/>
                </a:solidFill>
                <a:latin typeface="Book Antiqua" pitchFamily="18" charset="0"/>
                <a:cs typeface="Arial" charset="0"/>
              </a:defRPr>
            </a:lvl7pPr>
            <a:lvl8pPr marL="3429000" indent="-228600" defTabSz="912813" eaLnBrk="0" fontAlgn="base" hangingPunct="0">
              <a:spcBef>
                <a:spcPct val="0"/>
              </a:spcBef>
              <a:spcAft>
                <a:spcPct val="0"/>
              </a:spcAft>
              <a:defRPr>
                <a:solidFill>
                  <a:schemeClr val="tx1"/>
                </a:solidFill>
                <a:latin typeface="Book Antiqua" pitchFamily="18" charset="0"/>
                <a:cs typeface="Arial" charset="0"/>
              </a:defRPr>
            </a:lvl8pPr>
            <a:lvl9pPr marL="3886200" indent="-228600" defTabSz="912813" eaLnBrk="0" fontAlgn="base" hangingPunct="0">
              <a:spcBef>
                <a:spcPct val="0"/>
              </a:spcBef>
              <a:spcAft>
                <a:spcPct val="0"/>
              </a:spcAft>
              <a:defRPr>
                <a:solidFill>
                  <a:schemeClr val="tx1"/>
                </a:solidFill>
                <a:latin typeface="Book Antiqua" pitchFamily="18" charset="0"/>
                <a:cs typeface="Arial" charset="0"/>
              </a:defRPr>
            </a:lvl9pPr>
          </a:lstStyle>
          <a:p>
            <a:pPr algn="ctr" eaLnBrk="1" hangingPunct="1">
              <a:spcBef>
                <a:spcPct val="50000"/>
              </a:spcBef>
            </a:pPr>
            <a:r>
              <a:rPr lang="fr-FR" altLang="fr-FR" sz="2200" b="1" i="1" dirty="0">
                <a:solidFill>
                  <a:srgbClr val="0560E5"/>
                </a:solidFill>
                <a:latin typeface="Century Gothic" pitchFamily="34" charset="0"/>
              </a:rPr>
              <a:t>ARPM </a:t>
            </a:r>
            <a:r>
              <a:rPr lang="fr-FR" altLang="fr-FR" sz="2200" b="1" i="1" dirty="0" smtClean="0">
                <a:solidFill>
                  <a:srgbClr val="0560E5"/>
                </a:solidFill>
                <a:latin typeface="Century Gothic" pitchFamily="34" charset="0"/>
              </a:rPr>
              <a:t>et usage fixe</a:t>
            </a:r>
            <a:endParaRPr lang="fr-FR" altLang="fr-FR" sz="1600" b="1" i="1" dirty="0">
              <a:solidFill>
                <a:srgbClr val="0560E5"/>
              </a:solidFill>
              <a:latin typeface="Century Gothic" pitchFamily="34" charset="0"/>
            </a:endParaRPr>
          </a:p>
        </p:txBody>
      </p:sp>
      <p:sp>
        <p:nvSpPr>
          <p:cNvPr id="7" name="Rectangle 6"/>
          <p:cNvSpPr>
            <a:spLocks noChangeArrowheads="1"/>
          </p:cNvSpPr>
          <p:nvPr/>
        </p:nvSpPr>
        <p:spPr bwMode="auto">
          <a:xfrm>
            <a:off x="272059" y="5121084"/>
            <a:ext cx="4677114" cy="1169551"/>
          </a:xfrm>
          <a:prstGeom prst="rect">
            <a:avLst/>
          </a:prstGeom>
          <a:noFill/>
          <a:ln w="9525">
            <a:noFill/>
            <a:miter lim="800000"/>
            <a:headEnd/>
            <a:tailEnd/>
          </a:ln>
        </p:spPr>
        <p:txBody>
          <a:bodyPr wrap="square">
            <a:spAutoFit/>
          </a:bodyPr>
          <a:lstStyle/>
          <a:p>
            <a:pPr marL="285750" indent="-285750" algn="just">
              <a:buFont typeface="Arial" pitchFamily="34" charset="0"/>
              <a:buChar char="•"/>
              <a:defRPr/>
            </a:pPr>
            <a:r>
              <a:rPr lang="fr-FR" sz="1400" b="1" kern="0" dirty="0">
                <a:solidFill>
                  <a:srgbClr val="000099"/>
                </a:solidFill>
                <a:latin typeface="Century Gothic" pitchFamily="34" charset="0"/>
                <a:ea typeface="굴림" pitchFamily="34" charset="-127"/>
                <a:cs typeface="+mn-cs"/>
              </a:rPr>
              <a:t>Le revenu moyen par minute (ARPM) Fixe est passé de 1,10 DHHT/min à fin 2008 à </a:t>
            </a:r>
            <a:r>
              <a:rPr lang="fr-FR" sz="1400" b="1" kern="0" dirty="0" smtClean="0">
                <a:solidFill>
                  <a:srgbClr val="000099"/>
                </a:solidFill>
                <a:latin typeface="Century Gothic" pitchFamily="34" charset="0"/>
                <a:ea typeface="굴림" pitchFamily="34" charset="-127"/>
                <a:cs typeface="+mn-cs"/>
              </a:rPr>
              <a:t>0,69 </a:t>
            </a:r>
            <a:r>
              <a:rPr lang="fr-FR" sz="1400" b="1" kern="0" dirty="0">
                <a:solidFill>
                  <a:srgbClr val="000099"/>
                </a:solidFill>
                <a:latin typeface="Century Gothic" pitchFamily="34" charset="0"/>
                <a:ea typeface="굴림" pitchFamily="34" charset="-127"/>
                <a:cs typeface="+mn-cs"/>
              </a:rPr>
              <a:t>DHHT/min à fin </a:t>
            </a:r>
            <a:r>
              <a:rPr lang="fr-FR" sz="1400" b="1" kern="0" dirty="0" smtClean="0">
                <a:solidFill>
                  <a:srgbClr val="000099"/>
                </a:solidFill>
                <a:latin typeface="Century Gothic" pitchFamily="34" charset="0"/>
                <a:ea typeface="굴림" pitchFamily="34" charset="-127"/>
                <a:cs typeface="+mn-cs"/>
              </a:rPr>
              <a:t>2013 </a:t>
            </a:r>
            <a:r>
              <a:rPr lang="fr-FR" sz="1400" b="1" kern="0" dirty="0">
                <a:solidFill>
                  <a:srgbClr val="000099"/>
                </a:solidFill>
                <a:latin typeface="Century Gothic" pitchFamily="34" charset="0"/>
                <a:ea typeface="굴림" pitchFamily="34" charset="-127"/>
                <a:cs typeface="+mn-cs"/>
              </a:rPr>
              <a:t>soit une baisse de </a:t>
            </a:r>
            <a:r>
              <a:rPr lang="fr-FR" sz="1400" kern="0" dirty="0" smtClean="0">
                <a:solidFill>
                  <a:srgbClr val="000099"/>
                </a:solidFill>
                <a:latin typeface="Century Gothic" pitchFamily="34" charset="0"/>
                <a:ea typeface="굴림" pitchFamily="34" charset="-127"/>
              </a:rPr>
              <a:t>37,2</a:t>
            </a:r>
            <a:r>
              <a:rPr lang="fr-FR" sz="1400" b="1" kern="0" dirty="0" smtClean="0">
                <a:solidFill>
                  <a:srgbClr val="000099"/>
                </a:solidFill>
                <a:latin typeface="Century Gothic" pitchFamily="34" charset="0"/>
                <a:ea typeface="굴림" pitchFamily="34" charset="-127"/>
                <a:cs typeface="+mn-cs"/>
              </a:rPr>
              <a:t>%.</a:t>
            </a:r>
            <a:endParaRPr lang="fr-FR" sz="1400" b="1" kern="0" dirty="0">
              <a:solidFill>
                <a:srgbClr val="000099"/>
              </a:solidFill>
              <a:latin typeface="Century Gothic" pitchFamily="34" charset="0"/>
              <a:ea typeface="굴림" pitchFamily="34" charset="-127"/>
              <a:cs typeface="+mn-cs"/>
            </a:endParaRPr>
          </a:p>
          <a:p>
            <a:pPr marL="285750" indent="-285750" algn="just">
              <a:buFont typeface="Arial" pitchFamily="34" charset="0"/>
              <a:buChar char="•"/>
              <a:defRPr/>
            </a:pPr>
            <a:r>
              <a:rPr lang="fr-FR" sz="1400" b="1" kern="0" dirty="0">
                <a:solidFill>
                  <a:srgbClr val="000099"/>
                </a:solidFill>
                <a:latin typeface="Century Gothic" pitchFamily="34" charset="0"/>
                <a:ea typeface="굴림" pitchFamily="34" charset="-127"/>
                <a:cs typeface="+mn-cs"/>
              </a:rPr>
              <a:t>A fin </a:t>
            </a:r>
            <a:r>
              <a:rPr lang="fr-FR" sz="1400" b="1" kern="0" dirty="0" smtClean="0">
                <a:solidFill>
                  <a:srgbClr val="000099"/>
                </a:solidFill>
                <a:latin typeface="Century Gothic" pitchFamily="34" charset="0"/>
                <a:ea typeface="굴림" pitchFamily="34" charset="-127"/>
                <a:cs typeface="+mn-cs"/>
              </a:rPr>
              <a:t>2013</a:t>
            </a:r>
            <a:r>
              <a:rPr lang="fr-FR" sz="1400" b="1" kern="0" dirty="0">
                <a:solidFill>
                  <a:srgbClr val="000099"/>
                </a:solidFill>
                <a:latin typeface="Century Gothic" pitchFamily="34" charset="0"/>
                <a:ea typeface="굴림" pitchFamily="34" charset="-127"/>
                <a:cs typeface="+mn-cs"/>
              </a:rPr>
              <a:t>, l’ARPM fixe est de l’ordre de </a:t>
            </a:r>
            <a:r>
              <a:rPr lang="fr-FR" sz="1400" b="1" kern="0" dirty="0" smtClean="0">
                <a:solidFill>
                  <a:srgbClr val="000099"/>
                </a:solidFill>
                <a:latin typeface="Century Gothic" pitchFamily="34" charset="0"/>
                <a:ea typeface="굴림" pitchFamily="34" charset="-127"/>
                <a:cs typeface="+mn-cs"/>
              </a:rPr>
              <a:t>0,69 </a:t>
            </a:r>
            <a:r>
              <a:rPr lang="fr-FR" sz="1400" b="1" kern="0" dirty="0">
                <a:solidFill>
                  <a:srgbClr val="000099"/>
                </a:solidFill>
                <a:latin typeface="Century Gothic" pitchFamily="34" charset="0"/>
                <a:ea typeface="굴림" pitchFamily="34" charset="-127"/>
              </a:rPr>
              <a:t>DHHT/min.</a:t>
            </a:r>
            <a:r>
              <a:rPr lang="fr-FR" sz="1400" b="1" kern="0" dirty="0">
                <a:solidFill>
                  <a:srgbClr val="000099"/>
                </a:solidFill>
                <a:latin typeface="Century Gothic" pitchFamily="34" charset="0"/>
                <a:ea typeface="굴림" pitchFamily="34" charset="-127"/>
                <a:cs typeface="+mn-cs"/>
              </a:rPr>
              <a:t> </a:t>
            </a:r>
          </a:p>
        </p:txBody>
      </p:sp>
      <p:sp>
        <p:nvSpPr>
          <p:cNvPr id="8" name="Rectangle 4"/>
          <p:cNvSpPr>
            <a:spLocks noChangeArrowheads="1"/>
          </p:cNvSpPr>
          <p:nvPr/>
        </p:nvSpPr>
        <p:spPr bwMode="auto">
          <a:xfrm>
            <a:off x="5022375" y="5107436"/>
            <a:ext cx="4862938" cy="1384995"/>
          </a:xfrm>
          <a:prstGeom prst="rect">
            <a:avLst/>
          </a:prstGeom>
          <a:noFill/>
          <a:ln w="9525">
            <a:noFill/>
            <a:miter lim="800000"/>
            <a:headEnd/>
            <a:tailEnd/>
          </a:ln>
        </p:spPr>
        <p:txBody>
          <a:bodyPr wrap="square">
            <a:spAutoFit/>
          </a:bodyPr>
          <a:lstStyle/>
          <a:p>
            <a:pPr marL="285750" indent="-285750" algn="just">
              <a:buFont typeface="Arial" pitchFamily="34" charset="0"/>
              <a:buChar char="•"/>
              <a:defRPr/>
            </a:pPr>
            <a:r>
              <a:rPr lang="fr-FR" sz="1400" b="1" kern="0" dirty="0" smtClean="0">
                <a:solidFill>
                  <a:srgbClr val="000099"/>
                </a:solidFill>
                <a:latin typeface="Century Gothic" pitchFamily="34" charset="0"/>
                <a:ea typeface="굴림" pitchFamily="34" charset="-127"/>
                <a:cs typeface="+mn-cs"/>
              </a:rPr>
              <a:t>L’usage </a:t>
            </a:r>
            <a:r>
              <a:rPr lang="fr-FR" sz="1400" b="1" kern="0" dirty="0">
                <a:solidFill>
                  <a:srgbClr val="000099"/>
                </a:solidFill>
                <a:latin typeface="Century Gothic" pitchFamily="34" charset="0"/>
                <a:ea typeface="굴림" pitchFamily="34" charset="-127"/>
                <a:cs typeface="+mn-cs"/>
              </a:rPr>
              <a:t>moyen sortant mensuel par client fixe a connu un recul de </a:t>
            </a:r>
            <a:r>
              <a:rPr lang="fr-FR" sz="1400" b="1" kern="0" dirty="0">
                <a:solidFill>
                  <a:srgbClr val="000099"/>
                </a:solidFill>
                <a:latin typeface="Century Gothic" pitchFamily="34" charset="0"/>
                <a:ea typeface="굴림" pitchFamily="34" charset="-127"/>
              </a:rPr>
              <a:t>41</a:t>
            </a:r>
            <a:r>
              <a:rPr lang="fr-FR" sz="1400" b="1" kern="0" dirty="0">
                <a:solidFill>
                  <a:srgbClr val="000099"/>
                </a:solidFill>
                <a:latin typeface="Century Gothic" pitchFamily="34" charset="0"/>
                <a:ea typeface="굴림" pitchFamily="34" charset="-127"/>
                <a:cs typeface="+mn-cs"/>
              </a:rPr>
              <a:t>% entre fin 2008 et fin </a:t>
            </a:r>
            <a:r>
              <a:rPr lang="fr-FR" sz="1400" b="1" kern="0" dirty="0" smtClean="0">
                <a:solidFill>
                  <a:srgbClr val="000099"/>
                </a:solidFill>
                <a:latin typeface="Century Gothic" pitchFamily="34" charset="0"/>
                <a:ea typeface="굴림" pitchFamily="34" charset="-127"/>
                <a:cs typeface="+mn-cs"/>
              </a:rPr>
              <a:t>2013 </a:t>
            </a:r>
            <a:r>
              <a:rPr lang="fr-FR" sz="1400" b="1" kern="0" dirty="0">
                <a:solidFill>
                  <a:srgbClr val="000099"/>
                </a:solidFill>
                <a:latin typeface="Century Gothic" pitchFamily="34" charset="0"/>
                <a:ea typeface="굴림" pitchFamily="34" charset="-127"/>
                <a:cs typeface="+mn-cs"/>
              </a:rPr>
              <a:t>passant de 187 minutes par mois à </a:t>
            </a:r>
            <a:r>
              <a:rPr lang="fr-FR" sz="1400" b="1" kern="0" dirty="0" smtClean="0">
                <a:solidFill>
                  <a:srgbClr val="000099"/>
                </a:solidFill>
                <a:latin typeface="Century Gothic" pitchFamily="34" charset="0"/>
                <a:ea typeface="굴림" pitchFamily="34" charset="-127"/>
                <a:cs typeface="+mn-cs"/>
              </a:rPr>
              <a:t>125 </a:t>
            </a:r>
            <a:r>
              <a:rPr lang="fr-FR" sz="1400" b="1" kern="0" dirty="0">
                <a:solidFill>
                  <a:srgbClr val="000099"/>
                </a:solidFill>
                <a:latin typeface="Century Gothic" pitchFamily="34" charset="0"/>
                <a:ea typeface="굴림" pitchFamily="34" charset="-127"/>
                <a:cs typeface="+mn-cs"/>
              </a:rPr>
              <a:t>minutes par mois.</a:t>
            </a:r>
          </a:p>
          <a:p>
            <a:pPr marL="285750" indent="-285750" algn="just">
              <a:buFont typeface="Arial" pitchFamily="34" charset="0"/>
              <a:buChar char="•"/>
              <a:defRPr/>
            </a:pPr>
            <a:r>
              <a:rPr lang="fr-FR" sz="1400" b="1" kern="0" dirty="0">
                <a:solidFill>
                  <a:srgbClr val="000099"/>
                </a:solidFill>
                <a:latin typeface="Century Gothic" pitchFamily="34" charset="0"/>
                <a:ea typeface="굴림" pitchFamily="34" charset="-127"/>
                <a:cs typeface="+mn-cs"/>
              </a:rPr>
              <a:t>A fin </a:t>
            </a:r>
            <a:r>
              <a:rPr lang="fr-FR" sz="1400" b="1" kern="0" dirty="0" smtClean="0">
                <a:solidFill>
                  <a:srgbClr val="000099"/>
                </a:solidFill>
                <a:latin typeface="Century Gothic" pitchFamily="34" charset="0"/>
                <a:ea typeface="굴림" pitchFamily="34" charset="-127"/>
                <a:cs typeface="+mn-cs"/>
              </a:rPr>
              <a:t>2013</a:t>
            </a:r>
            <a:r>
              <a:rPr lang="fr-FR" sz="1400" b="1" kern="0" dirty="0">
                <a:solidFill>
                  <a:srgbClr val="000099"/>
                </a:solidFill>
                <a:latin typeface="Century Gothic" pitchFamily="34" charset="0"/>
                <a:ea typeface="굴림" pitchFamily="34" charset="-127"/>
                <a:cs typeface="+mn-cs"/>
              </a:rPr>
              <a:t>, cet indicateur a atteint </a:t>
            </a:r>
            <a:r>
              <a:rPr lang="fr-FR" sz="1400" b="1" kern="0" dirty="0" smtClean="0">
                <a:solidFill>
                  <a:srgbClr val="000099"/>
                </a:solidFill>
                <a:latin typeface="Century Gothic" pitchFamily="34" charset="0"/>
                <a:ea typeface="굴림" pitchFamily="34" charset="-127"/>
                <a:cs typeface="+mn-cs"/>
              </a:rPr>
              <a:t>125 </a:t>
            </a:r>
            <a:r>
              <a:rPr lang="fr-FR" sz="1400" b="1" kern="0" dirty="0">
                <a:solidFill>
                  <a:srgbClr val="000099"/>
                </a:solidFill>
                <a:latin typeface="Century Gothic" pitchFamily="34" charset="0"/>
                <a:ea typeface="굴림" pitchFamily="34" charset="-127"/>
                <a:cs typeface="+mn-cs"/>
              </a:rPr>
              <a:t>minutes par mois. </a:t>
            </a:r>
          </a:p>
        </p:txBody>
      </p:sp>
      <p:graphicFrame>
        <p:nvGraphicFramePr>
          <p:cNvPr id="12" name="Graphique 11"/>
          <p:cNvGraphicFramePr>
            <a:graphicFrameLocks/>
          </p:cNvGraphicFramePr>
          <p:nvPr>
            <p:extLst>
              <p:ext uri="{D42A27DB-BD31-4B8C-83A1-F6EECF244321}">
                <p14:modId xmlns:p14="http://schemas.microsoft.com/office/powerpoint/2010/main" val="631396780"/>
              </p:ext>
            </p:extLst>
          </p:nvPr>
        </p:nvGraphicFramePr>
        <p:xfrm>
          <a:off x="5167844" y="1285860"/>
          <a:ext cx="4572000" cy="37365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Graphique 13"/>
          <p:cNvGraphicFramePr>
            <a:graphicFrameLocks/>
          </p:cNvGraphicFramePr>
          <p:nvPr>
            <p:extLst>
              <p:ext uri="{D42A27DB-BD31-4B8C-83A1-F6EECF244321}">
                <p14:modId xmlns:p14="http://schemas.microsoft.com/office/powerpoint/2010/main" val="442810150"/>
              </p:ext>
            </p:extLst>
          </p:nvPr>
        </p:nvGraphicFramePr>
        <p:xfrm>
          <a:off x="177421" y="1285860"/>
          <a:ext cx="4844954" cy="3736516"/>
        </p:xfrm>
        <a:graphic>
          <a:graphicData uri="http://schemas.openxmlformats.org/drawingml/2006/chart">
            <c:chart xmlns:c="http://schemas.openxmlformats.org/drawingml/2006/chart" xmlns:r="http://schemas.openxmlformats.org/officeDocument/2006/relationships" r:id="rId4"/>
          </a:graphicData>
        </a:graphic>
      </p:graphicFrame>
      <p:pic>
        <p:nvPicPr>
          <p:cNvPr id="9" name="Image 8"/>
          <p:cNvPicPr/>
          <p:nvPr/>
        </p:nvPicPr>
        <p:blipFill>
          <a:blip r:embed="rId5">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3616929180"/>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ext Box 7"/>
          <p:cNvSpPr txBox="1">
            <a:spLocks noChangeArrowheads="1"/>
          </p:cNvSpPr>
          <p:nvPr/>
        </p:nvSpPr>
        <p:spPr bwMode="auto">
          <a:xfrm>
            <a:off x="2321719" y="515894"/>
            <a:ext cx="7099300" cy="43656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defTabSz="912813" eaLnBrk="0" hangingPunct="0">
              <a:spcBef>
                <a:spcPct val="20000"/>
              </a:spcBef>
              <a:buFont typeface="Wingdings" pitchFamily="2" charset="2"/>
              <a:buChar char="§"/>
              <a:defRPr sz="2400">
                <a:solidFill>
                  <a:srgbClr val="000099"/>
                </a:solidFill>
                <a:latin typeface="Book Antiqua" pitchFamily="18" charset="0"/>
              </a:defRPr>
            </a:lvl1pPr>
            <a:lvl2pPr marL="742950" indent="-285750" defTabSz="912813" eaLnBrk="0" hangingPunct="0">
              <a:spcBef>
                <a:spcPct val="20000"/>
              </a:spcBef>
              <a:buChar char="-"/>
              <a:defRPr sz="2800">
                <a:solidFill>
                  <a:schemeClr val="tx1"/>
                </a:solidFill>
                <a:latin typeface="Book Antiqua" pitchFamily="18" charset="0"/>
              </a:defRPr>
            </a:lvl2pPr>
            <a:lvl3pPr marL="1143000" indent="-228600" defTabSz="912813" eaLnBrk="0" hangingPunct="0">
              <a:spcBef>
                <a:spcPct val="20000"/>
              </a:spcBef>
              <a:buChar char="•"/>
              <a:defRPr sz="1600">
                <a:solidFill>
                  <a:schemeClr val="tx1"/>
                </a:solidFill>
                <a:latin typeface="Book Antiqua" pitchFamily="18" charset="0"/>
              </a:defRPr>
            </a:lvl3pPr>
            <a:lvl4pPr marL="1600200" indent="-228600" defTabSz="912813" eaLnBrk="0" hangingPunct="0">
              <a:spcBef>
                <a:spcPct val="20000"/>
              </a:spcBef>
              <a:buChar char="–"/>
              <a:defRPr sz="1400">
                <a:solidFill>
                  <a:schemeClr val="tx1"/>
                </a:solidFill>
                <a:latin typeface="Book Antiqua" pitchFamily="18" charset="0"/>
              </a:defRPr>
            </a:lvl4pPr>
            <a:lvl5pPr marL="2057400" indent="-228600" defTabSz="912813" eaLnBrk="0" hangingPunct="0">
              <a:spcBef>
                <a:spcPct val="20000"/>
              </a:spcBef>
              <a:buChar char="»"/>
              <a:defRPr sz="1200">
                <a:solidFill>
                  <a:schemeClr val="tx1"/>
                </a:solidFill>
                <a:latin typeface="Book Antiqua" pitchFamily="18" charset="0"/>
              </a:defRPr>
            </a:lvl5pPr>
            <a:lvl6pPr marL="2514600" indent="-228600" defTabSz="912813" eaLnBrk="0" fontAlgn="base" hangingPunct="0">
              <a:spcBef>
                <a:spcPct val="20000"/>
              </a:spcBef>
              <a:spcAft>
                <a:spcPct val="0"/>
              </a:spcAft>
              <a:buChar char="»"/>
              <a:defRPr sz="1200">
                <a:solidFill>
                  <a:schemeClr val="tx1"/>
                </a:solidFill>
                <a:latin typeface="Book Antiqua" pitchFamily="18" charset="0"/>
              </a:defRPr>
            </a:lvl6pPr>
            <a:lvl7pPr marL="2971800" indent="-228600" defTabSz="912813" eaLnBrk="0" fontAlgn="base" hangingPunct="0">
              <a:spcBef>
                <a:spcPct val="20000"/>
              </a:spcBef>
              <a:spcAft>
                <a:spcPct val="0"/>
              </a:spcAft>
              <a:buChar char="»"/>
              <a:defRPr sz="1200">
                <a:solidFill>
                  <a:schemeClr val="tx1"/>
                </a:solidFill>
                <a:latin typeface="Book Antiqua" pitchFamily="18" charset="0"/>
              </a:defRPr>
            </a:lvl7pPr>
            <a:lvl8pPr marL="3429000" indent="-228600" defTabSz="912813" eaLnBrk="0" fontAlgn="base" hangingPunct="0">
              <a:spcBef>
                <a:spcPct val="20000"/>
              </a:spcBef>
              <a:spcAft>
                <a:spcPct val="0"/>
              </a:spcAft>
              <a:buChar char="»"/>
              <a:defRPr sz="1200">
                <a:solidFill>
                  <a:schemeClr val="tx1"/>
                </a:solidFill>
                <a:latin typeface="Book Antiqua" pitchFamily="18" charset="0"/>
              </a:defRPr>
            </a:lvl8pPr>
            <a:lvl9pPr marL="3886200" indent="-228600" defTabSz="912813" eaLnBrk="0" fontAlgn="base" hangingPunct="0">
              <a:spcBef>
                <a:spcPct val="20000"/>
              </a:spcBef>
              <a:spcAft>
                <a:spcPct val="0"/>
              </a:spcAft>
              <a:buChar char="»"/>
              <a:defRPr sz="1200">
                <a:solidFill>
                  <a:schemeClr val="tx1"/>
                </a:solidFill>
                <a:latin typeface="Book Antiqua" pitchFamily="18" charset="0"/>
              </a:defRPr>
            </a:lvl9pPr>
          </a:lstStyle>
          <a:p>
            <a:pPr algn="ctr" eaLnBrk="1" hangingPunct="1">
              <a:spcBef>
                <a:spcPct val="50000"/>
              </a:spcBef>
              <a:buFontTx/>
              <a:buNone/>
            </a:pPr>
            <a:r>
              <a:rPr lang="fr-FR" altLang="fr-FR" sz="2200" b="1" i="1">
                <a:solidFill>
                  <a:srgbClr val="0560E5"/>
                </a:solidFill>
                <a:latin typeface="Century Gothic" pitchFamily="34" charset="0"/>
              </a:rPr>
              <a:t>Internet : Parc et pénétration</a:t>
            </a:r>
            <a:r>
              <a:rPr lang="fr-FR" altLang="fr-FR" sz="1600" b="1" i="1">
                <a:solidFill>
                  <a:srgbClr val="0560E5"/>
                </a:solidFill>
                <a:latin typeface="Century Gothic" pitchFamily="34" charset="0"/>
              </a:rPr>
              <a:t> </a:t>
            </a:r>
          </a:p>
        </p:txBody>
      </p:sp>
      <p:sp>
        <p:nvSpPr>
          <p:cNvPr id="10" name="Rectangle 2"/>
          <p:cNvSpPr>
            <a:spLocks noChangeArrowheads="1"/>
          </p:cNvSpPr>
          <p:nvPr/>
        </p:nvSpPr>
        <p:spPr bwMode="auto">
          <a:xfrm>
            <a:off x="159434" y="4998684"/>
            <a:ext cx="9479492" cy="1323439"/>
          </a:xfrm>
          <a:prstGeom prst="rect">
            <a:avLst/>
          </a:prstGeom>
          <a:noFill/>
          <a:ln w="9525">
            <a:noFill/>
            <a:miter lim="800000"/>
            <a:headEnd/>
            <a:tailEnd/>
          </a:ln>
        </p:spPr>
        <p:txBody>
          <a:bodyPr>
            <a:spAutoFit/>
          </a:bodyPr>
          <a:lstStyle/>
          <a:p>
            <a:pPr marL="285750" indent="-285750" algn="just" eaLnBrk="0" hangingPunct="0">
              <a:buFont typeface="Arial" pitchFamily="34" charset="0"/>
              <a:buChar char="•"/>
              <a:defRPr/>
            </a:pPr>
            <a:r>
              <a:rPr lang="fr-FR" sz="1600" b="1" kern="0" dirty="0">
                <a:solidFill>
                  <a:srgbClr val="000099"/>
                </a:solidFill>
                <a:latin typeface="Century Gothic" pitchFamily="34" charset="0"/>
                <a:ea typeface="굴림" pitchFamily="34" charset="-127"/>
                <a:cs typeface="+mn-cs"/>
              </a:rPr>
              <a:t>Le parc Internet a connu une croissance soutenue durant les </a:t>
            </a:r>
            <a:r>
              <a:rPr lang="fr-FR" sz="1600" b="1" kern="0" dirty="0" smtClean="0">
                <a:solidFill>
                  <a:srgbClr val="000099"/>
                </a:solidFill>
                <a:latin typeface="Century Gothic" pitchFamily="34" charset="0"/>
                <a:ea typeface="굴림" pitchFamily="34" charset="-127"/>
                <a:cs typeface="+mn-cs"/>
              </a:rPr>
              <a:t>cinq </a:t>
            </a:r>
            <a:r>
              <a:rPr lang="fr-FR" sz="1600" b="1" kern="0" dirty="0">
                <a:solidFill>
                  <a:srgbClr val="000099"/>
                </a:solidFill>
                <a:latin typeface="Century Gothic" pitchFamily="34" charset="0"/>
                <a:ea typeface="굴림" pitchFamily="34" charset="-127"/>
                <a:cs typeface="+mn-cs"/>
              </a:rPr>
              <a:t>dernières années et en particulier </a:t>
            </a:r>
            <a:r>
              <a:rPr lang="fr-FR" sz="1600" b="1" kern="0" dirty="0" smtClean="0">
                <a:solidFill>
                  <a:srgbClr val="000099"/>
                </a:solidFill>
                <a:latin typeface="Century Gothic" pitchFamily="34" charset="0"/>
                <a:ea typeface="굴림" pitchFamily="34" charset="-127"/>
                <a:cs typeface="+mn-cs"/>
              </a:rPr>
              <a:t>à partir de 2011.</a:t>
            </a:r>
            <a:endParaRPr lang="fr-FR" sz="1600" b="1" kern="0" dirty="0">
              <a:solidFill>
                <a:srgbClr val="000099"/>
              </a:solidFill>
              <a:latin typeface="Century Gothic" pitchFamily="34" charset="0"/>
              <a:ea typeface="굴림" pitchFamily="34" charset="-127"/>
              <a:cs typeface="+mn-cs"/>
            </a:endParaRPr>
          </a:p>
          <a:p>
            <a:pPr marL="285750" indent="-285750" algn="just" eaLnBrk="0" hangingPunct="0">
              <a:buFont typeface="Arial" pitchFamily="34" charset="0"/>
              <a:buChar char="•"/>
              <a:defRPr/>
            </a:pPr>
            <a:r>
              <a:rPr lang="fr-FR" sz="1600" b="1" kern="0" dirty="0">
                <a:solidFill>
                  <a:srgbClr val="000099"/>
                </a:solidFill>
                <a:latin typeface="Century Gothic" pitchFamily="34" charset="0"/>
                <a:ea typeface="굴림" pitchFamily="34" charset="-127"/>
                <a:cs typeface="+mn-cs"/>
              </a:rPr>
              <a:t>Cette croissance est due essentiellement au développement des offres Internet mobile 3G.  </a:t>
            </a:r>
          </a:p>
          <a:p>
            <a:pPr marL="285750" indent="-285750" algn="just" eaLnBrk="0" hangingPunct="0">
              <a:buFont typeface="Arial" pitchFamily="34" charset="0"/>
              <a:buChar char="•"/>
              <a:defRPr/>
            </a:pPr>
            <a:r>
              <a:rPr lang="fr-FR" sz="1600" b="1" kern="0" dirty="0">
                <a:solidFill>
                  <a:srgbClr val="000099"/>
                </a:solidFill>
                <a:latin typeface="Century Gothic" pitchFamily="34" charset="0"/>
                <a:ea typeface="굴림" pitchFamily="34" charset="-127"/>
                <a:cs typeface="+mn-cs"/>
              </a:rPr>
              <a:t>Actuellement sur plus de </a:t>
            </a:r>
            <a:r>
              <a:rPr lang="fr-FR" sz="1600" b="1" kern="0" dirty="0" smtClean="0">
                <a:solidFill>
                  <a:srgbClr val="000099"/>
                </a:solidFill>
                <a:latin typeface="Century Gothic" pitchFamily="34" charset="0"/>
                <a:ea typeface="굴림" pitchFamily="34" charset="-127"/>
                <a:cs typeface="+mn-cs"/>
              </a:rPr>
              <a:t>5,7 millions </a:t>
            </a:r>
            <a:r>
              <a:rPr lang="fr-FR" sz="1600" b="1" kern="0" dirty="0">
                <a:solidFill>
                  <a:srgbClr val="000099"/>
                </a:solidFill>
                <a:latin typeface="Century Gothic" pitchFamily="34" charset="0"/>
                <a:ea typeface="굴림" pitchFamily="34" charset="-127"/>
                <a:cs typeface="+mn-cs"/>
              </a:rPr>
              <a:t>d’abonnés, </a:t>
            </a:r>
            <a:r>
              <a:rPr lang="fr-FR" sz="1600" b="1" kern="0" dirty="0" smtClean="0">
                <a:solidFill>
                  <a:srgbClr val="000099"/>
                </a:solidFill>
                <a:latin typeface="Century Gothic" pitchFamily="34" charset="0"/>
                <a:ea typeface="굴림" pitchFamily="34" charset="-127"/>
                <a:cs typeface="+mn-cs"/>
              </a:rPr>
              <a:t>plus </a:t>
            </a:r>
            <a:r>
              <a:rPr lang="fr-FR" sz="1600" b="1" kern="0" dirty="0">
                <a:solidFill>
                  <a:srgbClr val="000099"/>
                </a:solidFill>
                <a:latin typeface="Century Gothic" pitchFamily="34" charset="0"/>
                <a:ea typeface="굴림" pitchFamily="34" charset="-127"/>
                <a:cs typeface="+mn-cs"/>
              </a:rPr>
              <a:t>de </a:t>
            </a:r>
            <a:r>
              <a:rPr lang="fr-FR" sz="1600" b="1" kern="0" dirty="0" smtClean="0">
                <a:solidFill>
                  <a:srgbClr val="000099"/>
                </a:solidFill>
                <a:latin typeface="Century Gothic" pitchFamily="34" charset="0"/>
                <a:ea typeface="굴림" pitchFamily="34" charset="-127"/>
                <a:cs typeface="+mn-cs"/>
              </a:rPr>
              <a:t>85% </a:t>
            </a:r>
            <a:r>
              <a:rPr lang="fr-FR" sz="1600" b="1" kern="0" dirty="0">
                <a:solidFill>
                  <a:srgbClr val="000099"/>
                </a:solidFill>
                <a:latin typeface="Century Gothic" pitchFamily="34" charset="0"/>
                <a:ea typeface="굴림" pitchFamily="34" charset="-127"/>
                <a:cs typeface="+mn-cs"/>
              </a:rPr>
              <a:t>utilisent les connexions 3G mobile contre </a:t>
            </a:r>
            <a:r>
              <a:rPr lang="fr-FR" sz="1600" b="1" kern="0" dirty="0" smtClean="0">
                <a:solidFill>
                  <a:srgbClr val="000099"/>
                </a:solidFill>
                <a:latin typeface="Century Gothic" pitchFamily="34" charset="0"/>
                <a:ea typeface="굴림" pitchFamily="34" charset="-127"/>
                <a:cs typeface="+mn-cs"/>
              </a:rPr>
              <a:t>14,5% </a:t>
            </a:r>
            <a:r>
              <a:rPr lang="fr-FR" sz="1600" b="1" kern="0" dirty="0">
                <a:solidFill>
                  <a:srgbClr val="000099"/>
                </a:solidFill>
                <a:latin typeface="Century Gothic" pitchFamily="34" charset="0"/>
                <a:ea typeface="굴림" pitchFamily="34" charset="-127"/>
                <a:cs typeface="+mn-cs"/>
              </a:rPr>
              <a:t>pour l’accès ADSL fixe.</a:t>
            </a:r>
          </a:p>
        </p:txBody>
      </p:sp>
      <p:graphicFrame>
        <p:nvGraphicFramePr>
          <p:cNvPr id="27652" name="Objet 6"/>
          <p:cNvGraphicFramePr>
            <a:graphicFrameLocks/>
          </p:cNvGraphicFramePr>
          <p:nvPr>
            <p:extLst>
              <p:ext uri="{D42A27DB-BD31-4B8C-83A1-F6EECF244321}">
                <p14:modId xmlns:p14="http://schemas.microsoft.com/office/powerpoint/2010/main" val="1752764089"/>
              </p:ext>
            </p:extLst>
          </p:nvPr>
        </p:nvGraphicFramePr>
        <p:xfrm>
          <a:off x="158750" y="1074738"/>
          <a:ext cx="5394325" cy="3941762"/>
        </p:xfrm>
        <a:graphic>
          <a:graphicData uri="http://schemas.openxmlformats.org/presentationml/2006/ole">
            <mc:AlternateContent xmlns:mc="http://schemas.openxmlformats.org/markup-compatibility/2006">
              <mc:Choice xmlns:v="urn:schemas-microsoft-com:vml" Requires="v">
                <p:oleObj spid="_x0000_s2214944" name="Feuille de calcul" r:id="rId4" imgW="5000655" imgH="3228945" progId="Excel.Sheet.8">
                  <p:embed/>
                </p:oleObj>
              </mc:Choice>
              <mc:Fallback>
                <p:oleObj name="Feuille de calcul" r:id="rId4" imgW="5000655" imgH="3228945" progId="Excel.Sheet.8">
                  <p:embed/>
                  <p:pic>
                    <p:nvPicPr>
                      <p:cNvPr id="0" name=""/>
                      <p:cNvPicPr>
                        <a:picLocks noChangeArrowheads="1"/>
                      </p:cNvPicPr>
                      <p:nvPr/>
                    </p:nvPicPr>
                    <p:blipFill>
                      <a:blip r:embed="rId5"/>
                      <a:srcRect/>
                      <a:stretch>
                        <a:fillRect/>
                      </a:stretch>
                    </p:blipFill>
                    <p:spPr bwMode="auto">
                      <a:xfrm>
                        <a:off x="158750" y="1074738"/>
                        <a:ext cx="5394325" cy="394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 name="Graphique 6"/>
          <p:cNvGraphicFramePr/>
          <p:nvPr>
            <p:extLst>
              <p:ext uri="{D42A27DB-BD31-4B8C-83A1-F6EECF244321}">
                <p14:modId xmlns:p14="http://schemas.microsoft.com/office/powerpoint/2010/main" val="4273923642"/>
              </p:ext>
            </p:extLst>
          </p:nvPr>
        </p:nvGraphicFramePr>
        <p:xfrm>
          <a:off x="5553075" y="1173706"/>
          <a:ext cx="4085851" cy="3824977"/>
        </p:xfrm>
        <a:graphic>
          <a:graphicData uri="http://schemas.openxmlformats.org/drawingml/2006/chart">
            <c:chart xmlns:c="http://schemas.openxmlformats.org/drawingml/2006/chart" xmlns:r="http://schemas.openxmlformats.org/officeDocument/2006/relationships" r:id="rId6"/>
          </a:graphicData>
        </a:graphic>
      </p:graphicFrame>
      <p:pic>
        <p:nvPicPr>
          <p:cNvPr id="6" name="Image 5"/>
          <p:cNvPicPr/>
          <p:nvPr/>
        </p:nvPicPr>
        <p:blipFill>
          <a:blip r:embed="rId7">
            <a:extLst>
              <a:ext uri="{28A0092B-C50C-407E-A947-70E740481C1C}">
                <a14:useLocalDpi xmlns:a14="http://schemas.microsoft.com/office/drawing/2010/main" val="0"/>
              </a:ext>
            </a:extLst>
          </a:blip>
          <a:srcRect/>
          <a:stretch>
            <a:fillRect/>
          </a:stretch>
        </p:blipFill>
        <p:spPr bwMode="auto">
          <a:xfrm>
            <a:off x="8584442" y="1"/>
            <a:ext cx="1321558" cy="1146412"/>
          </a:xfrm>
          <a:prstGeom prst="rect">
            <a:avLst/>
          </a:prstGeom>
          <a:noFill/>
        </p:spPr>
      </p:pic>
    </p:spTree>
    <p:extLst>
      <p:ext uri="{BB962C8B-B14F-4D97-AF65-F5344CB8AC3E}">
        <p14:creationId xmlns:p14="http://schemas.microsoft.com/office/powerpoint/2010/main" val="164754036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3&quot;&gt;&lt;elem m_fUsage=&quot;1.72900000000000010000E+000&quot;&gt;&lt;m_ppcolschidx val=&quot;0&quot;/&gt;&lt;m_rgb r=&quot;e8&quot; g=&quot;e8&quot; b=&quot;e8&quot;/&gt;&lt;/elem&gt;&lt;elem m_fUsage=&quot;1.71000000000000000000E+000&quot;&gt;&lt;m_ppcolschidx val=&quot;0&quot;/&gt;&lt;m_rgb r=&quot;7f&quot; g=&quot;7f&quot; b=&quot;7f&quot;/&gt;&lt;/elem&gt;&lt;elem m_fUsage=&quot;1.24659000000000010000E+000&quot;&gt;&lt;m_ppcolschidx val=&quot;0&quot;/&gt;&lt;m_rgb r=&quot;ff&quot; g=&quot;0&quot; b=&quot;0&quot;/&gt;&lt;/elem&gt;&lt;/m_vecMRU&gt;&lt;/m_mruColor&gt;&lt;m_mapectfillschemeMRU&gt;&lt;key val=&quot;0&quot;/&gt;&lt;elem&gt;&lt;m_nPartnerID val=&quot;610&quot;/&gt;&lt;m_nIndex val=&quot;3&quot;/&gt;&lt;/elem&gt;&lt;key val=&quot;3&quot;/&gt;&lt;elem&gt;&lt;m_nPartnerID val=&quot;610&quot;/&gt;&lt;m_nIndex val=&quot;4&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528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DFefyNxZ026PVGEicmGmQ"/>
</p:tagLst>
</file>

<file path=ppt/tags/tag100.xml><?xml version="1.0" encoding="utf-8"?>
<p:tagLst xmlns:a="http://schemas.openxmlformats.org/drawingml/2006/main" xmlns:r="http://schemas.openxmlformats.org/officeDocument/2006/relationships" xmlns:p="http://schemas.openxmlformats.org/presentationml/2006/main">
  <p:tag name="SELECTED" val="0"/>
</p:tagLst>
</file>

<file path=ppt/tags/tag101.xml><?xml version="1.0" encoding="utf-8"?>
<p:tagLst xmlns:a="http://schemas.openxmlformats.org/drawingml/2006/main" xmlns:r="http://schemas.openxmlformats.org/officeDocument/2006/relationships" xmlns:p="http://schemas.openxmlformats.org/presentationml/2006/main">
  <p:tag name="SELECTED" val="0"/>
</p:tagLst>
</file>

<file path=ppt/tags/tag102.xml><?xml version="1.0" encoding="utf-8"?>
<p:tagLst xmlns:a="http://schemas.openxmlformats.org/drawingml/2006/main" xmlns:r="http://schemas.openxmlformats.org/officeDocument/2006/relationships" xmlns:p="http://schemas.openxmlformats.org/presentationml/2006/main">
  <p:tag name="SELECTED" val="0"/>
</p:tagLst>
</file>

<file path=ppt/tags/tag103.xml><?xml version="1.0" encoding="utf-8"?>
<p:tagLst xmlns:a="http://schemas.openxmlformats.org/drawingml/2006/main" xmlns:r="http://schemas.openxmlformats.org/officeDocument/2006/relationships" xmlns:p="http://schemas.openxmlformats.org/presentationml/2006/main">
  <p:tag name="SELECTED" val="0"/>
</p:tagLst>
</file>

<file path=ppt/tags/tag104.xml><?xml version="1.0" encoding="utf-8"?>
<p:tagLst xmlns:a="http://schemas.openxmlformats.org/drawingml/2006/main" xmlns:r="http://schemas.openxmlformats.org/officeDocument/2006/relationships" xmlns:p="http://schemas.openxmlformats.org/presentationml/2006/main">
  <p:tag name="SELECTED" val="0"/>
</p:tagLst>
</file>

<file path=ppt/tags/tag105.xml><?xml version="1.0" encoding="utf-8"?>
<p:tagLst xmlns:a="http://schemas.openxmlformats.org/drawingml/2006/main" xmlns:r="http://schemas.openxmlformats.org/officeDocument/2006/relationships" xmlns:p="http://schemas.openxmlformats.org/presentationml/2006/main">
  <p:tag name="SELECTED" val="0"/>
</p:tagLst>
</file>

<file path=ppt/tags/tag106.xml><?xml version="1.0" encoding="utf-8"?>
<p:tagLst xmlns:a="http://schemas.openxmlformats.org/drawingml/2006/main" xmlns:r="http://schemas.openxmlformats.org/officeDocument/2006/relationships" xmlns:p="http://schemas.openxmlformats.org/presentationml/2006/main">
  <p:tag name="SELECTED" val="0"/>
</p:tagLst>
</file>

<file path=ppt/tags/tag107.xml><?xml version="1.0" encoding="utf-8"?>
<p:tagLst xmlns:a="http://schemas.openxmlformats.org/drawingml/2006/main" xmlns:r="http://schemas.openxmlformats.org/officeDocument/2006/relationships" xmlns:p="http://schemas.openxmlformats.org/presentationml/2006/main">
  <p:tag name="SELECTED" val="0"/>
</p:tagLst>
</file>

<file path=ppt/tags/tag108.xml><?xml version="1.0" encoding="utf-8"?>
<p:tagLst xmlns:a="http://schemas.openxmlformats.org/drawingml/2006/main" xmlns:r="http://schemas.openxmlformats.org/officeDocument/2006/relationships" xmlns:p="http://schemas.openxmlformats.org/presentationml/2006/main">
  <p:tag name="SELECTED" val="0"/>
</p:tagLst>
</file>

<file path=ppt/tags/tag109.xml><?xml version="1.0" encoding="utf-8"?>
<p:tagLst xmlns:a="http://schemas.openxmlformats.org/drawingml/2006/main" xmlns:r="http://schemas.openxmlformats.org/officeDocument/2006/relationships" xmlns:p="http://schemas.openxmlformats.org/presentationml/2006/main">
  <p:tag name="SELECTED" val="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SELECTED" val="0"/>
</p:tagLst>
</file>

<file path=ppt/tags/tag111.xml><?xml version="1.0" encoding="utf-8"?>
<p:tagLst xmlns:a="http://schemas.openxmlformats.org/drawingml/2006/main" xmlns:r="http://schemas.openxmlformats.org/officeDocument/2006/relationships" xmlns:p="http://schemas.openxmlformats.org/presentationml/2006/main">
  <p:tag name="SELECTED" val="0"/>
</p:tagLst>
</file>

<file path=ppt/tags/tag112.xml><?xml version="1.0" encoding="utf-8"?>
<p:tagLst xmlns:a="http://schemas.openxmlformats.org/drawingml/2006/main" xmlns:r="http://schemas.openxmlformats.org/officeDocument/2006/relationships" xmlns:p="http://schemas.openxmlformats.org/presentationml/2006/main">
  <p:tag name="SELECTED" val="0"/>
</p:tagLst>
</file>

<file path=ppt/tags/tag113.xml><?xml version="1.0" encoding="utf-8"?>
<p:tagLst xmlns:a="http://schemas.openxmlformats.org/drawingml/2006/main" xmlns:r="http://schemas.openxmlformats.org/officeDocument/2006/relationships" xmlns:p="http://schemas.openxmlformats.org/presentationml/2006/main">
  <p:tag name="SELECTED" val="0"/>
</p:tagLst>
</file>

<file path=ppt/tags/tag114.xml><?xml version="1.0" encoding="utf-8"?>
<p:tagLst xmlns:a="http://schemas.openxmlformats.org/drawingml/2006/main" xmlns:r="http://schemas.openxmlformats.org/officeDocument/2006/relationships" xmlns:p="http://schemas.openxmlformats.org/presentationml/2006/main">
  <p:tag name="SELECTED" val="0"/>
</p:tagLst>
</file>

<file path=ppt/tags/tag115.xml><?xml version="1.0" encoding="utf-8"?>
<p:tagLst xmlns:a="http://schemas.openxmlformats.org/drawingml/2006/main" xmlns:r="http://schemas.openxmlformats.org/officeDocument/2006/relationships" xmlns:p="http://schemas.openxmlformats.org/presentationml/2006/main">
  <p:tag name="SELECTED" val="0"/>
</p:tagLst>
</file>

<file path=ppt/tags/tag116.xml><?xml version="1.0" encoding="utf-8"?>
<p:tagLst xmlns:a="http://schemas.openxmlformats.org/drawingml/2006/main" xmlns:r="http://schemas.openxmlformats.org/officeDocument/2006/relationships" xmlns:p="http://schemas.openxmlformats.org/presentationml/2006/main">
  <p:tag name="SELECTED" val="0"/>
</p:tagLst>
</file>

<file path=ppt/tags/tag117.xml><?xml version="1.0" encoding="utf-8"?>
<p:tagLst xmlns:a="http://schemas.openxmlformats.org/drawingml/2006/main" xmlns:r="http://schemas.openxmlformats.org/officeDocument/2006/relationships" xmlns:p="http://schemas.openxmlformats.org/presentationml/2006/main">
  <p:tag name="SELECTED" val="0"/>
</p:tagLst>
</file>

<file path=ppt/tags/tag118.xml><?xml version="1.0" encoding="utf-8"?>
<p:tagLst xmlns:a="http://schemas.openxmlformats.org/drawingml/2006/main" xmlns:r="http://schemas.openxmlformats.org/officeDocument/2006/relationships" xmlns:p="http://schemas.openxmlformats.org/presentationml/2006/main">
  <p:tag name="SELECTED" val="0"/>
</p:tagLst>
</file>

<file path=ppt/tags/tag119.xml><?xml version="1.0" encoding="utf-8"?>
<p:tagLst xmlns:a="http://schemas.openxmlformats.org/drawingml/2006/main" xmlns:r="http://schemas.openxmlformats.org/officeDocument/2006/relationships" xmlns:p="http://schemas.openxmlformats.org/presentationml/2006/main">
  <p:tag name="SELECT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EqwRNy81k6K6onvPeb9wg"/>
</p:tagLst>
</file>

<file path=ppt/tags/tag120.xml><?xml version="1.0" encoding="utf-8"?>
<p:tagLst xmlns:a="http://schemas.openxmlformats.org/drawingml/2006/main" xmlns:r="http://schemas.openxmlformats.org/officeDocument/2006/relationships" xmlns:p="http://schemas.openxmlformats.org/presentationml/2006/main">
  <p:tag name="SELECTED" val="0"/>
</p:tagLst>
</file>

<file path=ppt/tags/tag121.xml><?xml version="1.0" encoding="utf-8"?>
<p:tagLst xmlns:a="http://schemas.openxmlformats.org/drawingml/2006/main" xmlns:r="http://schemas.openxmlformats.org/officeDocument/2006/relationships" xmlns:p="http://schemas.openxmlformats.org/presentationml/2006/main">
  <p:tag name="SELECTED" val="0"/>
</p:tagLst>
</file>

<file path=ppt/tags/tag122.xml><?xml version="1.0" encoding="utf-8"?>
<p:tagLst xmlns:a="http://schemas.openxmlformats.org/drawingml/2006/main" xmlns:r="http://schemas.openxmlformats.org/officeDocument/2006/relationships" xmlns:p="http://schemas.openxmlformats.org/presentationml/2006/main">
  <p:tag name="SELECTED" val="0"/>
</p:tagLst>
</file>

<file path=ppt/tags/tag123.xml><?xml version="1.0" encoding="utf-8"?>
<p:tagLst xmlns:a="http://schemas.openxmlformats.org/drawingml/2006/main" xmlns:r="http://schemas.openxmlformats.org/officeDocument/2006/relationships" xmlns:p="http://schemas.openxmlformats.org/presentationml/2006/main">
  <p:tag name="SELECTED" val="0"/>
</p:tagLst>
</file>

<file path=ppt/tags/tag124.xml><?xml version="1.0" encoding="utf-8"?>
<p:tagLst xmlns:a="http://schemas.openxmlformats.org/drawingml/2006/main" xmlns:r="http://schemas.openxmlformats.org/officeDocument/2006/relationships" xmlns:p="http://schemas.openxmlformats.org/presentationml/2006/main">
  <p:tag name="SELECTED" val="0"/>
</p:tagLst>
</file>

<file path=ppt/tags/tag125.xml><?xml version="1.0" encoding="utf-8"?>
<p:tagLst xmlns:a="http://schemas.openxmlformats.org/drawingml/2006/main" xmlns:r="http://schemas.openxmlformats.org/officeDocument/2006/relationships" xmlns:p="http://schemas.openxmlformats.org/presentationml/2006/main">
  <p:tag name="SELECTED" val="0"/>
</p:tagLst>
</file>

<file path=ppt/tags/tag126.xml><?xml version="1.0" encoding="utf-8"?>
<p:tagLst xmlns:a="http://schemas.openxmlformats.org/drawingml/2006/main" xmlns:r="http://schemas.openxmlformats.org/officeDocument/2006/relationships" xmlns:p="http://schemas.openxmlformats.org/presentationml/2006/main">
  <p:tag name="SELECTED" val="0"/>
</p:tagLst>
</file>

<file path=ppt/tags/tag127.xml><?xml version="1.0" encoding="utf-8"?>
<p:tagLst xmlns:a="http://schemas.openxmlformats.org/drawingml/2006/main" xmlns:r="http://schemas.openxmlformats.org/officeDocument/2006/relationships" xmlns:p="http://schemas.openxmlformats.org/presentationml/2006/main">
  <p:tag name="SELECTED" val="0"/>
</p:tagLst>
</file>

<file path=ppt/tags/tag128.xml><?xml version="1.0" encoding="utf-8"?>
<p:tagLst xmlns:a="http://schemas.openxmlformats.org/drawingml/2006/main" xmlns:r="http://schemas.openxmlformats.org/officeDocument/2006/relationships" xmlns:p="http://schemas.openxmlformats.org/presentationml/2006/main">
  <p:tag name="SELECTED" val="0"/>
</p:tagLst>
</file>

<file path=ppt/tags/tag129.xml><?xml version="1.0" encoding="utf-8"?>
<p:tagLst xmlns:a="http://schemas.openxmlformats.org/drawingml/2006/main" xmlns:r="http://schemas.openxmlformats.org/officeDocument/2006/relationships" xmlns:p="http://schemas.openxmlformats.org/presentationml/2006/main">
  <p:tag name="SELECTED" val="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3zSEv_N20.oAydipPoMOg"/>
</p:tagLst>
</file>

<file path=ppt/tags/tag130.xml><?xml version="1.0" encoding="utf-8"?>
<p:tagLst xmlns:a="http://schemas.openxmlformats.org/drawingml/2006/main" xmlns:r="http://schemas.openxmlformats.org/officeDocument/2006/relationships" xmlns:p="http://schemas.openxmlformats.org/presentationml/2006/main">
  <p:tag name="SELECTED" val="0"/>
</p:tagLst>
</file>

<file path=ppt/tags/tag131.xml><?xml version="1.0" encoding="utf-8"?>
<p:tagLst xmlns:a="http://schemas.openxmlformats.org/drawingml/2006/main" xmlns:r="http://schemas.openxmlformats.org/officeDocument/2006/relationships" xmlns:p="http://schemas.openxmlformats.org/presentationml/2006/main">
  <p:tag name="SELECTED" val="0"/>
</p:tagLst>
</file>

<file path=ppt/tags/tag132.xml><?xml version="1.0" encoding="utf-8"?>
<p:tagLst xmlns:a="http://schemas.openxmlformats.org/drawingml/2006/main" xmlns:r="http://schemas.openxmlformats.org/officeDocument/2006/relationships" xmlns:p="http://schemas.openxmlformats.org/presentationml/2006/main">
  <p:tag name="SELECTED" val="0"/>
</p:tagLst>
</file>

<file path=ppt/tags/tag133.xml><?xml version="1.0" encoding="utf-8"?>
<p:tagLst xmlns:a="http://schemas.openxmlformats.org/drawingml/2006/main" xmlns:r="http://schemas.openxmlformats.org/officeDocument/2006/relationships" xmlns:p="http://schemas.openxmlformats.org/presentationml/2006/main">
  <p:tag name="SELECTED" val="0"/>
</p:tagLst>
</file>

<file path=ppt/tags/tag134.xml><?xml version="1.0" encoding="utf-8"?>
<p:tagLst xmlns:a="http://schemas.openxmlformats.org/drawingml/2006/main" xmlns:r="http://schemas.openxmlformats.org/officeDocument/2006/relationships" xmlns:p="http://schemas.openxmlformats.org/presentationml/2006/main">
  <p:tag name="SELECTED" val="0"/>
</p:tagLst>
</file>

<file path=ppt/tags/tag135.xml><?xml version="1.0" encoding="utf-8"?>
<p:tagLst xmlns:a="http://schemas.openxmlformats.org/drawingml/2006/main" xmlns:r="http://schemas.openxmlformats.org/officeDocument/2006/relationships" xmlns:p="http://schemas.openxmlformats.org/presentationml/2006/main">
  <p:tag name="SELECTED" val="0"/>
</p:tagLst>
</file>

<file path=ppt/tags/tag136.xml><?xml version="1.0" encoding="utf-8"?>
<p:tagLst xmlns:a="http://schemas.openxmlformats.org/drawingml/2006/main" xmlns:r="http://schemas.openxmlformats.org/officeDocument/2006/relationships" xmlns:p="http://schemas.openxmlformats.org/presentationml/2006/main">
  <p:tag name="SELECTED" val="0"/>
</p:tagLst>
</file>

<file path=ppt/tags/tag137.xml><?xml version="1.0" encoding="utf-8"?>
<p:tagLst xmlns:a="http://schemas.openxmlformats.org/drawingml/2006/main" xmlns:r="http://schemas.openxmlformats.org/officeDocument/2006/relationships" xmlns:p="http://schemas.openxmlformats.org/presentationml/2006/main">
  <p:tag name="SELECTED" val="0"/>
</p:tagLst>
</file>

<file path=ppt/tags/tag138.xml><?xml version="1.0" encoding="utf-8"?>
<p:tagLst xmlns:a="http://schemas.openxmlformats.org/drawingml/2006/main" xmlns:r="http://schemas.openxmlformats.org/officeDocument/2006/relationships" xmlns:p="http://schemas.openxmlformats.org/presentationml/2006/main">
  <p:tag name="SELECTED" val="0"/>
</p:tagLst>
</file>

<file path=ppt/tags/tag139.xml><?xml version="1.0" encoding="utf-8"?>
<p:tagLst xmlns:a="http://schemas.openxmlformats.org/drawingml/2006/main" xmlns:r="http://schemas.openxmlformats.org/officeDocument/2006/relationships" xmlns:p="http://schemas.openxmlformats.org/presentationml/2006/main">
  <p:tag name="SELECTED"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R_luOPGX0WUu7ICk_1I9A"/>
</p:tagLst>
</file>

<file path=ppt/tags/tag140.xml><?xml version="1.0" encoding="utf-8"?>
<p:tagLst xmlns:a="http://schemas.openxmlformats.org/drawingml/2006/main" xmlns:r="http://schemas.openxmlformats.org/officeDocument/2006/relationships" xmlns:p="http://schemas.openxmlformats.org/presentationml/2006/main">
  <p:tag name="SELECTED" val="0"/>
</p:tagLst>
</file>

<file path=ppt/tags/tag141.xml><?xml version="1.0" encoding="utf-8"?>
<p:tagLst xmlns:a="http://schemas.openxmlformats.org/drawingml/2006/main" xmlns:r="http://schemas.openxmlformats.org/officeDocument/2006/relationships" xmlns:p="http://schemas.openxmlformats.org/presentationml/2006/main">
  <p:tag name="SELECTED" val="0"/>
</p:tagLst>
</file>

<file path=ppt/tags/tag142.xml><?xml version="1.0" encoding="utf-8"?>
<p:tagLst xmlns:a="http://schemas.openxmlformats.org/drawingml/2006/main" xmlns:r="http://schemas.openxmlformats.org/officeDocument/2006/relationships" xmlns:p="http://schemas.openxmlformats.org/presentationml/2006/main">
  <p:tag name="SELECTED" val="0"/>
</p:tagLst>
</file>

<file path=ppt/tags/tag143.xml><?xml version="1.0" encoding="utf-8"?>
<p:tagLst xmlns:a="http://schemas.openxmlformats.org/drawingml/2006/main" xmlns:r="http://schemas.openxmlformats.org/officeDocument/2006/relationships" xmlns:p="http://schemas.openxmlformats.org/presentationml/2006/main">
  <p:tag name="SELECTED" val="0"/>
</p:tagLst>
</file>

<file path=ppt/tags/tag144.xml><?xml version="1.0" encoding="utf-8"?>
<p:tagLst xmlns:a="http://schemas.openxmlformats.org/drawingml/2006/main" xmlns:r="http://schemas.openxmlformats.org/officeDocument/2006/relationships" xmlns:p="http://schemas.openxmlformats.org/presentationml/2006/main">
  <p:tag name="SELECTED" val="0"/>
</p:tagLst>
</file>

<file path=ppt/tags/tag145.xml><?xml version="1.0" encoding="utf-8"?>
<p:tagLst xmlns:a="http://schemas.openxmlformats.org/drawingml/2006/main" xmlns:r="http://schemas.openxmlformats.org/officeDocument/2006/relationships" xmlns:p="http://schemas.openxmlformats.org/presentationml/2006/main">
  <p:tag name="SELECTED" val="0"/>
</p:tagLst>
</file>

<file path=ppt/tags/tag146.xml><?xml version="1.0" encoding="utf-8"?>
<p:tagLst xmlns:a="http://schemas.openxmlformats.org/drawingml/2006/main" xmlns:r="http://schemas.openxmlformats.org/officeDocument/2006/relationships" xmlns:p="http://schemas.openxmlformats.org/presentationml/2006/main">
  <p:tag name="SELECTED" val="0"/>
</p:tagLst>
</file>

<file path=ppt/tags/tag147.xml><?xml version="1.0" encoding="utf-8"?>
<p:tagLst xmlns:a="http://schemas.openxmlformats.org/drawingml/2006/main" xmlns:r="http://schemas.openxmlformats.org/officeDocument/2006/relationships" xmlns:p="http://schemas.openxmlformats.org/presentationml/2006/main">
  <p:tag name="SELECTED" val="0"/>
</p:tagLst>
</file>

<file path=ppt/tags/tag148.xml><?xml version="1.0" encoding="utf-8"?>
<p:tagLst xmlns:a="http://schemas.openxmlformats.org/drawingml/2006/main" xmlns:r="http://schemas.openxmlformats.org/officeDocument/2006/relationships" xmlns:p="http://schemas.openxmlformats.org/presentationml/2006/main">
  <p:tag name="SELECTED" val="0"/>
</p:tagLst>
</file>

<file path=ppt/tags/tag149.xml><?xml version="1.0" encoding="utf-8"?>
<p:tagLst xmlns:a="http://schemas.openxmlformats.org/drawingml/2006/main" xmlns:r="http://schemas.openxmlformats.org/officeDocument/2006/relationships" xmlns:p="http://schemas.openxmlformats.org/presentationml/2006/main">
  <p:tag name="SELECTED" val="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KUacaAoxE62MXKp1eYrzw"/>
</p:tagLst>
</file>

<file path=ppt/tags/tag150.xml><?xml version="1.0" encoding="utf-8"?>
<p:tagLst xmlns:a="http://schemas.openxmlformats.org/drawingml/2006/main" xmlns:r="http://schemas.openxmlformats.org/officeDocument/2006/relationships" xmlns:p="http://schemas.openxmlformats.org/presentationml/2006/main">
  <p:tag name="SELECTED" val="0"/>
</p:tagLst>
</file>

<file path=ppt/tags/tag151.xml><?xml version="1.0" encoding="utf-8"?>
<p:tagLst xmlns:a="http://schemas.openxmlformats.org/drawingml/2006/main" xmlns:r="http://schemas.openxmlformats.org/officeDocument/2006/relationships" xmlns:p="http://schemas.openxmlformats.org/presentationml/2006/main">
  <p:tag name="SELECTED" val="0"/>
</p:tagLst>
</file>

<file path=ppt/tags/tag152.xml><?xml version="1.0" encoding="utf-8"?>
<p:tagLst xmlns:a="http://schemas.openxmlformats.org/drawingml/2006/main" xmlns:r="http://schemas.openxmlformats.org/officeDocument/2006/relationships" xmlns:p="http://schemas.openxmlformats.org/presentationml/2006/main">
  <p:tag name="SELECTED" val="0"/>
</p:tagLst>
</file>

<file path=ppt/tags/tag153.xml><?xml version="1.0" encoding="utf-8"?>
<p:tagLst xmlns:a="http://schemas.openxmlformats.org/drawingml/2006/main" xmlns:r="http://schemas.openxmlformats.org/officeDocument/2006/relationships" xmlns:p="http://schemas.openxmlformats.org/presentationml/2006/main">
  <p:tag name="SELECTED" val="0"/>
</p:tagLst>
</file>

<file path=ppt/tags/tag154.xml><?xml version="1.0" encoding="utf-8"?>
<p:tagLst xmlns:a="http://schemas.openxmlformats.org/drawingml/2006/main" xmlns:r="http://schemas.openxmlformats.org/officeDocument/2006/relationships" xmlns:p="http://schemas.openxmlformats.org/presentationml/2006/main">
  <p:tag name="SELECTED" val="0"/>
</p:tagLst>
</file>

<file path=ppt/tags/tag155.xml><?xml version="1.0" encoding="utf-8"?>
<p:tagLst xmlns:a="http://schemas.openxmlformats.org/drawingml/2006/main" xmlns:r="http://schemas.openxmlformats.org/officeDocument/2006/relationships" xmlns:p="http://schemas.openxmlformats.org/presentationml/2006/main">
  <p:tag name="SELECTED" val="0"/>
</p:tagLst>
</file>

<file path=ppt/tags/tag156.xml><?xml version="1.0" encoding="utf-8"?>
<p:tagLst xmlns:a="http://schemas.openxmlformats.org/drawingml/2006/main" xmlns:r="http://schemas.openxmlformats.org/officeDocument/2006/relationships" xmlns:p="http://schemas.openxmlformats.org/presentationml/2006/main">
  <p:tag name="SELECTED" val="0"/>
</p:tagLst>
</file>

<file path=ppt/tags/tag157.xml><?xml version="1.0" encoding="utf-8"?>
<p:tagLst xmlns:a="http://schemas.openxmlformats.org/drawingml/2006/main" xmlns:r="http://schemas.openxmlformats.org/officeDocument/2006/relationships" xmlns:p="http://schemas.openxmlformats.org/presentationml/2006/main">
  <p:tag name="SELECTED" val="0"/>
</p:tagLst>
</file>

<file path=ppt/tags/tag158.xml><?xml version="1.0" encoding="utf-8"?>
<p:tagLst xmlns:a="http://schemas.openxmlformats.org/drawingml/2006/main" xmlns:r="http://schemas.openxmlformats.org/officeDocument/2006/relationships" xmlns:p="http://schemas.openxmlformats.org/presentationml/2006/main">
  <p:tag name="SELECTED" val="0"/>
</p:tagLst>
</file>

<file path=ppt/tags/tag159.xml><?xml version="1.0" encoding="utf-8"?>
<p:tagLst xmlns:a="http://schemas.openxmlformats.org/drawingml/2006/main" xmlns:r="http://schemas.openxmlformats.org/officeDocument/2006/relationships" xmlns:p="http://schemas.openxmlformats.org/presentationml/2006/main">
  <p:tag name="SELECTED" val="0"/>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SELECTED" val="0"/>
</p:tagLst>
</file>

<file path=ppt/tags/tag161.xml><?xml version="1.0" encoding="utf-8"?>
<p:tagLst xmlns:a="http://schemas.openxmlformats.org/drawingml/2006/main" xmlns:r="http://schemas.openxmlformats.org/officeDocument/2006/relationships" xmlns:p="http://schemas.openxmlformats.org/presentationml/2006/main">
  <p:tag name="SELECTED" val="0"/>
</p:tagLst>
</file>

<file path=ppt/tags/tag162.xml><?xml version="1.0" encoding="utf-8"?>
<p:tagLst xmlns:a="http://schemas.openxmlformats.org/drawingml/2006/main" xmlns:r="http://schemas.openxmlformats.org/officeDocument/2006/relationships" xmlns:p="http://schemas.openxmlformats.org/presentationml/2006/main">
  <p:tag name="SELECTED" val="0"/>
</p:tagLst>
</file>

<file path=ppt/tags/tag163.xml><?xml version="1.0" encoding="utf-8"?>
<p:tagLst xmlns:a="http://schemas.openxmlformats.org/drawingml/2006/main" xmlns:r="http://schemas.openxmlformats.org/officeDocument/2006/relationships" xmlns:p="http://schemas.openxmlformats.org/presentationml/2006/main">
  <p:tag name="SELECTED" val="0"/>
</p:tagLst>
</file>

<file path=ppt/tags/tag164.xml><?xml version="1.0" encoding="utf-8"?>
<p:tagLst xmlns:a="http://schemas.openxmlformats.org/drawingml/2006/main" xmlns:r="http://schemas.openxmlformats.org/officeDocument/2006/relationships" xmlns:p="http://schemas.openxmlformats.org/presentationml/2006/main">
  <p:tag name="SELECTED" val="0"/>
</p:tagLst>
</file>

<file path=ppt/tags/tag165.xml><?xml version="1.0" encoding="utf-8"?>
<p:tagLst xmlns:a="http://schemas.openxmlformats.org/drawingml/2006/main" xmlns:r="http://schemas.openxmlformats.org/officeDocument/2006/relationships" xmlns:p="http://schemas.openxmlformats.org/presentationml/2006/main">
  <p:tag name="SELECTED" val="0"/>
</p:tagLst>
</file>

<file path=ppt/tags/tag166.xml><?xml version="1.0" encoding="utf-8"?>
<p:tagLst xmlns:a="http://schemas.openxmlformats.org/drawingml/2006/main" xmlns:r="http://schemas.openxmlformats.org/officeDocument/2006/relationships" xmlns:p="http://schemas.openxmlformats.org/presentationml/2006/main">
  <p:tag name="SELECTED" val="0"/>
</p:tagLst>
</file>

<file path=ppt/tags/tag167.xml><?xml version="1.0" encoding="utf-8"?>
<p:tagLst xmlns:a="http://schemas.openxmlformats.org/drawingml/2006/main" xmlns:r="http://schemas.openxmlformats.org/officeDocument/2006/relationships" xmlns:p="http://schemas.openxmlformats.org/presentationml/2006/main">
  <p:tag name="SELECTED" val="0"/>
</p:tagLst>
</file>

<file path=ppt/tags/tag168.xml><?xml version="1.0" encoding="utf-8"?>
<p:tagLst xmlns:a="http://schemas.openxmlformats.org/drawingml/2006/main" xmlns:r="http://schemas.openxmlformats.org/officeDocument/2006/relationships" xmlns:p="http://schemas.openxmlformats.org/presentationml/2006/main">
  <p:tag name="SELECTED" val="0"/>
</p:tagLst>
</file>

<file path=ppt/tags/tag169.xml><?xml version="1.0" encoding="utf-8"?>
<p:tagLst xmlns:a="http://schemas.openxmlformats.org/drawingml/2006/main" xmlns:r="http://schemas.openxmlformats.org/officeDocument/2006/relationships" xmlns:p="http://schemas.openxmlformats.org/presentationml/2006/main">
  <p:tag name="SELECTED" val="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6sJQhMWk0uFJWtA4HmfWw"/>
</p:tagLst>
</file>

<file path=ppt/tags/tag170.xml><?xml version="1.0" encoding="utf-8"?>
<p:tagLst xmlns:a="http://schemas.openxmlformats.org/drawingml/2006/main" xmlns:r="http://schemas.openxmlformats.org/officeDocument/2006/relationships" xmlns:p="http://schemas.openxmlformats.org/presentationml/2006/main">
  <p:tag name="SELECTED" val="0"/>
</p:tagLst>
</file>

<file path=ppt/tags/tag171.xml><?xml version="1.0" encoding="utf-8"?>
<p:tagLst xmlns:a="http://schemas.openxmlformats.org/drawingml/2006/main" xmlns:r="http://schemas.openxmlformats.org/officeDocument/2006/relationships" xmlns:p="http://schemas.openxmlformats.org/presentationml/2006/main">
  <p:tag name="SELECTED" val="0"/>
</p:tagLst>
</file>

<file path=ppt/tags/tag172.xml><?xml version="1.0" encoding="utf-8"?>
<p:tagLst xmlns:a="http://schemas.openxmlformats.org/drawingml/2006/main" xmlns:r="http://schemas.openxmlformats.org/officeDocument/2006/relationships" xmlns:p="http://schemas.openxmlformats.org/presentationml/2006/main">
  <p:tag name="SELECTED" val="0"/>
</p:tagLst>
</file>

<file path=ppt/tags/tag173.xml><?xml version="1.0" encoding="utf-8"?>
<p:tagLst xmlns:a="http://schemas.openxmlformats.org/drawingml/2006/main" xmlns:r="http://schemas.openxmlformats.org/officeDocument/2006/relationships" xmlns:p="http://schemas.openxmlformats.org/presentationml/2006/main">
  <p:tag name="SELECTED" val="0"/>
</p:tagLst>
</file>

<file path=ppt/tags/tag174.xml><?xml version="1.0" encoding="utf-8"?>
<p:tagLst xmlns:a="http://schemas.openxmlformats.org/drawingml/2006/main" xmlns:r="http://schemas.openxmlformats.org/officeDocument/2006/relationships" xmlns:p="http://schemas.openxmlformats.org/presentationml/2006/main">
  <p:tag name="SELECTED" val="0"/>
</p:tagLst>
</file>

<file path=ppt/tags/tag175.xml><?xml version="1.0" encoding="utf-8"?>
<p:tagLst xmlns:a="http://schemas.openxmlformats.org/drawingml/2006/main" xmlns:r="http://schemas.openxmlformats.org/officeDocument/2006/relationships" xmlns:p="http://schemas.openxmlformats.org/presentationml/2006/main">
  <p:tag name="SELECTED" val="0"/>
</p:tagLst>
</file>

<file path=ppt/tags/tag176.xml><?xml version="1.0" encoding="utf-8"?>
<p:tagLst xmlns:a="http://schemas.openxmlformats.org/drawingml/2006/main" xmlns:r="http://schemas.openxmlformats.org/officeDocument/2006/relationships" xmlns:p="http://schemas.openxmlformats.org/presentationml/2006/main">
  <p:tag name="SELECTED" val="0"/>
</p:tagLst>
</file>

<file path=ppt/tags/tag177.xml><?xml version="1.0" encoding="utf-8"?>
<p:tagLst xmlns:a="http://schemas.openxmlformats.org/drawingml/2006/main" xmlns:r="http://schemas.openxmlformats.org/officeDocument/2006/relationships" xmlns:p="http://schemas.openxmlformats.org/presentationml/2006/main">
  <p:tag name="SELECTED" val="0"/>
</p:tagLst>
</file>

<file path=ppt/tags/tag178.xml><?xml version="1.0" encoding="utf-8"?>
<p:tagLst xmlns:a="http://schemas.openxmlformats.org/drawingml/2006/main" xmlns:r="http://schemas.openxmlformats.org/officeDocument/2006/relationships" xmlns:p="http://schemas.openxmlformats.org/presentationml/2006/main">
  <p:tag name="SELECTED" val="0"/>
</p:tagLst>
</file>

<file path=ppt/tags/tag179.xml><?xml version="1.0" encoding="utf-8"?>
<p:tagLst xmlns:a="http://schemas.openxmlformats.org/drawingml/2006/main" xmlns:r="http://schemas.openxmlformats.org/officeDocument/2006/relationships" xmlns:p="http://schemas.openxmlformats.org/presentationml/2006/main">
  <p:tag name="SELECTED" val="0"/>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6qdOaLJ2kqrDebBiX78yA"/>
</p:tagLst>
</file>

<file path=ppt/tags/tag180.xml><?xml version="1.0" encoding="utf-8"?>
<p:tagLst xmlns:a="http://schemas.openxmlformats.org/drawingml/2006/main" xmlns:r="http://schemas.openxmlformats.org/officeDocument/2006/relationships" xmlns:p="http://schemas.openxmlformats.org/presentationml/2006/main">
  <p:tag name="SELECTED" val="0"/>
</p:tagLst>
</file>

<file path=ppt/tags/tag181.xml><?xml version="1.0" encoding="utf-8"?>
<p:tagLst xmlns:a="http://schemas.openxmlformats.org/drawingml/2006/main" xmlns:r="http://schemas.openxmlformats.org/officeDocument/2006/relationships" xmlns:p="http://schemas.openxmlformats.org/presentationml/2006/main">
  <p:tag name="SELECTED" val="0"/>
</p:tagLst>
</file>

<file path=ppt/tags/tag182.xml><?xml version="1.0" encoding="utf-8"?>
<p:tagLst xmlns:a="http://schemas.openxmlformats.org/drawingml/2006/main" xmlns:r="http://schemas.openxmlformats.org/officeDocument/2006/relationships" xmlns:p="http://schemas.openxmlformats.org/presentationml/2006/main">
  <p:tag name="SELECTED" val="0"/>
</p:tagLst>
</file>

<file path=ppt/tags/tag183.xml><?xml version="1.0" encoding="utf-8"?>
<p:tagLst xmlns:a="http://schemas.openxmlformats.org/drawingml/2006/main" xmlns:r="http://schemas.openxmlformats.org/officeDocument/2006/relationships" xmlns:p="http://schemas.openxmlformats.org/presentationml/2006/main">
  <p:tag name="SELECTED" val="0"/>
</p:tagLst>
</file>

<file path=ppt/tags/tag184.xml><?xml version="1.0" encoding="utf-8"?>
<p:tagLst xmlns:a="http://schemas.openxmlformats.org/drawingml/2006/main" xmlns:r="http://schemas.openxmlformats.org/officeDocument/2006/relationships" xmlns:p="http://schemas.openxmlformats.org/presentationml/2006/main">
  <p:tag name="SELECTED" val="0"/>
</p:tagLst>
</file>

<file path=ppt/tags/tag185.xml><?xml version="1.0" encoding="utf-8"?>
<p:tagLst xmlns:a="http://schemas.openxmlformats.org/drawingml/2006/main" xmlns:r="http://schemas.openxmlformats.org/officeDocument/2006/relationships" xmlns:p="http://schemas.openxmlformats.org/presentationml/2006/main">
  <p:tag name="SELECTED" val="0"/>
</p:tagLst>
</file>

<file path=ppt/tags/tag186.xml><?xml version="1.0" encoding="utf-8"?>
<p:tagLst xmlns:a="http://schemas.openxmlformats.org/drawingml/2006/main" xmlns:r="http://schemas.openxmlformats.org/officeDocument/2006/relationships" xmlns:p="http://schemas.openxmlformats.org/presentationml/2006/main">
  <p:tag name="SELECTED" val="0"/>
</p:tagLst>
</file>

<file path=ppt/tags/tag187.xml><?xml version="1.0" encoding="utf-8"?>
<p:tagLst xmlns:a="http://schemas.openxmlformats.org/drawingml/2006/main" xmlns:r="http://schemas.openxmlformats.org/officeDocument/2006/relationships" xmlns:p="http://schemas.openxmlformats.org/presentationml/2006/main">
  <p:tag name="SELECTED" val="0"/>
</p:tagLst>
</file>

<file path=ppt/tags/tag188.xml><?xml version="1.0" encoding="utf-8"?>
<p:tagLst xmlns:a="http://schemas.openxmlformats.org/drawingml/2006/main" xmlns:r="http://schemas.openxmlformats.org/officeDocument/2006/relationships" xmlns:p="http://schemas.openxmlformats.org/presentationml/2006/main">
  <p:tag name="SELECTED" val="0"/>
</p:tagLst>
</file>

<file path=ppt/tags/tag189.xml><?xml version="1.0" encoding="utf-8"?>
<p:tagLst xmlns:a="http://schemas.openxmlformats.org/drawingml/2006/main" xmlns:r="http://schemas.openxmlformats.org/officeDocument/2006/relationships" xmlns:p="http://schemas.openxmlformats.org/presentationml/2006/main">
  <p:tag name="SELECTED" val="0"/>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FZ__2EyFEevDhed5jEuJA"/>
</p:tagLst>
</file>

<file path=ppt/tags/tag190.xml><?xml version="1.0" encoding="utf-8"?>
<p:tagLst xmlns:a="http://schemas.openxmlformats.org/drawingml/2006/main" xmlns:r="http://schemas.openxmlformats.org/officeDocument/2006/relationships" xmlns:p="http://schemas.openxmlformats.org/presentationml/2006/main">
  <p:tag name="SELECTED" val="0"/>
</p:tagLst>
</file>

<file path=ppt/tags/tag191.xml><?xml version="1.0" encoding="utf-8"?>
<p:tagLst xmlns:a="http://schemas.openxmlformats.org/drawingml/2006/main" xmlns:r="http://schemas.openxmlformats.org/officeDocument/2006/relationships" xmlns:p="http://schemas.openxmlformats.org/presentationml/2006/main">
  <p:tag name="SELECTED" val="0"/>
</p:tagLst>
</file>

<file path=ppt/tags/tag192.xml><?xml version="1.0" encoding="utf-8"?>
<p:tagLst xmlns:a="http://schemas.openxmlformats.org/drawingml/2006/main" xmlns:r="http://schemas.openxmlformats.org/officeDocument/2006/relationships" xmlns:p="http://schemas.openxmlformats.org/presentationml/2006/main">
  <p:tag name="SELECTED" val="0"/>
</p:tagLst>
</file>

<file path=ppt/tags/tag193.xml><?xml version="1.0" encoding="utf-8"?>
<p:tagLst xmlns:a="http://schemas.openxmlformats.org/drawingml/2006/main" xmlns:r="http://schemas.openxmlformats.org/officeDocument/2006/relationships" xmlns:p="http://schemas.openxmlformats.org/presentationml/2006/main">
  <p:tag name="SELECTED" val="0"/>
</p:tagLst>
</file>

<file path=ppt/tags/tag194.xml><?xml version="1.0" encoding="utf-8"?>
<p:tagLst xmlns:a="http://schemas.openxmlformats.org/drawingml/2006/main" xmlns:r="http://schemas.openxmlformats.org/officeDocument/2006/relationships" xmlns:p="http://schemas.openxmlformats.org/presentationml/2006/main">
  <p:tag name="SELECTED" val="0"/>
</p:tagLst>
</file>

<file path=ppt/tags/tag195.xml><?xml version="1.0" encoding="utf-8"?>
<p:tagLst xmlns:a="http://schemas.openxmlformats.org/drawingml/2006/main" xmlns:r="http://schemas.openxmlformats.org/officeDocument/2006/relationships" xmlns:p="http://schemas.openxmlformats.org/presentationml/2006/main">
  <p:tag name="SELECTED" val="0"/>
</p:tagLst>
</file>

<file path=ppt/tags/tag196.xml><?xml version="1.0" encoding="utf-8"?>
<p:tagLst xmlns:a="http://schemas.openxmlformats.org/drawingml/2006/main" xmlns:r="http://schemas.openxmlformats.org/officeDocument/2006/relationships" xmlns:p="http://schemas.openxmlformats.org/presentationml/2006/main">
  <p:tag name="SELECTED" val="0"/>
</p:tagLst>
</file>

<file path=ppt/tags/tag197.xml><?xml version="1.0" encoding="utf-8"?>
<p:tagLst xmlns:a="http://schemas.openxmlformats.org/drawingml/2006/main" xmlns:r="http://schemas.openxmlformats.org/officeDocument/2006/relationships" xmlns:p="http://schemas.openxmlformats.org/presentationml/2006/main">
  <p:tag name="SELECTED" val="0"/>
</p:tagLst>
</file>

<file path=ppt/tags/tag198.xml><?xml version="1.0" encoding="utf-8"?>
<p:tagLst xmlns:a="http://schemas.openxmlformats.org/drawingml/2006/main" xmlns:r="http://schemas.openxmlformats.org/officeDocument/2006/relationships" xmlns:p="http://schemas.openxmlformats.org/presentationml/2006/main">
  <p:tag name="SELECTED" val="0"/>
</p:tagLst>
</file>

<file path=ppt/tags/tag199.xml><?xml version="1.0" encoding="utf-8"?>
<p:tagLst xmlns:a="http://schemas.openxmlformats.org/drawingml/2006/main" xmlns:r="http://schemas.openxmlformats.org/officeDocument/2006/relationships" xmlns:p="http://schemas.openxmlformats.org/presentationml/2006/main">
  <p:tag name="SELECT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SELECTED" val="0"/>
</p:tagLst>
</file>

<file path=ppt/tags/tag201.xml><?xml version="1.0" encoding="utf-8"?>
<p:tagLst xmlns:a="http://schemas.openxmlformats.org/drawingml/2006/main" xmlns:r="http://schemas.openxmlformats.org/officeDocument/2006/relationships" xmlns:p="http://schemas.openxmlformats.org/presentationml/2006/main">
  <p:tag name="SELECTED" val="0"/>
</p:tagLst>
</file>

<file path=ppt/tags/tag202.xml><?xml version="1.0" encoding="utf-8"?>
<p:tagLst xmlns:a="http://schemas.openxmlformats.org/drawingml/2006/main" xmlns:r="http://schemas.openxmlformats.org/officeDocument/2006/relationships" xmlns:p="http://schemas.openxmlformats.org/presentationml/2006/main">
  <p:tag name="SELECTED" val="0"/>
</p:tagLst>
</file>

<file path=ppt/tags/tag203.xml><?xml version="1.0" encoding="utf-8"?>
<p:tagLst xmlns:a="http://schemas.openxmlformats.org/drawingml/2006/main" xmlns:r="http://schemas.openxmlformats.org/officeDocument/2006/relationships" xmlns:p="http://schemas.openxmlformats.org/presentationml/2006/main">
  <p:tag name="SELECTED" val="0"/>
</p:tagLst>
</file>

<file path=ppt/tags/tag204.xml><?xml version="1.0" encoding="utf-8"?>
<p:tagLst xmlns:a="http://schemas.openxmlformats.org/drawingml/2006/main" xmlns:r="http://schemas.openxmlformats.org/officeDocument/2006/relationships" xmlns:p="http://schemas.openxmlformats.org/presentationml/2006/main">
  <p:tag name="SELECTED" val="0"/>
</p:tagLst>
</file>

<file path=ppt/tags/tag205.xml><?xml version="1.0" encoding="utf-8"?>
<p:tagLst xmlns:a="http://schemas.openxmlformats.org/drawingml/2006/main" xmlns:r="http://schemas.openxmlformats.org/officeDocument/2006/relationships" xmlns:p="http://schemas.openxmlformats.org/presentationml/2006/main">
  <p:tag name="SELECTED" val="0"/>
</p:tagLst>
</file>

<file path=ppt/tags/tag206.xml><?xml version="1.0" encoding="utf-8"?>
<p:tagLst xmlns:a="http://schemas.openxmlformats.org/drawingml/2006/main" xmlns:r="http://schemas.openxmlformats.org/officeDocument/2006/relationships" xmlns:p="http://schemas.openxmlformats.org/presentationml/2006/main">
  <p:tag name="SELECTED" val="0"/>
</p:tagLst>
</file>

<file path=ppt/tags/tag207.xml><?xml version="1.0" encoding="utf-8"?>
<p:tagLst xmlns:a="http://schemas.openxmlformats.org/drawingml/2006/main" xmlns:r="http://schemas.openxmlformats.org/officeDocument/2006/relationships" xmlns:p="http://schemas.openxmlformats.org/presentationml/2006/main">
  <p:tag name="SELECTED" val="0"/>
</p:tagLst>
</file>

<file path=ppt/tags/tag208.xml><?xml version="1.0" encoding="utf-8"?>
<p:tagLst xmlns:a="http://schemas.openxmlformats.org/drawingml/2006/main" xmlns:r="http://schemas.openxmlformats.org/officeDocument/2006/relationships" xmlns:p="http://schemas.openxmlformats.org/presentationml/2006/main">
  <p:tag name="SELECTED" val="0"/>
</p:tagLst>
</file>

<file path=ppt/tags/tag209.xml><?xml version="1.0" encoding="utf-8"?>
<p:tagLst xmlns:a="http://schemas.openxmlformats.org/drawingml/2006/main" xmlns:r="http://schemas.openxmlformats.org/officeDocument/2006/relationships" xmlns:p="http://schemas.openxmlformats.org/presentationml/2006/main">
  <p:tag name="SELECTED" val="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fuA_5NHGUO3hbM_EzGitg"/>
</p:tagLst>
</file>

<file path=ppt/tags/tag210.xml><?xml version="1.0" encoding="utf-8"?>
<p:tagLst xmlns:a="http://schemas.openxmlformats.org/drawingml/2006/main" xmlns:r="http://schemas.openxmlformats.org/officeDocument/2006/relationships" xmlns:p="http://schemas.openxmlformats.org/presentationml/2006/main">
  <p:tag name="SELECTED" val="0"/>
</p:tagLst>
</file>

<file path=ppt/tags/tag211.xml><?xml version="1.0" encoding="utf-8"?>
<p:tagLst xmlns:a="http://schemas.openxmlformats.org/drawingml/2006/main" xmlns:r="http://schemas.openxmlformats.org/officeDocument/2006/relationships" xmlns:p="http://schemas.openxmlformats.org/presentationml/2006/main">
  <p:tag name="SELECTED" val="0"/>
</p:tagLst>
</file>

<file path=ppt/tags/tag212.xml><?xml version="1.0" encoding="utf-8"?>
<p:tagLst xmlns:a="http://schemas.openxmlformats.org/drawingml/2006/main" xmlns:r="http://schemas.openxmlformats.org/officeDocument/2006/relationships" xmlns:p="http://schemas.openxmlformats.org/presentationml/2006/main">
  <p:tag name="SELECTED" val="0"/>
</p:tagLst>
</file>

<file path=ppt/tags/tag213.xml><?xml version="1.0" encoding="utf-8"?>
<p:tagLst xmlns:a="http://schemas.openxmlformats.org/drawingml/2006/main" xmlns:r="http://schemas.openxmlformats.org/officeDocument/2006/relationships" xmlns:p="http://schemas.openxmlformats.org/presentationml/2006/main">
  <p:tag name="SELECTED" val="0"/>
</p:tagLst>
</file>

<file path=ppt/tags/tag214.xml><?xml version="1.0" encoding="utf-8"?>
<p:tagLst xmlns:a="http://schemas.openxmlformats.org/drawingml/2006/main" xmlns:r="http://schemas.openxmlformats.org/officeDocument/2006/relationships" xmlns:p="http://schemas.openxmlformats.org/presentationml/2006/main">
  <p:tag name="SELECTED" val="0"/>
</p:tagLst>
</file>

<file path=ppt/tags/tag215.xml><?xml version="1.0" encoding="utf-8"?>
<p:tagLst xmlns:a="http://schemas.openxmlformats.org/drawingml/2006/main" xmlns:r="http://schemas.openxmlformats.org/officeDocument/2006/relationships" xmlns:p="http://schemas.openxmlformats.org/presentationml/2006/main">
  <p:tag name="SELECTED" val="0"/>
</p:tagLst>
</file>

<file path=ppt/tags/tag216.xml><?xml version="1.0" encoding="utf-8"?>
<p:tagLst xmlns:a="http://schemas.openxmlformats.org/drawingml/2006/main" xmlns:r="http://schemas.openxmlformats.org/officeDocument/2006/relationships" xmlns:p="http://schemas.openxmlformats.org/presentationml/2006/main">
  <p:tag name="SELECTED" val="0"/>
</p:tagLst>
</file>

<file path=ppt/tags/tag217.xml><?xml version="1.0" encoding="utf-8"?>
<p:tagLst xmlns:a="http://schemas.openxmlformats.org/drawingml/2006/main" xmlns:r="http://schemas.openxmlformats.org/officeDocument/2006/relationships" xmlns:p="http://schemas.openxmlformats.org/presentationml/2006/main">
  <p:tag name="SELECTED" val="0"/>
</p:tagLst>
</file>

<file path=ppt/tags/tag218.xml><?xml version="1.0" encoding="utf-8"?>
<p:tagLst xmlns:a="http://schemas.openxmlformats.org/drawingml/2006/main" xmlns:r="http://schemas.openxmlformats.org/officeDocument/2006/relationships" xmlns:p="http://schemas.openxmlformats.org/presentationml/2006/main">
  <p:tag name="SELECTED" val="0"/>
</p:tagLst>
</file>

<file path=ppt/tags/tag219.xml><?xml version="1.0" encoding="utf-8"?>
<p:tagLst xmlns:a="http://schemas.openxmlformats.org/drawingml/2006/main" xmlns:r="http://schemas.openxmlformats.org/officeDocument/2006/relationships" xmlns:p="http://schemas.openxmlformats.org/presentationml/2006/main">
  <p:tag name="SELECTED" val="0"/>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CiScd5k_0G_W0agN1kSRw"/>
</p:tagLst>
</file>

<file path=ppt/tags/tag220.xml><?xml version="1.0" encoding="utf-8"?>
<p:tagLst xmlns:a="http://schemas.openxmlformats.org/drawingml/2006/main" xmlns:r="http://schemas.openxmlformats.org/officeDocument/2006/relationships" xmlns:p="http://schemas.openxmlformats.org/presentationml/2006/main">
  <p:tag name="SELECTED" val="0"/>
</p:tagLst>
</file>

<file path=ppt/tags/tag221.xml><?xml version="1.0" encoding="utf-8"?>
<p:tagLst xmlns:a="http://schemas.openxmlformats.org/drawingml/2006/main" xmlns:r="http://schemas.openxmlformats.org/officeDocument/2006/relationships" xmlns:p="http://schemas.openxmlformats.org/presentationml/2006/main">
  <p:tag name="SELECTED" val="0"/>
</p:tagLst>
</file>

<file path=ppt/tags/tag222.xml><?xml version="1.0" encoding="utf-8"?>
<p:tagLst xmlns:a="http://schemas.openxmlformats.org/drawingml/2006/main" xmlns:r="http://schemas.openxmlformats.org/officeDocument/2006/relationships" xmlns:p="http://schemas.openxmlformats.org/presentationml/2006/main">
  <p:tag name="SELECTED" val="0"/>
</p:tagLst>
</file>

<file path=ppt/tags/tag223.xml><?xml version="1.0" encoding="utf-8"?>
<p:tagLst xmlns:a="http://schemas.openxmlformats.org/drawingml/2006/main" xmlns:r="http://schemas.openxmlformats.org/officeDocument/2006/relationships" xmlns:p="http://schemas.openxmlformats.org/presentationml/2006/main">
  <p:tag name="SELECTED" val="0"/>
</p:tagLst>
</file>

<file path=ppt/tags/tag224.xml><?xml version="1.0" encoding="utf-8"?>
<p:tagLst xmlns:a="http://schemas.openxmlformats.org/drawingml/2006/main" xmlns:r="http://schemas.openxmlformats.org/officeDocument/2006/relationships" xmlns:p="http://schemas.openxmlformats.org/presentationml/2006/main">
  <p:tag name="SELECTED" val="0"/>
</p:tagLst>
</file>

<file path=ppt/tags/tag225.xml><?xml version="1.0" encoding="utf-8"?>
<p:tagLst xmlns:a="http://schemas.openxmlformats.org/drawingml/2006/main" xmlns:r="http://schemas.openxmlformats.org/officeDocument/2006/relationships" xmlns:p="http://schemas.openxmlformats.org/presentationml/2006/main">
  <p:tag name="SELECTED" val="0"/>
</p:tagLst>
</file>

<file path=ppt/tags/tag226.xml><?xml version="1.0" encoding="utf-8"?>
<p:tagLst xmlns:a="http://schemas.openxmlformats.org/drawingml/2006/main" xmlns:r="http://schemas.openxmlformats.org/officeDocument/2006/relationships" xmlns:p="http://schemas.openxmlformats.org/presentationml/2006/main">
  <p:tag name="SELECTED" val="0"/>
</p:tagLst>
</file>

<file path=ppt/tags/tag227.xml><?xml version="1.0" encoding="utf-8"?>
<p:tagLst xmlns:a="http://schemas.openxmlformats.org/drawingml/2006/main" xmlns:r="http://schemas.openxmlformats.org/officeDocument/2006/relationships" xmlns:p="http://schemas.openxmlformats.org/presentationml/2006/main">
  <p:tag name="SELECTED" val="0"/>
</p:tagLst>
</file>

<file path=ppt/tags/tag228.xml><?xml version="1.0" encoding="utf-8"?>
<p:tagLst xmlns:a="http://schemas.openxmlformats.org/drawingml/2006/main" xmlns:r="http://schemas.openxmlformats.org/officeDocument/2006/relationships" xmlns:p="http://schemas.openxmlformats.org/presentationml/2006/main">
  <p:tag name="SELECTED" val="0"/>
</p:tagLst>
</file>

<file path=ppt/tags/tag229.xml><?xml version="1.0" encoding="utf-8"?>
<p:tagLst xmlns:a="http://schemas.openxmlformats.org/drawingml/2006/main" xmlns:r="http://schemas.openxmlformats.org/officeDocument/2006/relationships" xmlns:p="http://schemas.openxmlformats.org/presentationml/2006/main">
  <p:tag name="SELECTED" val="0"/>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ELECTED" val="0"/>
</p:tagLst>
</file>

<file path=ppt/tags/tag231.xml><?xml version="1.0" encoding="utf-8"?>
<p:tagLst xmlns:a="http://schemas.openxmlformats.org/drawingml/2006/main" xmlns:r="http://schemas.openxmlformats.org/officeDocument/2006/relationships" xmlns:p="http://schemas.openxmlformats.org/presentationml/2006/main">
  <p:tag name="SELECTED" val="0"/>
</p:tagLst>
</file>

<file path=ppt/tags/tag232.xml><?xml version="1.0" encoding="utf-8"?>
<p:tagLst xmlns:a="http://schemas.openxmlformats.org/drawingml/2006/main" xmlns:r="http://schemas.openxmlformats.org/officeDocument/2006/relationships" xmlns:p="http://schemas.openxmlformats.org/presentationml/2006/main">
  <p:tag name="SELECTED" val="0"/>
</p:tagLst>
</file>

<file path=ppt/tags/tag233.xml><?xml version="1.0" encoding="utf-8"?>
<p:tagLst xmlns:a="http://schemas.openxmlformats.org/drawingml/2006/main" xmlns:r="http://schemas.openxmlformats.org/officeDocument/2006/relationships" xmlns:p="http://schemas.openxmlformats.org/presentationml/2006/main">
  <p:tag name="SELECTED" val="0"/>
</p:tagLst>
</file>

<file path=ppt/tags/tag234.xml><?xml version="1.0" encoding="utf-8"?>
<p:tagLst xmlns:a="http://schemas.openxmlformats.org/drawingml/2006/main" xmlns:r="http://schemas.openxmlformats.org/officeDocument/2006/relationships" xmlns:p="http://schemas.openxmlformats.org/presentationml/2006/main">
  <p:tag name="SELECTED" val="0"/>
</p:tagLst>
</file>

<file path=ppt/tags/tag235.xml><?xml version="1.0" encoding="utf-8"?>
<p:tagLst xmlns:a="http://schemas.openxmlformats.org/drawingml/2006/main" xmlns:r="http://schemas.openxmlformats.org/officeDocument/2006/relationships" xmlns:p="http://schemas.openxmlformats.org/presentationml/2006/main">
  <p:tag name="SELECTED" val="0"/>
</p:tagLst>
</file>

<file path=ppt/tags/tag236.xml><?xml version="1.0" encoding="utf-8"?>
<p:tagLst xmlns:a="http://schemas.openxmlformats.org/drawingml/2006/main" xmlns:r="http://schemas.openxmlformats.org/officeDocument/2006/relationships" xmlns:p="http://schemas.openxmlformats.org/presentationml/2006/main">
  <p:tag name="SELECTED" val="0"/>
</p:tagLst>
</file>

<file path=ppt/tags/tag237.xml><?xml version="1.0" encoding="utf-8"?>
<p:tagLst xmlns:a="http://schemas.openxmlformats.org/drawingml/2006/main" xmlns:r="http://schemas.openxmlformats.org/officeDocument/2006/relationships" xmlns:p="http://schemas.openxmlformats.org/presentationml/2006/main">
  <p:tag name="SELECTED" val="0"/>
</p:tagLst>
</file>

<file path=ppt/tags/tag238.xml><?xml version="1.0" encoding="utf-8"?>
<p:tagLst xmlns:a="http://schemas.openxmlformats.org/drawingml/2006/main" xmlns:r="http://schemas.openxmlformats.org/officeDocument/2006/relationships" xmlns:p="http://schemas.openxmlformats.org/presentationml/2006/main">
  <p:tag name="SELECTED" val="0"/>
</p:tagLst>
</file>

<file path=ppt/tags/tag239.xml><?xml version="1.0" encoding="utf-8"?>
<p:tagLst xmlns:a="http://schemas.openxmlformats.org/drawingml/2006/main" xmlns:r="http://schemas.openxmlformats.org/officeDocument/2006/relationships" xmlns:p="http://schemas.openxmlformats.org/presentationml/2006/main">
  <p:tag name="SELECTED" val="0"/>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xfODF7sIU6_NGzyOf3P9A"/>
</p:tagLst>
</file>

<file path=ppt/tags/tag240.xml><?xml version="1.0" encoding="utf-8"?>
<p:tagLst xmlns:a="http://schemas.openxmlformats.org/drawingml/2006/main" xmlns:r="http://schemas.openxmlformats.org/officeDocument/2006/relationships" xmlns:p="http://schemas.openxmlformats.org/presentationml/2006/main">
  <p:tag name="SELECTED" val="0"/>
</p:tagLst>
</file>

<file path=ppt/tags/tag241.xml><?xml version="1.0" encoding="utf-8"?>
<p:tagLst xmlns:a="http://schemas.openxmlformats.org/drawingml/2006/main" xmlns:r="http://schemas.openxmlformats.org/officeDocument/2006/relationships" xmlns:p="http://schemas.openxmlformats.org/presentationml/2006/main">
  <p:tag name="SELECTED" val="0"/>
</p:tagLst>
</file>

<file path=ppt/tags/tag242.xml><?xml version="1.0" encoding="utf-8"?>
<p:tagLst xmlns:a="http://schemas.openxmlformats.org/drawingml/2006/main" xmlns:r="http://schemas.openxmlformats.org/officeDocument/2006/relationships" xmlns:p="http://schemas.openxmlformats.org/presentationml/2006/main">
  <p:tag name="SELECTED" val="0"/>
</p:tagLst>
</file>

<file path=ppt/tags/tag243.xml><?xml version="1.0" encoding="utf-8"?>
<p:tagLst xmlns:a="http://schemas.openxmlformats.org/drawingml/2006/main" xmlns:r="http://schemas.openxmlformats.org/officeDocument/2006/relationships" xmlns:p="http://schemas.openxmlformats.org/presentationml/2006/main">
  <p:tag name="SELECTED" val="0"/>
</p:tagLst>
</file>

<file path=ppt/tags/tag244.xml><?xml version="1.0" encoding="utf-8"?>
<p:tagLst xmlns:a="http://schemas.openxmlformats.org/drawingml/2006/main" xmlns:r="http://schemas.openxmlformats.org/officeDocument/2006/relationships" xmlns:p="http://schemas.openxmlformats.org/presentationml/2006/main">
  <p:tag name="SELECTED" val="0"/>
</p:tagLst>
</file>

<file path=ppt/tags/tag245.xml><?xml version="1.0" encoding="utf-8"?>
<p:tagLst xmlns:a="http://schemas.openxmlformats.org/drawingml/2006/main" xmlns:r="http://schemas.openxmlformats.org/officeDocument/2006/relationships" xmlns:p="http://schemas.openxmlformats.org/presentationml/2006/main">
  <p:tag name="SELECTED" val="0"/>
</p:tagLst>
</file>

<file path=ppt/tags/tag246.xml><?xml version="1.0" encoding="utf-8"?>
<p:tagLst xmlns:a="http://schemas.openxmlformats.org/drawingml/2006/main" xmlns:r="http://schemas.openxmlformats.org/officeDocument/2006/relationships" xmlns:p="http://schemas.openxmlformats.org/presentationml/2006/main">
  <p:tag name="SELECTED" val="0"/>
</p:tagLst>
</file>

<file path=ppt/tags/tag247.xml><?xml version="1.0" encoding="utf-8"?>
<p:tagLst xmlns:a="http://schemas.openxmlformats.org/drawingml/2006/main" xmlns:r="http://schemas.openxmlformats.org/officeDocument/2006/relationships" xmlns:p="http://schemas.openxmlformats.org/presentationml/2006/main">
  <p:tag name="SELECTED" val="0"/>
</p:tagLst>
</file>

<file path=ppt/tags/tag248.xml><?xml version="1.0" encoding="utf-8"?>
<p:tagLst xmlns:a="http://schemas.openxmlformats.org/drawingml/2006/main" xmlns:r="http://schemas.openxmlformats.org/officeDocument/2006/relationships" xmlns:p="http://schemas.openxmlformats.org/presentationml/2006/main">
  <p:tag name="SELECTED" val="0"/>
</p:tagLst>
</file>

<file path=ppt/tags/tag249.xml><?xml version="1.0" encoding="utf-8"?>
<p:tagLst xmlns:a="http://schemas.openxmlformats.org/drawingml/2006/main" xmlns:r="http://schemas.openxmlformats.org/officeDocument/2006/relationships" xmlns:p="http://schemas.openxmlformats.org/presentationml/2006/main">
  <p:tag name="SELECTED" val="0"/>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bhNRB5REEGKcd1W67b8GA"/>
</p:tagLst>
</file>

<file path=ppt/tags/tag250.xml><?xml version="1.0" encoding="utf-8"?>
<p:tagLst xmlns:a="http://schemas.openxmlformats.org/drawingml/2006/main" xmlns:r="http://schemas.openxmlformats.org/officeDocument/2006/relationships" xmlns:p="http://schemas.openxmlformats.org/presentationml/2006/main">
  <p:tag name="SELECTED" val="0"/>
</p:tagLst>
</file>

<file path=ppt/tags/tag251.xml><?xml version="1.0" encoding="utf-8"?>
<p:tagLst xmlns:a="http://schemas.openxmlformats.org/drawingml/2006/main" xmlns:r="http://schemas.openxmlformats.org/officeDocument/2006/relationships" xmlns:p="http://schemas.openxmlformats.org/presentationml/2006/main">
  <p:tag name="SELECTED" val="0"/>
</p:tagLst>
</file>

<file path=ppt/tags/tag252.xml><?xml version="1.0" encoding="utf-8"?>
<p:tagLst xmlns:a="http://schemas.openxmlformats.org/drawingml/2006/main" xmlns:r="http://schemas.openxmlformats.org/officeDocument/2006/relationships" xmlns:p="http://schemas.openxmlformats.org/presentationml/2006/main">
  <p:tag name="SELECTED" val="0"/>
</p:tagLst>
</file>

<file path=ppt/tags/tag253.xml><?xml version="1.0" encoding="utf-8"?>
<p:tagLst xmlns:a="http://schemas.openxmlformats.org/drawingml/2006/main" xmlns:r="http://schemas.openxmlformats.org/officeDocument/2006/relationships" xmlns:p="http://schemas.openxmlformats.org/presentationml/2006/main">
  <p:tag name="SELECTED" val="0"/>
</p:tagLst>
</file>

<file path=ppt/tags/tag254.xml><?xml version="1.0" encoding="utf-8"?>
<p:tagLst xmlns:a="http://schemas.openxmlformats.org/drawingml/2006/main" xmlns:r="http://schemas.openxmlformats.org/officeDocument/2006/relationships" xmlns:p="http://schemas.openxmlformats.org/presentationml/2006/main">
  <p:tag name="SELECTED" val="0"/>
</p:tagLst>
</file>

<file path=ppt/tags/tag255.xml><?xml version="1.0" encoding="utf-8"?>
<p:tagLst xmlns:a="http://schemas.openxmlformats.org/drawingml/2006/main" xmlns:r="http://schemas.openxmlformats.org/officeDocument/2006/relationships" xmlns:p="http://schemas.openxmlformats.org/presentationml/2006/main">
  <p:tag name="SELECTED" val="0"/>
</p:tagLst>
</file>

<file path=ppt/tags/tag256.xml><?xml version="1.0" encoding="utf-8"?>
<p:tagLst xmlns:a="http://schemas.openxmlformats.org/drawingml/2006/main" xmlns:r="http://schemas.openxmlformats.org/officeDocument/2006/relationships" xmlns:p="http://schemas.openxmlformats.org/presentationml/2006/main">
  <p:tag name="SELECTED" val="0"/>
</p:tagLst>
</file>

<file path=ppt/tags/tag257.xml><?xml version="1.0" encoding="utf-8"?>
<p:tagLst xmlns:a="http://schemas.openxmlformats.org/drawingml/2006/main" xmlns:r="http://schemas.openxmlformats.org/officeDocument/2006/relationships" xmlns:p="http://schemas.openxmlformats.org/presentationml/2006/main">
  <p:tag name="SELECTED" val="0"/>
</p:tagLst>
</file>

<file path=ppt/tags/tag258.xml><?xml version="1.0" encoding="utf-8"?>
<p:tagLst xmlns:a="http://schemas.openxmlformats.org/drawingml/2006/main" xmlns:r="http://schemas.openxmlformats.org/officeDocument/2006/relationships" xmlns:p="http://schemas.openxmlformats.org/presentationml/2006/main">
  <p:tag name="SELECTED" val="0"/>
</p:tagLst>
</file>

<file path=ppt/tags/tag259.xml><?xml version="1.0" encoding="utf-8"?>
<p:tagLst xmlns:a="http://schemas.openxmlformats.org/drawingml/2006/main" xmlns:r="http://schemas.openxmlformats.org/officeDocument/2006/relationships" xmlns:p="http://schemas.openxmlformats.org/presentationml/2006/main">
  <p:tag name="SELECTED" val="0"/>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hanL3VJd02OMN4XpBEh3g"/>
</p:tagLst>
</file>

<file path=ppt/tags/tag260.xml><?xml version="1.0" encoding="utf-8"?>
<p:tagLst xmlns:a="http://schemas.openxmlformats.org/drawingml/2006/main" xmlns:r="http://schemas.openxmlformats.org/officeDocument/2006/relationships" xmlns:p="http://schemas.openxmlformats.org/presentationml/2006/main">
  <p:tag name="SELECTED" val="0"/>
</p:tagLst>
</file>

<file path=ppt/tags/tag261.xml><?xml version="1.0" encoding="utf-8"?>
<p:tagLst xmlns:a="http://schemas.openxmlformats.org/drawingml/2006/main" xmlns:r="http://schemas.openxmlformats.org/officeDocument/2006/relationships" xmlns:p="http://schemas.openxmlformats.org/presentationml/2006/main">
  <p:tag name="SELECTED" val="0"/>
</p:tagLst>
</file>

<file path=ppt/tags/tag262.xml><?xml version="1.0" encoding="utf-8"?>
<p:tagLst xmlns:a="http://schemas.openxmlformats.org/drawingml/2006/main" xmlns:r="http://schemas.openxmlformats.org/officeDocument/2006/relationships" xmlns:p="http://schemas.openxmlformats.org/presentationml/2006/main">
  <p:tag name="SELECTED" val="0"/>
</p:tagLst>
</file>

<file path=ppt/tags/tag263.xml><?xml version="1.0" encoding="utf-8"?>
<p:tagLst xmlns:a="http://schemas.openxmlformats.org/drawingml/2006/main" xmlns:r="http://schemas.openxmlformats.org/officeDocument/2006/relationships" xmlns:p="http://schemas.openxmlformats.org/presentationml/2006/main">
  <p:tag name="SELECTED" val="0"/>
</p:tagLst>
</file>

<file path=ppt/tags/tag264.xml><?xml version="1.0" encoding="utf-8"?>
<p:tagLst xmlns:a="http://schemas.openxmlformats.org/drawingml/2006/main" xmlns:r="http://schemas.openxmlformats.org/officeDocument/2006/relationships" xmlns:p="http://schemas.openxmlformats.org/presentationml/2006/main">
  <p:tag name="SELECTED" val="0"/>
</p:tagLst>
</file>

<file path=ppt/tags/tag265.xml><?xml version="1.0" encoding="utf-8"?>
<p:tagLst xmlns:a="http://schemas.openxmlformats.org/drawingml/2006/main" xmlns:r="http://schemas.openxmlformats.org/officeDocument/2006/relationships" xmlns:p="http://schemas.openxmlformats.org/presentationml/2006/main">
  <p:tag name="SELECTED" val="0"/>
</p:tagLst>
</file>

<file path=ppt/tags/tag266.xml><?xml version="1.0" encoding="utf-8"?>
<p:tagLst xmlns:a="http://schemas.openxmlformats.org/drawingml/2006/main" xmlns:r="http://schemas.openxmlformats.org/officeDocument/2006/relationships" xmlns:p="http://schemas.openxmlformats.org/presentationml/2006/main">
  <p:tag name="SELECTED" val="0"/>
</p:tagLst>
</file>

<file path=ppt/tags/tag267.xml><?xml version="1.0" encoding="utf-8"?>
<p:tagLst xmlns:a="http://schemas.openxmlformats.org/drawingml/2006/main" xmlns:r="http://schemas.openxmlformats.org/officeDocument/2006/relationships" xmlns:p="http://schemas.openxmlformats.org/presentationml/2006/main">
  <p:tag name="SELECTED" val="0"/>
</p:tagLst>
</file>

<file path=ppt/tags/tag268.xml><?xml version="1.0" encoding="utf-8"?>
<p:tagLst xmlns:a="http://schemas.openxmlformats.org/drawingml/2006/main" xmlns:r="http://schemas.openxmlformats.org/officeDocument/2006/relationships" xmlns:p="http://schemas.openxmlformats.org/presentationml/2006/main">
  <p:tag name="SELECTED" val="0"/>
</p:tagLst>
</file>

<file path=ppt/tags/tag269.xml><?xml version="1.0" encoding="utf-8"?>
<p:tagLst xmlns:a="http://schemas.openxmlformats.org/drawingml/2006/main" xmlns:r="http://schemas.openxmlformats.org/officeDocument/2006/relationships" xmlns:p="http://schemas.openxmlformats.org/presentationml/2006/main">
  <p:tag name="SELECTED" val="0"/>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DCf4lEQh0KF9Y58_gfduA"/>
</p:tagLst>
</file>

<file path=ppt/tags/tag270.xml><?xml version="1.0" encoding="utf-8"?>
<p:tagLst xmlns:a="http://schemas.openxmlformats.org/drawingml/2006/main" xmlns:r="http://schemas.openxmlformats.org/officeDocument/2006/relationships" xmlns:p="http://schemas.openxmlformats.org/presentationml/2006/main">
  <p:tag name="SELECTED" val="0"/>
</p:tagLst>
</file>

<file path=ppt/tags/tag271.xml><?xml version="1.0" encoding="utf-8"?>
<p:tagLst xmlns:a="http://schemas.openxmlformats.org/drawingml/2006/main" xmlns:r="http://schemas.openxmlformats.org/officeDocument/2006/relationships" xmlns:p="http://schemas.openxmlformats.org/presentationml/2006/main">
  <p:tag name="SELECTED" val="0"/>
</p:tagLst>
</file>

<file path=ppt/tags/tag272.xml><?xml version="1.0" encoding="utf-8"?>
<p:tagLst xmlns:a="http://schemas.openxmlformats.org/drawingml/2006/main" xmlns:r="http://schemas.openxmlformats.org/officeDocument/2006/relationships" xmlns:p="http://schemas.openxmlformats.org/presentationml/2006/main">
  <p:tag name="SELECTED" val="0"/>
</p:tagLst>
</file>

<file path=ppt/tags/tag273.xml><?xml version="1.0" encoding="utf-8"?>
<p:tagLst xmlns:a="http://schemas.openxmlformats.org/drawingml/2006/main" xmlns:r="http://schemas.openxmlformats.org/officeDocument/2006/relationships" xmlns:p="http://schemas.openxmlformats.org/presentationml/2006/main">
  <p:tag name="SELECTED" val="0"/>
</p:tagLst>
</file>

<file path=ppt/tags/tag274.xml><?xml version="1.0" encoding="utf-8"?>
<p:tagLst xmlns:a="http://schemas.openxmlformats.org/drawingml/2006/main" xmlns:r="http://schemas.openxmlformats.org/officeDocument/2006/relationships" xmlns:p="http://schemas.openxmlformats.org/presentationml/2006/main">
  <p:tag name="SELECTED" val="0"/>
</p:tagLst>
</file>

<file path=ppt/tags/tag275.xml><?xml version="1.0" encoding="utf-8"?>
<p:tagLst xmlns:a="http://schemas.openxmlformats.org/drawingml/2006/main" xmlns:r="http://schemas.openxmlformats.org/officeDocument/2006/relationships" xmlns:p="http://schemas.openxmlformats.org/presentationml/2006/main">
  <p:tag name="SELECTED" val="0"/>
</p:tagLst>
</file>

<file path=ppt/tags/tag276.xml><?xml version="1.0" encoding="utf-8"?>
<p:tagLst xmlns:a="http://schemas.openxmlformats.org/drawingml/2006/main" xmlns:r="http://schemas.openxmlformats.org/officeDocument/2006/relationships" xmlns:p="http://schemas.openxmlformats.org/presentationml/2006/main">
  <p:tag name="SELECTED" val="0"/>
</p:tagLst>
</file>

<file path=ppt/tags/tag277.xml><?xml version="1.0" encoding="utf-8"?>
<p:tagLst xmlns:a="http://schemas.openxmlformats.org/drawingml/2006/main" xmlns:r="http://schemas.openxmlformats.org/officeDocument/2006/relationships" xmlns:p="http://schemas.openxmlformats.org/presentationml/2006/main">
  <p:tag name="SELECTED" val="0"/>
</p:tagLst>
</file>

<file path=ppt/tags/tag278.xml><?xml version="1.0" encoding="utf-8"?>
<p:tagLst xmlns:a="http://schemas.openxmlformats.org/drawingml/2006/main" xmlns:r="http://schemas.openxmlformats.org/officeDocument/2006/relationships" xmlns:p="http://schemas.openxmlformats.org/presentationml/2006/main">
  <p:tag name="SELECTED" val="0"/>
</p:tagLst>
</file>

<file path=ppt/tags/tag279.xml><?xml version="1.0" encoding="utf-8"?>
<p:tagLst xmlns:a="http://schemas.openxmlformats.org/drawingml/2006/main" xmlns:r="http://schemas.openxmlformats.org/officeDocument/2006/relationships" xmlns:p="http://schemas.openxmlformats.org/presentationml/2006/main">
  <p:tag name="SELECTED" val="0"/>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rjSl9ingUqA7Xi7ufJ8CQ"/>
</p:tagLst>
</file>

<file path=ppt/tags/tag280.xml><?xml version="1.0" encoding="utf-8"?>
<p:tagLst xmlns:a="http://schemas.openxmlformats.org/drawingml/2006/main" xmlns:r="http://schemas.openxmlformats.org/officeDocument/2006/relationships" xmlns:p="http://schemas.openxmlformats.org/presentationml/2006/main">
  <p:tag name="SELECTED" val="0"/>
</p:tagLst>
</file>

<file path=ppt/tags/tag281.xml><?xml version="1.0" encoding="utf-8"?>
<p:tagLst xmlns:a="http://schemas.openxmlformats.org/drawingml/2006/main" xmlns:r="http://schemas.openxmlformats.org/officeDocument/2006/relationships" xmlns:p="http://schemas.openxmlformats.org/presentationml/2006/main">
  <p:tag name="SELECTED" val="0"/>
</p:tagLst>
</file>

<file path=ppt/tags/tag282.xml><?xml version="1.0" encoding="utf-8"?>
<p:tagLst xmlns:a="http://schemas.openxmlformats.org/drawingml/2006/main" xmlns:r="http://schemas.openxmlformats.org/officeDocument/2006/relationships" xmlns:p="http://schemas.openxmlformats.org/presentationml/2006/main">
  <p:tag name="SELECTED" val="0"/>
</p:tagLst>
</file>

<file path=ppt/tags/tag283.xml><?xml version="1.0" encoding="utf-8"?>
<p:tagLst xmlns:a="http://schemas.openxmlformats.org/drawingml/2006/main" xmlns:r="http://schemas.openxmlformats.org/officeDocument/2006/relationships" xmlns:p="http://schemas.openxmlformats.org/presentationml/2006/main">
  <p:tag name="SELECTED" val="0"/>
</p:tagLst>
</file>

<file path=ppt/tags/tag284.xml><?xml version="1.0" encoding="utf-8"?>
<p:tagLst xmlns:a="http://schemas.openxmlformats.org/drawingml/2006/main" xmlns:r="http://schemas.openxmlformats.org/officeDocument/2006/relationships" xmlns:p="http://schemas.openxmlformats.org/presentationml/2006/main">
  <p:tag name="SELECTED" val="0"/>
</p:tagLst>
</file>

<file path=ppt/tags/tag285.xml><?xml version="1.0" encoding="utf-8"?>
<p:tagLst xmlns:a="http://schemas.openxmlformats.org/drawingml/2006/main" xmlns:r="http://schemas.openxmlformats.org/officeDocument/2006/relationships" xmlns:p="http://schemas.openxmlformats.org/presentationml/2006/main">
  <p:tag name="SELECTED" val="0"/>
</p:tagLst>
</file>

<file path=ppt/tags/tag286.xml><?xml version="1.0" encoding="utf-8"?>
<p:tagLst xmlns:a="http://schemas.openxmlformats.org/drawingml/2006/main" xmlns:r="http://schemas.openxmlformats.org/officeDocument/2006/relationships" xmlns:p="http://schemas.openxmlformats.org/presentationml/2006/main">
  <p:tag name="SELECTED" val="0"/>
</p:tagLst>
</file>

<file path=ppt/tags/tag287.xml><?xml version="1.0" encoding="utf-8"?>
<p:tagLst xmlns:a="http://schemas.openxmlformats.org/drawingml/2006/main" xmlns:r="http://schemas.openxmlformats.org/officeDocument/2006/relationships" xmlns:p="http://schemas.openxmlformats.org/presentationml/2006/main">
  <p:tag name="SELECTED" val="0"/>
</p:tagLst>
</file>

<file path=ppt/tags/tag288.xml><?xml version="1.0" encoding="utf-8"?>
<p:tagLst xmlns:a="http://schemas.openxmlformats.org/drawingml/2006/main" xmlns:r="http://schemas.openxmlformats.org/officeDocument/2006/relationships" xmlns:p="http://schemas.openxmlformats.org/presentationml/2006/main">
  <p:tag name="SELECTED" val="0"/>
</p:tagLst>
</file>

<file path=ppt/tags/tag289.xml><?xml version="1.0" encoding="utf-8"?>
<p:tagLst xmlns:a="http://schemas.openxmlformats.org/drawingml/2006/main" xmlns:r="http://schemas.openxmlformats.org/officeDocument/2006/relationships" xmlns:p="http://schemas.openxmlformats.org/presentationml/2006/main">
  <p:tag name="SELECTED" val="0"/>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f3GB0rjRk63oncnHoX0Dw"/>
</p:tagLst>
</file>

<file path=ppt/tags/tag290.xml><?xml version="1.0" encoding="utf-8"?>
<p:tagLst xmlns:a="http://schemas.openxmlformats.org/drawingml/2006/main" xmlns:r="http://schemas.openxmlformats.org/officeDocument/2006/relationships" xmlns:p="http://schemas.openxmlformats.org/presentationml/2006/main">
  <p:tag name="SELECTED" val="0"/>
</p:tagLst>
</file>

<file path=ppt/tags/tag291.xml><?xml version="1.0" encoding="utf-8"?>
<p:tagLst xmlns:a="http://schemas.openxmlformats.org/drawingml/2006/main" xmlns:r="http://schemas.openxmlformats.org/officeDocument/2006/relationships" xmlns:p="http://schemas.openxmlformats.org/presentationml/2006/main">
  <p:tag name="SELECTED" val="0"/>
</p:tagLst>
</file>

<file path=ppt/tags/tag292.xml><?xml version="1.0" encoding="utf-8"?>
<p:tagLst xmlns:a="http://schemas.openxmlformats.org/drawingml/2006/main" xmlns:r="http://schemas.openxmlformats.org/officeDocument/2006/relationships" xmlns:p="http://schemas.openxmlformats.org/presentationml/2006/main">
  <p:tag name="SELECTED" val="0"/>
</p:tagLst>
</file>

<file path=ppt/tags/tag293.xml><?xml version="1.0" encoding="utf-8"?>
<p:tagLst xmlns:a="http://schemas.openxmlformats.org/drawingml/2006/main" xmlns:r="http://schemas.openxmlformats.org/officeDocument/2006/relationships" xmlns:p="http://schemas.openxmlformats.org/presentationml/2006/main">
  <p:tag name="SELECTED" val="0"/>
</p:tagLst>
</file>

<file path=ppt/tags/tag294.xml><?xml version="1.0" encoding="utf-8"?>
<p:tagLst xmlns:a="http://schemas.openxmlformats.org/drawingml/2006/main" xmlns:r="http://schemas.openxmlformats.org/officeDocument/2006/relationships" xmlns:p="http://schemas.openxmlformats.org/presentationml/2006/main">
  <p:tag name="SELECTED" val="0"/>
</p:tagLst>
</file>

<file path=ppt/tags/tag295.xml><?xml version="1.0" encoding="utf-8"?>
<p:tagLst xmlns:a="http://schemas.openxmlformats.org/drawingml/2006/main" xmlns:r="http://schemas.openxmlformats.org/officeDocument/2006/relationships" xmlns:p="http://schemas.openxmlformats.org/presentationml/2006/main">
  <p:tag name="SELECTED" val="0"/>
</p:tagLst>
</file>

<file path=ppt/tags/tag296.xml><?xml version="1.0" encoding="utf-8"?>
<p:tagLst xmlns:a="http://schemas.openxmlformats.org/drawingml/2006/main" xmlns:r="http://schemas.openxmlformats.org/officeDocument/2006/relationships" xmlns:p="http://schemas.openxmlformats.org/presentationml/2006/main">
  <p:tag name="SELECTED" val="0"/>
</p:tagLst>
</file>

<file path=ppt/tags/tag297.xml><?xml version="1.0" encoding="utf-8"?>
<p:tagLst xmlns:a="http://schemas.openxmlformats.org/drawingml/2006/main" xmlns:r="http://schemas.openxmlformats.org/officeDocument/2006/relationships" xmlns:p="http://schemas.openxmlformats.org/presentationml/2006/main">
  <p:tag name="SELECTED" val="0"/>
</p:tagLst>
</file>

<file path=ppt/tags/tag298.xml><?xml version="1.0" encoding="utf-8"?>
<p:tagLst xmlns:a="http://schemas.openxmlformats.org/drawingml/2006/main" xmlns:r="http://schemas.openxmlformats.org/officeDocument/2006/relationships" xmlns:p="http://schemas.openxmlformats.org/presentationml/2006/main">
  <p:tag name="SELECTED" val="0"/>
</p:tagLst>
</file>

<file path=ppt/tags/tag299.xml><?xml version="1.0" encoding="utf-8"?>
<p:tagLst xmlns:a="http://schemas.openxmlformats.org/drawingml/2006/main" xmlns:r="http://schemas.openxmlformats.org/officeDocument/2006/relationships" xmlns:p="http://schemas.openxmlformats.org/presentationml/2006/main">
  <p:tag name="SELECT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hEbdvqMHESeG55zdeK.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SELECTED" val="0"/>
</p:tagLst>
</file>

<file path=ppt/tags/tag301.xml><?xml version="1.0" encoding="utf-8"?>
<p:tagLst xmlns:a="http://schemas.openxmlformats.org/drawingml/2006/main" xmlns:r="http://schemas.openxmlformats.org/officeDocument/2006/relationships" xmlns:p="http://schemas.openxmlformats.org/presentationml/2006/main">
  <p:tag name="SELECTED" val="0"/>
</p:tagLst>
</file>

<file path=ppt/tags/tag302.xml><?xml version="1.0" encoding="utf-8"?>
<p:tagLst xmlns:a="http://schemas.openxmlformats.org/drawingml/2006/main" xmlns:r="http://schemas.openxmlformats.org/officeDocument/2006/relationships" xmlns:p="http://schemas.openxmlformats.org/presentationml/2006/main">
  <p:tag name="SELECTED" val="0"/>
</p:tagLst>
</file>

<file path=ppt/tags/tag303.xml><?xml version="1.0" encoding="utf-8"?>
<p:tagLst xmlns:a="http://schemas.openxmlformats.org/drawingml/2006/main" xmlns:r="http://schemas.openxmlformats.org/officeDocument/2006/relationships" xmlns:p="http://schemas.openxmlformats.org/presentationml/2006/main">
  <p:tag name="SELECTED" val="0"/>
</p:tagLst>
</file>

<file path=ppt/tags/tag304.xml><?xml version="1.0" encoding="utf-8"?>
<p:tagLst xmlns:a="http://schemas.openxmlformats.org/drawingml/2006/main" xmlns:r="http://schemas.openxmlformats.org/officeDocument/2006/relationships" xmlns:p="http://schemas.openxmlformats.org/presentationml/2006/main">
  <p:tag name="SELECTED" val="0"/>
</p:tagLst>
</file>

<file path=ppt/tags/tag305.xml><?xml version="1.0" encoding="utf-8"?>
<p:tagLst xmlns:a="http://schemas.openxmlformats.org/drawingml/2006/main" xmlns:r="http://schemas.openxmlformats.org/officeDocument/2006/relationships" xmlns:p="http://schemas.openxmlformats.org/presentationml/2006/main">
  <p:tag name="SELECTED" val="0"/>
</p:tagLst>
</file>

<file path=ppt/tags/tag306.xml><?xml version="1.0" encoding="utf-8"?>
<p:tagLst xmlns:a="http://schemas.openxmlformats.org/drawingml/2006/main" xmlns:r="http://schemas.openxmlformats.org/officeDocument/2006/relationships" xmlns:p="http://schemas.openxmlformats.org/presentationml/2006/main">
  <p:tag name="SELECTED" val="0"/>
</p:tagLst>
</file>

<file path=ppt/tags/tag307.xml><?xml version="1.0" encoding="utf-8"?>
<p:tagLst xmlns:a="http://schemas.openxmlformats.org/drawingml/2006/main" xmlns:r="http://schemas.openxmlformats.org/officeDocument/2006/relationships" xmlns:p="http://schemas.openxmlformats.org/presentationml/2006/main">
  <p:tag name="SELECTED" val="0"/>
</p:tagLst>
</file>

<file path=ppt/tags/tag308.xml><?xml version="1.0" encoding="utf-8"?>
<p:tagLst xmlns:a="http://schemas.openxmlformats.org/drawingml/2006/main" xmlns:r="http://schemas.openxmlformats.org/officeDocument/2006/relationships" xmlns:p="http://schemas.openxmlformats.org/presentationml/2006/main">
  <p:tag name="SELECTED" val="0"/>
</p:tagLst>
</file>

<file path=ppt/tags/tag309.xml><?xml version="1.0" encoding="utf-8"?>
<p:tagLst xmlns:a="http://schemas.openxmlformats.org/drawingml/2006/main" xmlns:r="http://schemas.openxmlformats.org/officeDocument/2006/relationships" xmlns:p="http://schemas.openxmlformats.org/presentationml/2006/main">
  <p:tag name="SELECTED" val="0"/>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8GAecFr6U6UJZPf1AEQhw"/>
</p:tagLst>
</file>

<file path=ppt/tags/tag310.xml><?xml version="1.0" encoding="utf-8"?>
<p:tagLst xmlns:a="http://schemas.openxmlformats.org/drawingml/2006/main" xmlns:r="http://schemas.openxmlformats.org/officeDocument/2006/relationships" xmlns:p="http://schemas.openxmlformats.org/presentationml/2006/main">
  <p:tag name="SELECTED" val="0"/>
</p:tagLst>
</file>

<file path=ppt/tags/tag311.xml><?xml version="1.0" encoding="utf-8"?>
<p:tagLst xmlns:a="http://schemas.openxmlformats.org/drawingml/2006/main" xmlns:r="http://schemas.openxmlformats.org/officeDocument/2006/relationships" xmlns:p="http://schemas.openxmlformats.org/presentationml/2006/main">
  <p:tag name="SELECTED" val="0"/>
</p:tagLst>
</file>

<file path=ppt/tags/tag312.xml><?xml version="1.0" encoding="utf-8"?>
<p:tagLst xmlns:a="http://schemas.openxmlformats.org/drawingml/2006/main" xmlns:r="http://schemas.openxmlformats.org/officeDocument/2006/relationships" xmlns:p="http://schemas.openxmlformats.org/presentationml/2006/main">
  <p:tag name="SELECTED" val="0"/>
</p:tagLst>
</file>

<file path=ppt/tags/tag313.xml><?xml version="1.0" encoding="utf-8"?>
<p:tagLst xmlns:a="http://schemas.openxmlformats.org/drawingml/2006/main" xmlns:r="http://schemas.openxmlformats.org/officeDocument/2006/relationships" xmlns:p="http://schemas.openxmlformats.org/presentationml/2006/main">
  <p:tag name="SELECTED" val="0"/>
</p:tagLst>
</file>

<file path=ppt/tags/tag314.xml><?xml version="1.0" encoding="utf-8"?>
<p:tagLst xmlns:a="http://schemas.openxmlformats.org/drawingml/2006/main" xmlns:r="http://schemas.openxmlformats.org/officeDocument/2006/relationships" xmlns:p="http://schemas.openxmlformats.org/presentationml/2006/main">
  <p:tag name="SELECTED" val="0"/>
</p:tagLst>
</file>

<file path=ppt/tags/tag315.xml><?xml version="1.0" encoding="utf-8"?>
<p:tagLst xmlns:a="http://schemas.openxmlformats.org/drawingml/2006/main" xmlns:r="http://schemas.openxmlformats.org/officeDocument/2006/relationships" xmlns:p="http://schemas.openxmlformats.org/presentationml/2006/main">
  <p:tag name="SELECTED" val="0"/>
</p:tagLst>
</file>

<file path=ppt/tags/tag316.xml><?xml version="1.0" encoding="utf-8"?>
<p:tagLst xmlns:a="http://schemas.openxmlformats.org/drawingml/2006/main" xmlns:r="http://schemas.openxmlformats.org/officeDocument/2006/relationships" xmlns:p="http://schemas.openxmlformats.org/presentationml/2006/main">
  <p:tag name="SELECTED" val="0"/>
</p:tagLst>
</file>

<file path=ppt/tags/tag317.xml><?xml version="1.0" encoding="utf-8"?>
<p:tagLst xmlns:a="http://schemas.openxmlformats.org/drawingml/2006/main" xmlns:r="http://schemas.openxmlformats.org/officeDocument/2006/relationships" xmlns:p="http://schemas.openxmlformats.org/presentationml/2006/main">
  <p:tag name="SELECTED" val="0"/>
</p:tagLst>
</file>

<file path=ppt/tags/tag318.xml><?xml version="1.0" encoding="utf-8"?>
<p:tagLst xmlns:a="http://schemas.openxmlformats.org/drawingml/2006/main" xmlns:r="http://schemas.openxmlformats.org/officeDocument/2006/relationships" xmlns:p="http://schemas.openxmlformats.org/presentationml/2006/main">
  <p:tag name="SELECTED" val="0"/>
</p:tagLst>
</file>

<file path=ppt/tags/tag319.xml><?xml version="1.0" encoding="utf-8"?>
<p:tagLst xmlns:a="http://schemas.openxmlformats.org/drawingml/2006/main" xmlns:r="http://schemas.openxmlformats.org/officeDocument/2006/relationships" xmlns:p="http://schemas.openxmlformats.org/presentationml/2006/main">
  <p:tag name="SELECTED" val="0"/>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xyG7fHq.kqUttQ4OckXPw"/>
</p:tagLst>
</file>

<file path=ppt/tags/tag320.xml><?xml version="1.0" encoding="utf-8"?>
<p:tagLst xmlns:a="http://schemas.openxmlformats.org/drawingml/2006/main" xmlns:r="http://schemas.openxmlformats.org/officeDocument/2006/relationships" xmlns:p="http://schemas.openxmlformats.org/presentationml/2006/main">
  <p:tag name="SELECTED" val="0"/>
</p:tagLst>
</file>

<file path=ppt/tags/tag321.xml><?xml version="1.0" encoding="utf-8"?>
<p:tagLst xmlns:a="http://schemas.openxmlformats.org/drawingml/2006/main" xmlns:r="http://schemas.openxmlformats.org/officeDocument/2006/relationships" xmlns:p="http://schemas.openxmlformats.org/presentationml/2006/main">
  <p:tag name="SELECTED" val="0"/>
</p:tagLst>
</file>

<file path=ppt/tags/tag322.xml><?xml version="1.0" encoding="utf-8"?>
<p:tagLst xmlns:a="http://schemas.openxmlformats.org/drawingml/2006/main" xmlns:r="http://schemas.openxmlformats.org/officeDocument/2006/relationships" xmlns:p="http://schemas.openxmlformats.org/presentationml/2006/main">
  <p:tag name="SELECTED" val="0"/>
</p:tagLst>
</file>

<file path=ppt/tags/tag323.xml><?xml version="1.0" encoding="utf-8"?>
<p:tagLst xmlns:a="http://schemas.openxmlformats.org/drawingml/2006/main" xmlns:r="http://schemas.openxmlformats.org/officeDocument/2006/relationships" xmlns:p="http://schemas.openxmlformats.org/presentationml/2006/main">
  <p:tag name="SELECTED" val="0"/>
</p:tagLst>
</file>

<file path=ppt/tags/tag324.xml><?xml version="1.0" encoding="utf-8"?>
<p:tagLst xmlns:a="http://schemas.openxmlformats.org/drawingml/2006/main" xmlns:r="http://schemas.openxmlformats.org/officeDocument/2006/relationships" xmlns:p="http://schemas.openxmlformats.org/presentationml/2006/main">
  <p:tag name="SELECTED" val="0"/>
</p:tagLst>
</file>

<file path=ppt/tags/tag325.xml><?xml version="1.0" encoding="utf-8"?>
<p:tagLst xmlns:a="http://schemas.openxmlformats.org/drawingml/2006/main" xmlns:r="http://schemas.openxmlformats.org/officeDocument/2006/relationships" xmlns:p="http://schemas.openxmlformats.org/presentationml/2006/main">
  <p:tag name="SELECTED" val="0"/>
</p:tagLst>
</file>

<file path=ppt/tags/tag326.xml><?xml version="1.0" encoding="utf-8"?>
<p:tagLst xmlns:a="http://schemas.openxmlformats.org/drawingml/2006/main" xmlns:r="http://schemas.openxmlformats.org/officeDocument/2006/relationships" xmlns:p="http://schemas.openxmlformats.org/presentationml/2006/main">
  <p:tag name="SELECTED" val="0"/>
</p:tagLst>
</file>

<file path=ppt/tags/tag327.xml><?xml version="1.0" encoding="utf-8"?>
<p:tagLst xmlns:a="http://schemas.openxmlformats.org/drawingml/2006/main" xmlns:r="http://schemas.openxmlformats.org/officeDocument/2006/relationships" xmlns:p="http://schemas.openxmlformats.org/presentationml/2006/main">
  <p:tag name="SELECTED" val="0"/>
</p:tagLst>
</file>

<file path=ppt/tags/tag328.xml><?xml version="1.0" encoding="utf-8"?>
<p:tagLst xmlns:a="http://schemas.openxmlformats.org/drawingml/2006/main" xmlns:r="http://schemas.openxmlformats.org/officeDocument/2006/relationships" xmlns:p="http://schemas.openxmlformats.org/presentationml/2006/main">
  <p:tag name="SELECTED" val="0"/>
</p:tagLst>
</file>

<file path=ppt/tags/tag329.xml><?xml version="1.0" encoding="utf-8"?>
<p:tagLst xmlns:a="http://schemas.openxmlformats.org/drawingml/2006/main" xmlns:r="http://schemas.openxmlformats.org/officeDocument/2006/relationships" xmlns:p="http://schemas.openxmlformats.org/presentationml/2006/main">
  <p:tag name="SELECTED" val="0"/>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OWc91kmSEKUuf6QRyS30w"/>
</p:tagLst>
</file>

<file path=ppt/tags/tag330.xml><?xml version="1.0" encoding="utf-8"?>
<p:tagLst xmlns:a="http://schemas.openxmlformats.org/drawingml/2006/main" xmlns:r="http://schemas.openxmlformats.org/officeDocument/2006/relationships" xmlns:p="http://schemas.openxmlformats.org/presentationml/2006/main">
  <p:tag name="SELECTED" val="0"/>
</p:tagLst>
</file>

<file path=ppt/tags/tag331.xml><?xml version="1.0" encoding="utf-8"?>
<p:tagLst xmlns:a="http://schemas.openxmlformats.org/drawingml/2006/main" xmlns:r="http://schemas.openxmlformats.org/officeDocument/2006/relationships" xmlns:p="http://schemas.openxmlformats.org/presentationml/2006/main">
  <p:tag name="SELECTED" val="0"/>
</p:tagLst>
</file>

<file path=ppt/tags/tag332.xml><?xml version="1.0" encoding="utf-8"?>
<p:tagLst xmlns:a="http://schemas.openxmlformats.org/drawingml/2006/main" xmlns:r="http://schemas.openxmlformats.org/officeDocument/2006/relationships" xmlns:p="http://schemas.openxmlformats.org/presentationml/2006/main">
  <p:tag name="SELECTED" val="0"/>
</p:tagLst>
</file>

<file path=ppt/tags/tag333.xml><?xml version="1.0" encoding="utf-8"?>
<p:tagLst xmlns:a="http://schemas.openxmlformats.org/drawingml/2006/main" xmlns:r="http://schemas.openxmlformats.org/officeDocument/2006/relationships" xmlns:p="http://schemas.openxmlformats.org/presentationml/2006/main">
  <p:tag name="SELECTED" val="0"/>
</p:tagLst>
</file>

<file path=ppt/tags/tag334.xml><?xml version="1.0" encoding="utf-8"?>
<p:tagLst xmlns:a="http://schemas.openxmlformats.org/drawingml/2006/main" xmlns:r="http://schemas.openxmlformats.org/officeDocument/2006/relationships" xmlns:p="http://schemas.openxmlformats.org/presentationml/2006/main">
  <p:tag name="SELECTED" val="0"/>
</p:tagLst>
</file>

<file path=ppt/tags/tag335.xml><?xml version="1.0" encoding="utf-8"?>
<p:tagLst xmlns:a="http://schemas.openxmlformats.org/drawingml/2006/main" xmlns:r="http://schemas.openxmlformats.org/officeDocument/2006/relationships" xmlns:p="http://schemas.openxmlformats.org/presentationml/2006/main">
  <p:tag name="SELECTED" val="0"/>
</p:tagLst>
</file>

<file path=ppt/tags/tag336.xml><?xml version="1.0" encoding="utf-8"?>
<p:tagLst xmlns:a="http://schemas.openxmlformats.org/drawingml/2006/main" xmlns:r="http://schemas.openxmlformats.org/officeDocument/2006/relationships" xmlns:p="http://schemas.openxmlformats.org/presentationml/2006/main">
  <p:tag name="SELECTED" val="0"/>
</p:tagLst>
</file>

<file path=ppt/tags/tag337.xml><?xml version="1.0" encoding="utf-8"?>
<p:tagLst xmlns:a="http://schemas.openxmlformats.org/drawingml/2006/main" xmlns:r="http://schemas.openxmlformats.org/officeDocument/2006/relationships" xmlns:p="http://schemas.openxmlformats.org/presentationml/2006/main">
  <p:tag name="SELECTED" val="0"/>
</p:tagLst>
</file>

<file path=ppt/tags/tag338.xml><?xml version="1.0" encoding="utf-8"?>
<p:tagLst xmlns:a="http://schemas.openxmlformats.org/drawingml/2006/main" xmlns:r="http://schemas.openxmlformats.org/officeDocument/2006/relationships" xmlns:p="http://schemas.openxmlformats.org/presentationml/2006/main">
  <p:tag name="SELECTED" val="0"/>
</p:tagLst>
</file>

<file path=ppt/tags/tag339.xml><?xml version="1.0" encoding="utf-8"?>
<p:tagLst xmlns:a="http://schemas.openxmlformats.org/drawingml/2006/main" xmlns:r="http://schemas.openxmlformats.org/officeDocument/2006/relationships" xmlns:p="http://schemas.openxmlformats.org/presentationml/2006/main">
  <p:tag name="SELECTED" val="0"/>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_T6BmiA8UuSlWi23hLBBw"/>
</p:tagLst>
</file>

<file path=ppt/tags/tag340.xml><?xml version="1.0" encoding="utf-8"?>
<p:tagLst xmlns:a="http://schemas.openxmlformats.org/drawingml/2006/main" xmlns:r="http://schemas.openxmlformats.org/officeDocument/2006/relationships" xmlns:p="http://schemas.openxmlformats.org/presentationml/2006/main">
  <p:tag name="SELECTED" val="0"/>
</p:tagLst>
</file>

<file path=ppt/tags/tag341.xml><?xml version="1.0" encoding="utf-8"?>
<p:tagLst xmlns:a="http://schemas.openxmlformats.org/drawingml/2006/main" xmlns:r="http://schemas.openxmlformats.org/officeDocument/2006/relationships" xmlns:p="http://schemas.openxmlformats.org/presentationml/2006/main">
  <p:tag name="SELECTED" val="0"/>
</p:tagLst>
</file>

<file path=ppt/tags/tag342.xml><?xml version="1.0" encoding="utf-8"?>
<p:tagLst xmlns:a="http://schemas.openxmlformats.org/drawingml/2006/main" xmlns:r="http://schemas.openxmlformats.org/officeDocument/2006/relationships" xmlns:p="http://schemas.openxmlformats.org/presentationml/2006/main">
  <p:tag name="SELECTED" val="0"/>
</p:tagLst>
</file>

<file path=ppt/tags/tag343.xml><?xml version="1.0" encoding="utf-8"?>
<p:tagLst xmlns:a="http://schemas.openxmlformats.org/drawingml/2006/main" xmlns:r="http://schemas.openxmlformats.org/officeDocument/2006/relationships" xmlns:p="http://schemas.openxmlformats.org/presentationml/2006/main">
  <p:tag name="SELECTED" val="0"/>
</p:tagLst>
</file>

<file path=ppt/tags/tag344.xml><?xml version="1.0" encoding="utf-8"?>
<p:tagLst xmlns:a="http://schemas.openxmlformats.org/drawingml/2006/main" xmlns:r="http://schemas.openxmlformats.org/officeDocument/2006/relationships" xmlns:p="http://schemas.openxmlformats.org/presentationml/2006/main">
  <p:tag name="SELECTED" val="0"/>
</p:tagLst>
</file>

<file path=ppt/tags/tag345.xml><?xml version="1.0" encoding="utf-8"?>
<p:tagLst xmlns:a="http://schemas.openxmlformats.org/drawingml/2006/main" xmlns:r="http://schemas.openxmlformats.org/officeDocument/2006/relationships" xmlns:p="http://schemas.openxmlformats.org/presentationml/2006/main">
  <p:tag name="SELECTED" val="0"/>
</p:tagLst>
</file>

<file path=ppt/tags/tag346.xml><?xml version="1.0" encoding="utf-8"?>
<p:tagLst xmlns:a="http://schemas.openxmlformats.org/drawingml/2006/main" xmlns:r="http://schemas.openxmlformats.org/officeDocument/2006/relationships" xmlns:p="http://schemas.openxmlformats.org/presentationml/2006/main">
  <p:tag name="SELECTED" val="0"/>
</p:tagLst>
</file>

<file path=ppt/tags/tag347.xml><?xml version="1.0" encoding="utf-8"?>
<p:tagLst xmlns:a="http://schemas.openxmlformats.org/drawingml/2006/main" xmlns:r="http://schemas.openxmlformats.org/officeDocument/2006/relationships" xmlns:p="http://schemas.openxmlformats.org/presentationml/2006/main">
  <p:tag name="SELECTED" val="0"/>
</p:tagLst>
</file>

<file path=ppt/tags/tag348.xml><?xml version="1.0" encoding="utf-8"?>
<p:tagLst xmlns:a="http://schemas.openxmlformats.org/drawingml/2006/main" xmlns:r="http://schemas.openxmlformats.org/officeDocument/2006/relationships" xmlns:p="http://schemas.openxmlformats.org/presentationml/2006/main">
  <p:tag name="SELECTED" val="0"/>
</p:tagLst>
</file>

<file path=ppt/tags/tag349.xml><?xml version="1.0" encoding="utf-8"?>
<p:tagLst xmlns:a="http://schemas.openxmlformats.org/drawingml/2006/main" xmlns:r="http://schemas.openxmlformats.org/officeDocument/2006/relationships" xmlns:p="http://schemas.openxmlformats.org/presentationml/2006/main">
  <p:tag name="SELECTED" val="0"/>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3WA9magjEqMzq4zWZY03A"/>
</p:tagLst>
</file>

<file path=ppt/tags/tag350.xml><?xml version="1.0" encoding="utf-8"?>
<p:tagLst xmlns:a="http://schemas.openxmlformats.org/drawingml/2006/main" xmlns:r="http://schemas.openxmlformats.org/officeDocument/2006/relationships" xmlns:p="http://schemas.openxmlformats.org/presentationml/2006/main">
  <p:tag name="SELECTED" val="0"/>
</p:tagLst>
</file>

<file path=ppt/tags/tag351.xml><?xml version="1.0" encoding="utf-8"?>
<p:tagLst xmlns:a="http://schemas.openxmlformats.org/drawingml/2006/main" xmlns:r="http://schemas.openxmlformats.org/officeDocument/2006/relationships" xmlns:p="http://schemas.openxmlformats.org/presentationml/2006/main">
  <p:tag name="BAINBULLET" val="True"/>
</p:tagLst>
</file>

<file path=ppt/tags/tag352.xml><?xml version="1.0" encoding="utf-8"?>
<p:tagLst xmlns:a="http://schemas.openxmlformats.org/drawingml/2006/main" xmlns:r="http://schemas.openxmlformats.org/officeDocument/2006/relationships" xmlns:p="http://schemas.openxmlformats.org/presentationml/2006/main">
  <p:tag name="BAINBULLET" val="True"/>
</p:tagLst>
</file>

<file path=ppt/tags/tag353.xml><?xml version="1.0" encoding="utf-8"?>
<p:tagLst xmlns:a="http://schemas.openxmlformats.org/drawingml/2006/main" xmlns:r="http://schemas.openxmlformats.org/officeDocument/2006/relationships" xmlns:p="http://schemas.openxmlformats.org/presentationml/2006/main">
  <p:tag name="BAINBULLET" val="True"/>
</p:tagLst>
</file>

<file path=ppt/tags/tag354.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355.xml><?xml version="1.0" encoding="utf-8"?>
<p:tagLst xmlns:a="http://schemas.openxmlformats.org/drawingml/2006/main" xmlns:r="http://schemas.openxmlformats.org/officeDocument/2006/relationships" xmlns:p="http://schemas.openxmlformats.org/presentationml/2006/main">
  <p:tag name="BAINBULLET" val="True"/>
</p:tagLst>
</file>

<file path=ppt/tags/tag356.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357.xml><?xml version="1.0" encoding="utf-8"?>
<p:tagLst xmlns:a="http://schemas.openxmlformats.org/drawingml/2006/main" xmlns:r="http://schemas.openxmlformats.org/officeDocument/2006/relationships" xmlns:p="http://schemas.openxmlformats.org/presentationml/2006/main">
  <p:tag name="BAINBULLET" val="True"/>
</p:tagLst>
</file>

<file path=ppt/tags/tag358.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359.xml><?xml version="1.0" encoding="utf-8"?>
<p:tagLst xmlns:a="http://schemas.openxmlformats.org/drawingml/2006/main" xmlns:r="http://schemas.openxmlformats.org/officeDocument/2006/relationships" xmlns:p="http://schemas.openxmlformats.org/presentationml/2006/main">
  <p:tag name="BAINBULLET" val="Tru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S_hNlaREWs597tQigofA"/>
</p:tagLst>
</file>

<file path=ppt/tags/tag360.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361.xml><?xml version="1.0" encoding="utf-8"?>
<p:tagLst xmlns:a="http://schemas.openxmlformats.org/drawingml/2006/main" xmlns:r="http://schemas.openxmlformats.org/officeDocument/2006/relationships" xmlns:p="http://schemas.openxmlformats.org/presentationml/2006/main">
  <p:tag name="BAINBULLET" val="True"/>
</p:tagLst>
</file>

<file path=ppt/tags/tag362.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363.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364.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365.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366.xml><?xml version="1.0" encoding="utf-8"?>
<p:tagLst xmlns:a="http://schemas.openxmlformats.org/drawingml/2006/main" xmlns:r="http://schemas.openxmlformats.org/officeDocument/2006/relationships" xmlns:p="http://schemas.openxmlformats.org/presentationml/2006/main">
  <p:tag name="BAINBULLET" val="Tru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IcQZmAOBkCm1Xy5DVttJ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dk0U5zH80O59nQb1RsX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zoeck6qHUGj97I8qRp76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vWVic8YUk6e0TDvj2uf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JLDLl0tykiDgfzjMtShg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upEL.hRCkWFRtn7gKLp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Kd5fsEHhE6y5vLdtt9F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F1bJSowskGgWt5Nqj6pn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r2neVds10edqfDPieQ8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LOydTSoaUa0LlzJDjWUv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_k9foDMEGVDDepE1QW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470nLk2EUKmgWvnrJaI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t3e5WVqfEGG05YPMtsKd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GYrrnivi0Ka197QA7_s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6K_Tj64k2kehqZo8GuF01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sCmYF0JF02Fqvs2pJkq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ib9hlAsF0qs8rQEgG4T5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hv4TM5._06vsjbttrx.P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CppFFIJk0S2bXePrmy5Y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RVmSbXc7UeP.WjxGmXOF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uJEMDXeSU.pB7cah9g0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d2aJCuigU.pJ65SasiY9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juwg_8ATUWjd3_L_hr.W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c7xb7mxRUGULPkBHvvat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MNLnll.20.axw.Cfd1Qi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KIcQZmAOBkCm1Xy5DVttJA"/>
</p:tagLst>
</file>

<file path=ppt/tags/tag66.xml><?xml version="1.0" encoding="utf-8"?>
<p:tagLst xmlns:a="http://schemas.openxmlformats.org/drawingml/2006/main" xmlns:r="http://schemas.openxmlformats.org/officeDocument/2006/relationships" xmlns:p="http://schemas.openxmlformats.org/presentationml/2006/main">
  <p:tag name="BAINBULLET" val="True"/>
</p:tagLst>
</file>

<file path=ppt/tags/tag67.xml><?xml version="1.0" encoding="utf-8"?>
<p:tagLst xmlns:a="http://schemas.openxmlformats.org/drawingml/2006/main" xmlns:r="http://schemas.openxmlformats.org/officeDocument/2006/relationships" xmlns:p="http://schemas.openxmlformats.org/presentationml/2006/main">
  <p:tag name="BAINBULLET" val="True"/>
</p:tagLst>
</file>

<file path=ppt/tags/tag68.xml><?xml version="1.0" encoding="utf-8"?>
<p:tagLst xmlns:a="http://schemas.openxmlformats.org/drawingml/2006/main" xmlns:r="http://schemas.openxmlformats.org/officeDocument/2006/relationships" xmlns:p="http://schemas.openxmlformats.org/presentationml/2006/main">
  <p:tag name="SELD" val="0"/>
</p:tagLst>
</file>

<file path=ppt/tags/tag69.xml><?xml version="1.0" encoding="utf-8"?>
<p:tagLst xmlns:a="http://schemas.openxmlformats.org/drawingml/2006/main" xmlns:r="http://schemas.openxmlformats.org/officeDocument/2006/relationships" xmlns:p="http://schemas.openxmlformats.org/presentationml/2006/main">
  <p:tag name="SELD" val="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eX0e2EULUiAy0Ha0gnOVw"/>
</p:tagLst>
</file>

<file path=ppt/tags/tag70.xml><?xml version="1.0" encoding="utf-8"?>
<p:tagLst xmlns:a="http://schemas.openxmlformats.org/drawingml/2006/main" xmlns:r="http://schemas.openxmlformats.org/officeDocument/2006/relationships" xmlns:p="http://schemas.openxmlformats.org/presentationml/2006/main">
  <p:tag name="SELD" val="0"/>
</p:tagLst>
</file>

<file path=ppt/tags/tag71.xml><?xml version="1.0" encoding="utf-8"?>
<p:tagLst xmlns:a="http://schemas.openxmlformats.org/drawingml/2006/main" xmlns:r="http://schemas.openxmlformats.org/officeDocument/2006/relationships" xmlns:p="http://schemas.openxmlformats.org/presentationml/2006/main">
  <p:tag name="SELD" val="0"/>
</p:tagLst>
</file>

<file path=ppt/tags/tag72.xml><?xml version="1.0" encoding="utf-8"?>
<p:tagLst xmlns:a="http://schemas.openxmlformats.org/drawingml/2006/main" xmlns:r="http://schemas.openxmlformats.org/officeDocument/2006/relationships" xmlns:p="http://schemas.openxmlformats.org/presentationml/2006/main">
  <p:tag name="SELD" val="0"/>
</p:tagLst>
</file>

<file path=ppt/tags/tag73.xml><?xml version="1.0" encoding="utf-8"?>
<p:tagLst xmlns:a="http://schemas.openxmlformats.org/drawingml/2006/main" xmlns:r="http://schemas.openxmlformats.org/officeDocument/2006/relationships" xmlns:p="http://schemas.openxmlformats.org/presentationml/2006/main">
  <p:tag name="SELD" val="0"/>
</p:tagLst>
</file>

<file path=ppt/tags/tag74.xml><?xml version="1.0" encoding="utf-8"?>
<p:tagLst xmlns:a="http://schemas.openxmlformats.org/drawingml/2006/main" xmlns:r="http://schemas.openxmlformats.org/officeDocument/2006/relationships" xmlns:p="http://schemas.openxmlformats.org/presentationml/2006/main">
  <p:tag name="SELD" val="0"/>
</p:tagLst>
</file>

<file path=ppt/tags/tag75.xml><?xml version="1.0" encoding="utf-8"?>
<p:tagLst xmlns:a="http://schemas.openxmlformats.org/drawingml/2006/main" xmlns:r="http://schemas.openxmlformats.org/officeDocument/2006/relationships" xmlns:p="http://schemas.openxmlformats.org/presentationml/2006/main">
  <p:tag name="SELD" val="0"/>
</p:tagLst>
</file>

<file path=ppt/tags/tag76.xml><?xml version="1.0" encoding="utf-8"?>
<p:tagLst xmlns:a="http://schemas.openxmlformats.org/drawingml/2006/main" xmlns:r="http://schemas.openxmlformats.org/officeDocument/2006/relationships" xmlns:p="http://schemas.openxmlformats.org/presentationml/2006/main">
  <p:tag name="SELD" val="0"/>
</p:tagLst>
</file>

<file path=ppt/tags/tag77.xml><?xml version="1.0" encoding="utf-8"?>
<p:tagLst xmlns:a="http://schemas.openxmlformats.org/drawingml/2006/main" xmlns:r="http://schemas.openxmlformats.org/officeDocument/2006/relationships" xmlns:p="http://schemas.openxmlformats.org/presentationml/2006/main">
  <p:tag name="SELECTED" val="0"/>
</p:tagLst>
</file>

<file path=ppt/tags/tag78.xml><?xml version="1.0" encoding="utf-8"?>
<p:tagLst xmlns:a="http://schemas.openxmlformats.org/drawingml/2006/main" xmlns:r="http://schemas.openxmlformats.org/officeDocument/2006/relationships" xmlns:p="http://schemas.openxmlformats.org/presentationml/2006/main">
  <p:tag name="SELECTED" val="0"/>
</p:tagLst>
</file>

<file path=ppt/tags/tag79.xml><?xml version="1.0" encoding="utf-8"?>
<p:tagLst xmlns:a="http://schemas.openxmlformats.org/drawingml/2006/main" xmlns:r="http://schemas.openxmlformats.org/officeDocument/2006/relationships" xmlns:p="http://schemas.openxmlformats.org/presentationml/2006/main">
  <p:tag name="SELECTED" val="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PsmJY0q5kK7uBscKUtDRg"/>
</p:tagLst>
</file>

<file path=ppt/tags/tag80.xml><?xml version="1.0" encoding="utf-8"?>
<p:tagLst xmlns:a="http://schemas.openxmlformats.org/drawingml/2006/main" xmlns:r="http://schemas.openxmlformats.org/officeDocument/2006/relationships" xmlns:p="http://schemas.openxmlformats.org/presentationml/2006/main">
  <p:tag name="SELECTED" val="0"/>
</p:tagLst>
</file>

<file path=ppt/tags/tag81.xml><?xml version="1.0" encoding="utf-8"?>
<p:tagLst xmlns:a="http://schemas.openxmlformats.org/drawingml/2006/main" xmlns:r="http://schemas.openxmlformats.org/officeDocument/2006/relationships" xmlns:p="http://schemas.openxmlformats.org/presentationml/2006/main">
  <p:tag name="SELECTED" val="0"/>
</p:tagLst>
</file>

<file path=ppt/tags/tag82.xml><?xml version="1.0" encoding="utf-8"?>
<p:tagLst xmlns:a="http://schemas.openxmlformats.org/drawingml/2006/main" xmlns:r="http://schemas.openxmlformats.org/officeDocument/2006/relationships" xmlns:p="http://schemas.openxmlformats.org/presentationml/2006/main">
  <p:tag name="SELECTED" val="0"/>
</p:tagLst>
</file>

<file path=ppt/tags/tag83.xml><?xml version="1.0" encoding="utf-8"?>
<p:tagLst xmlns:a="http://schemas.openxmlformats.org/drawingml/2006/main" xmlns:r="http://schemas.openxmlformats.org/officeDocument/2006/relationships" xmlns:p="http://schemas.openxmlformats.org/presentationml/2006/main">
  <p:tag name="SELECTED" val="0"/>
</p:tagLst>
</file>

<file path=ppt/tags/tag84.xml><?xml version="1.0" encoding="utf-8"?>
<p:tagLst xmlns:a="http://schemas.openxmlformats.org/drawingml/2006/main" xmlns:r="http://schemas.openxmlformats.org/officeDocument/2006/relationships" xmlns:p="http://schemas.openxmlformats.org/presentationml/2006/main">
  <p:tag name="SELECTED" val="0"/>
</p:tagLst>
</file>

<file path=ppt/tags/tag85.xml><?xml version="1.0" encoding="utf-8"?>
<p:tagLst xmlns:a="http://schemas.openxmlformats.org/drawingml/2006/main" xmlns:r="http://schemas.openxmlformats.org/officeDocument/2006/relationships" xmlns:p="http://schemas.openxmlformats.org/presentationml/2006/main">
  <p:tag name="SELECTED" val="0"/>
</p:tagLst>
</file>

<file path=ppt/tags/tag86.xml><?xml version="1.0" encoding="utf-8"?>
<p:tagLst xmlns:a="http://schemas.openxmlformats.org/drawingml/2006/main" xmlns:r="http://schemas.openxmlformats.org/officeDocument/2006/relationships" xmlns:p="http://schemas.openxmlformats.org/presentationml/2006/main">
  <p:tag name="SELECTED" val="0"/>
</p:tagLst>
</file>

<file path=ppt/tags/tag87.xml><?xml version="1.0" encoding="utf-8"?>
<p:tagLst xmlns:a="http://schemas.openxmlformats.org/drawingml/2006/main" xmlns:r="http://schemas.openxmlformats.org/officeDocument/2006/relationships" xmlns:p="http://schemas.openxmlformats.org/presentationml/2006/main">
  <p:tag name="SELECTED" val="0"/>
</p:tagLst>
</file>

<file path=ppt/tags/tag88.xml><?xml version="1.0" encoding="utf-8"?>
<p:tagLst xmlns:a="http://schemas.openxmlformats.org/drawingml/2006/main" xmlns:r="http://schemas.openxmlformats.org/officeDocument/2006/relationships" xmlns:p="http://schemas.openxmlformats.org/presentationml/2006/main">
  <p:tag name="SELECTED" val="0"/>
</p:tagLst>
</file>

<file path=ppt/tags/tag89.xml><?xml version="1.0" encoding="utf-8"?>
<p:tagLst xmlns:a="http://schemas.openxmlformats.org/drawingml/2006/main" xmlns:r="http://schemas.openxmlformats.org/officeDocument/2006/relationships" xmlns:p="http://schemas.openxmlformats.org/presentationml/2006/main">
  <p:tag name="SELECTED" val="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KQF4BzYFkWPG4xn9xit2w"/>
</p:tagLst>
</file>

<file path=ppt/tags/tag90.xml><?xml version="1.0" encoding="utf-8"?>
<p:tagLst xmlns:a="http://schemas.openxmlformats.org/drawingml/2006/main" xmlns:r="http://schemas.openxmlformats.org/officeDocument/2006/relationships" xmlns:p="http://schemas.openxmlformats.org/presentationml/2006/main">
  <p:tag name="SELECTED" val="0"/>
</p:tagLst>
</file>

<file path=ppt/tags/tag91.xml><?xml version="1.0" encoding="utf-8"?>
<p:tagLst xmlns:a="http://schemas.openxmlformats.org/drawingml/2006/main" xmlns:r="http://schemas.openxmlformats.org/officeDocument/2006/relationships" xmlns:p="http://schemas.openxmlformats.org/presentationml/2006/main">
  <p:tag name="SELECTED" val="0"/>
</p:tagLst>
</file>

<file path=ppt/tags/tag92.xml><?xml version="1.0" encoding="utf-8"?>
<p:tagLst xmlns:a="http://schemas.openxmlformats.org/drawingml/2006/main" xmlns:r="http://schemas.openxmlformats.org/officeDocument/2006/relationships" xmlns:p="http://schemas.openxmlformats.org/presentationml/2006/main">
  <p:tag name="SELECTED" val="0"/>
</p:tagLst>
</file>

<file path=ppt/tags/tag93.xml><?xml version="1.0" encoding="utf-8"?>
<p:tagLst xmlns:a="http://schemas.openxmlformats.org/drawingml/2006/main" xmlns:r="http://schemas.openxmlformats.org/officeDocument/2006/relationships" xmlns:p="http://schemas.openxmlformats.org/presentationml/2006/main">
  <p:tag name="SELECTED" val="0"/>
</p:tagLst>
</file>

<file path=ppt/tags/tag94.xml><?xml version="1.0" encoding="utf-8"?>
<p:tagLst xmlns:a="http://schemas.openxmlformats.org/drawingml/2006/main" xmlns:r="http://schemas.openxmlformats.org/officeDocument/2006/relationships" xmlns:p="http://schemas.openxmlformats.org/presentationml/2006/main">
  <p:tag name="SELECTED" val="0"/>
</p:tagLst>
</file>

<file path=ppt/tags/tag95.xml><?xml version="1.0" encoding="utf-8"?>
<p:tagLst xmlns:a="http://schemas.openxmlformats.org/drawingml/2006/main" xmlns:r="http://schemas.openxmlformats.org/officeDocument/2006/relationships" xmlns:p="http://schemas.openxmlformats.org/presentationml/2006/main">
  <p:tag name="SELECTED" val="0"/>
</p:tagLst>
</file>

<file path=ppt/tags/tag96.xml><?xml version="1.0" encoding="utf-8"?>
<p:tagLst xmlns:a="http://schemas.openxmlformats.org/drawingml/2006/main" xmlns:r="http://schemas.openxmlformats.org/officeDocument/2006/relationships" xmlns:p="http://schemas.openxmlformats.org/presentationml/2006/main">
  <p:tag name="SELECTED" val="0"/>
</p:tagLst>
</file>

<file path=ppt/tags/tag97.xml><?xml version="1.0" encoding="utf-8"?>
<p:tagLst xmlns:a="http://schemas.openxmlformats.org/drawingml/2006/main" xmlns:r="http://schemas.openxmlformats.org/officeDocument/2006/relationships" xmlns:p="http://schemas.openxmlformats.org/presentationml/2006/main">
  <p:tag name="SELECTED" val="0"/>
</p:tagLst>
</file>

<file path=ppt/tags/tag98.xml><?xml version="1.0" encoding="utf-8"?>
<p:tagLst xmlns:a="http://schemas.openxmlformats.org/drawingml/2006/main" xmlns:r="http://schemas.openxmlformats.org/officeDocument/2006/relationships" xmlns:p="http://schemas.openxmlformats.org/presentationml/2006/main">
  <p:tag name="SELECTED" val="0"/>
</p:tagLst>
</file>

<file path=ppt/tags/tag99.xml><?xml version="1.0" encoding="utf-8"?>
<p:tagLst xmlns:a="http://schemas.openxmlformats.org/drawingml/2006/main" xmlns:r="http://schemas.openxmlformats.org/officeDocument/2006/relationships" xmlns:p="http://schemas.openxmlformats.org/presentationml/2006/main">
  <p:tag name="SELECTED" val="0"/>
</p:tagLst>
</file>

<file path=ppt/theme/theme1.xml><?xml version="1.0" encoding="utf-8"?>
<a:theme xmlns:a="http://schemas.openxmlformats.org/drawingml/2006/main" name="A4rb_Business+Photo">
  <a:themeElements>
    <a:clrScheme name="RBcolorBUSINESS">
      <a:dk1>
        <a:srgbClr val="000000"/>
      </a:dk1>
      <a:lt1>
        <a:srgbClr val="FFFFFF"/>
      </a:lt1>
      <a:dk2>
        <a:srgbClr val="000000"/>
      </a:dk2>
      <a:lt2>
        <a:srgbClr val="256885"/>
      </a:lt2>
      <a:accent1>
        <a:srgbClr val="FFFFFF"/>
      </a:accent1>
      <a:accent2>
        <a:srgbClr val="B2D2DE"/>
      </a:accent2>
      <a:accent3>
        <a:srgbClr val="256885"/>
      </a:accent3>
      <a:accent4>
        <a:srgbClr val="6CAAC0"/>
      </a:accent4>
      <a:accent5>
        <a:srgbClr val="B2D2DE"/>
      </a:accent5>
      <a:accent6>
        <a:srgbClr val="6CAAC0"/>
      </a:accent6>
      <a:hlink>
        <a:srgbClr val="256885"/>
      </a:hlink>
      <a:folHlink>
        <a:srgbClr val="6CAAC0"/>
      </a:folHlink>
    </a:clrScheme>
    <a:fontScheme name="RB-standard_2008-0227">
      <a:majorFont>
        <a:latin typeface="Arial"/>
        <a:ea typeface=""/>
        <a:cs typeface=""/>
        <a:font script="Grek" typeface="Arial"/>
        <a:font script="Cyrl" typeface="Arial"/>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a:ea typeface=""/>
        <a:cs typeface=""/>
        <a:font script="Grek" typeface="Times New Roman"/>
        <a:font script="Cyrl" typeface="Times New Roman"/>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cmpd="sng">
          <a:solidFill>
            <a:schemeClr val="accent3"/>
          </a:solidFill>
        </a:ln>
        <a:effectLst/>
      </a:spPr>
      <a:bodyPr lIns="72000" tIns="0" rIns="72000" bIns="0" rtlCol="0" anchor="ctr"/>
      <a:lstStyle>
        <a:defPPr>
          <a:lnSpc>
            <a:spcPct val="93000"/>
          </a:lnSpc>
          <a:spcBef>
            <a:spcPts val="300"/>
          </a:spcBef>
          <a:defRPr sz="1300" b="0" dirty="0" smtClean="0">
            <a:solidFill>
              <a:schemeClr val="tx1"/>
            </a:solidFill>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nSpc>
            <a:spcPct val="93000"/>
          </a:lnSpc>
          <a:spcBef>
            <a:spcPts val="0"/>
          </a:spcBef>
          <a:defRPr sz="1300" b="0" dirty="0" smtClean="0">
            <a:latin typeface="+mn-lt"/>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22285</TotalTime>
  <Words>1945</Words>
  <Application>Microsoft Office PowerPoint</Application>
  <PresentationFormat>Format A4 (210 x 297 mm)</PresentationFormat>
  <Paragraphs>317</Paragraphs>
  <Slides>34</Slides>
  <Notes>32</Notes>
  <HiddenSlides>1</HiddenSlides>
  <MMClips>0</MMClips>
  <ScaleCrop>false</ScaleCrop>
  <HeadingPairs>
    <vt:vector size="6" baseType="variant">
      <vt:variant>
        <vt:lpstr>Thème</vt:lpstr>
      </vt:variant>
      <vt:variant>
        <vt:i4>1</vt:i4>
      </vt:variant>
      <vt:variant>
        <vt:lpstr>Serveurs OLE incorporés</vt:lpstr>
      </vt:variant>
      <vt:variant>
        <vt:i4>3</vt:i4>
      </vt:variant>
      <vt:variant>
        <vt:lpstr>Titres des diapositives</vt:lpstr>
      </vt:variant>
      <vt:variant>
        <vt:i4>34</vt:i4>
      </vt:variant>
    </vt:vector>
  </HeadingPairs>
  <TitlesOfParts>
    <vt:vector size="38" baseType="lpstr">
      <vt:lpstr>A4rb_Business+Photo</vt:lpstr>
      <vt:lpstr>think-cell Slide</vt:lpstr>
      <vt:lpstr>Feuille de calcul</vt:lpstr>
      <vt:lpstr>Graphique</vt:lpstr>
      <vt:lpstr>         Atelier d’AREGNET : Meilleures pratiques pour un déploiement réussi du large bande dans le monde arabe   Cas du Maroc : Plan national pour le déploiement du Haut et du très haut débit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Our work  is based on three main phases</vt:lpstr>
      <vt:lpstr>We are currently investigating broadband deployment costs</vt:lpstr>
      <vt:lpstr>Présentation PowerPoint</vt:lpstr>
      <vt:lpstr>Présentation PowerPoint</vt:lpstr>
      <vt:lpstr>Présentation PowerPoint</vt:lpstr>
      <vt:lpstr>Différentiel entre les capacités commercialisées par les opérateurs et les besoins du marché en haut débit</vt:lpstr>
      <vt:lpstr>Objectifs en haut /très haut débit dans le cadre du plan national</vt:lpstr>
      <vt:lpstr>Développement du H et THD  sans intervention publique</vt:lpstr>
      <vt:lpstr>Présentation PowerPoint</vt:lpstr>
      <vt:lpstr>Présentation PowerPoint</vt:lpstr>
      <vt:lpstr>Haut débit par des solutions terrestres : Licences mobiles de 4ème Génération (4G/LTE)</vt:lpstr>
      <vt:lpstr>Haut débit par des solutions terrestres : Déploiement de réseaux WIFI Outdoor</vt:lpstr>
      <vt:lpstr>Haut débit par des solutions terrestres : Renforcement des infrastructures optiques</vt:lpstr>
      <vt:lpstr>Présentation PowerPoint</vt:lpstr>
      <vt:lpstr>Haut débit par des solutions satellitaires : Etude de déploiement d’une solution satellitaire</vt:lpstr>
      <vt:lpstr>Présentation PowerPoint</vt:lpstr>
      <vt:lpstr>Actions pour la mise en œuvre du  plan : Lancement de projets pilotes pour le déploiement d’infrastructures optiques</vt:lpstr>
      <vt:lpstr>Actions pour la mise en œuvre du  plan : Raccordement des nouvelles habitations, constructions et zones d’activité aux réseaux très haut débit optiques</vt:lpstr>
      <vt:lpstr>Présentation PowerPoint</vt:lpstr>
    </vt:vector>
  </TitlesOfParts>
  <Company>Roland Berger Strategy Consultant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tude sur l'usage des Technologies de l'Information et de Communication au Maroc</dc:title>
  <dc:creator>Jennifer Margottin</dc:creator>
  <cp:lastModifiedBy>TALIB Hassan</cp:lastModifiedBy>
  <cp:revision>1485</cp:revision>
  <cp:lastPrinted>2014-02-04T14:36:47Z</cp:lastPrinted>
  <dcterms:created xsi:type="dcterms:W3CDTF">2012-08-28T07:34:48Z</dcterms:created>
  <dcterms:modified xsi:type="dcterms:W3CDTF">2014-03-05T08:45:06Z</dcterms:modified>
  <cp:category>RB Template</cp:category>
  <cp:contentStatus>20120201</cp:contentStatus>
</cp:coreProperties>
</file>